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heme/themeOverride2.xml" ContentType="application/vnd.openxmlformats-officedocument.themeOverride+xml"/>
  <Override PartName="/ppt/notesSlides/notesSlide2.xml" ContentType="application/vnd.openxmlformats-officedocument.presentationml.notesSlide+xml"/>
  <Override PartName="/ppt/theme/themeOverride3.xml" ContentType="application/vnd.openxmlformats-officedocument.themeOverr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heme/themeOverride4.xml" ContentType="application/vnd.openxmlformats-officedocument.themeOverr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heme/themeOverride5.xml" ContentType="application/vnd.openxmlformats-officedocument.themeOverr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heme/themeOverride6.xml" ContentType="application/vnd.openxmlformats-officedocument.themeOverr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theme/themeOverride7.xml" ContentType="application/vnd.openxmlformats-officedocument.themeOverr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theme/themeOverride8.xml" ContentType="application/vnd.openxmlformats-officedocument.themeOverr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3"/>
  </p:notesMasterIdLst>
  <p:sldIdLst>
    <p:sldId id="256" r:id="rId2"/>
    <p:sldId id="269" r:id="rId3"/>
    <p:sldId id="270" r:id="rId4"/>
    <p:sldId id="275" r:id="rId5"/>
    <p:sldId id="276" r:id="rId6"/>
    <p:sldId id="274" r:id="rId7"/>
    <p:sldId id="278" r:id="rId8"/>
    <p:sldId id="279" r:id="rId9"/>
    <p:sldId id="277" r:id="rId10"/>
    <p:sldId id="271" r:id="rId11"/>
    <p:sldId id="280" r:id="rId12"/>
    <p:sldId id="282" r:id="rId13"/>
    <p:sldId id="281" r:id="rId14"/>
    <p:sldId id="272" r:id="rId15"/>
    <p:sldId id="285" r:id="rId16"/>
    <p:sldId id="287" r:id="rId17"/>
    <p:sldId id="284" r:id="rId18"/>
    <p:sldId id="273" r:id="rId19"/>
    <p:sldId id="286" r:id="rId20"/>
    <p:sldId id="283" r:id="rId21"/>
    <p:sldId id="261" r:id="rId22"/>
  </p:sldIdLst>
  <p:sldSz cx="12192000" cy="6858000"/>
  <p:notesSz cx="6858000" cy="9144000"/>
  <p:custDataLst>
    <p:tags r:id="rId24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20000"/>
    <a:srgbClr val="A40000"/>
    <a:srgbClr val="9E0000"/>
    <a:srgbClr val="C7450B"/>
    <a:srgbClr val="E24E0C"/>
    <a:srgbClr val="DC6140"/>
    <a:srgbClr val="E60000"/>
    <a:srgbClr val="C9670D"/>
    <a:srgbClr val="66B5C9"/>
    <a:srgbClr val="EDB1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6182" autoAdjust="0"/>
  </p:normalViewPr>
  <p:slideViewPr>
    <p:cSldViewPr snapToGrid="0">
      <p:cViewPr varScale="1">
        <p:scale>
          <a:sx n="153" d="100"/>
          <a:sy n="153" d="100"/>
        </p:scale>
        <p:origin x="532" y="8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3/9/2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/>
              <a:t>2ff5e022-4cea-4237-9d55-1909a5976529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1327886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/>
              <a:t>24f142a4-2f77-45ca-964d-61bbefacb6b6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7864401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/>
              <a:t>e71cce3c-d66a-4e78-858d-240e078f09c9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6844589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/>
              <a:t>208255cb-66a2-4e71-bd3f-c5fcc563a1fe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5205576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/>
              <a:t>9e737530-cab0-41e0-9478-24aaba6791f9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524777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/>
              <a:t>fa302f16-81f6-4122-8569-4818612597b7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1684283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/>
              <a:t>cb1e53cf-1db9-4e26-adba-5db94f96d18e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6795143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/>
              <a:t>4ba68873-06be-4502-a139-e38a21259619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4582887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/>
              <a:t>32871224-0ae9-490a-be82-60005f136ec5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0608262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/>
              <a:t>a4dd32e1-8a0d-4856-b64e-b4cf9fdfc4d5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593287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/>
              <a:t>2e1a75b2-ff07-4a98-840f-bcd392683e76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860693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/>
              <a:t>6b13b22d-ced1-47a9-b544-ce88c1cdc0d1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8161522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/>
              <a:t>dd177d91-63a0-4ad4-a30d-b085d762cdf2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2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518673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/>
              <a:t>4eda63ab-8633-43e8-af62-70a8b8f368a6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2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142047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/>
              <a:t>a5aa7440-52fe-4c5c-933f-aa1002629f3f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6938425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/>
              <a:t>ef0c9d80-39f3-4cfa-aa6b-fa4c385eef29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4229614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/>
              <a:t>982d0a80-00b3-4e4c-a8a6-ebf710779bed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5027785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/>
              <a:t>e66dbd41-1f18-4266-9e0c-9df7ac8e7809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8223059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/>
              <a:t>7d4ee535-279f-4b55-8356-fd0131261da8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7296835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/>
              <a:t>9b364f27-a466-4264-9960-6735ecb889b3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3277269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/>
              <a:t>9d619a2b-5576-4a15-97cc-47193be87ad9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026360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669924" y="3882231"/>
            <a:ext cx="5426076" cy="558799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accent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669924" y="2571548"/>
            <a:ext cx="5426076" cy="1310684"/>
          </a:xfrm>
        </p:spPr>
        <p:txBody>
          <a:bodyPr anchor="ctr">
            <a:norm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69924" y="5645539"/>
            <a:ext cx="5426076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69924" y="5941810"/>
            <a:ext cx="5426076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5" name="Freeform 5">
            <a:extLst>
              <a:ext uri="{FF2B5EF4-FFF2-40B4-BE49-F238E27FC236}">
                <a16:creationId xmlns:a16="http://schemas.microsoft.com/office/drawing/2014/main" id="{B4842FC7-686E-4AB3-A7A4-0D38087C727D}"/>
              </a:ext>
            </a:extLst>
          </p:cNvPr>
          <p:cNvSpPr>
            <a:spLocks/>
          </p:cNvSpPr>
          <p:nvPr userDrawn="1"/>
        </p:nvSpPr>
        <p:spPr bwMode="auto">
          <a:xfrm>
            <a:off x="8391524" y="0"/>
            <a:ext cx="3800475" cy="6858000"/>
          </a:xfrm>
          <a:custGeom>
            <a:avLst/>
            <a:gdLst>
              <a:gd name="T0" fmla="*/ 0 w 2392"/>
              <a:gd name="T1" fmla="*/ 3836 h 4320"/>
              <a:gd name="T2" fmla="*/ 25 w 2392"/>
              <a:gd name="T3" fmla="*/ 4320 h 4320"/>
              <a:gd name="T4" fmla="*/ 2392 w 2392"/>
              <a:gd name="T5" fmla="*/ 4320 h 4320"/>
              <a:gd name="T6" fmla="*/ 2392 w 2392"/>
              <a:gd name="T7" fmla="*/ 0 h 4320"/>
              <a:gd name="T8" fmla="*/ 2190 w 2392"/>
              <a:gd name="T9" fmla="*/ 0 h 4320"/>
              <a:gd name="T10" fmla="*/ 0 w 2392"/>
              <a:gd name="T11" fmla="*/ 3836 h 4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392" h="4320">
                <a:moveTo>
                  <a:pt x="0" y="3836"/>
                </a:moveTo>
                <a:cubicBezTo>
                  <a:pt x="0" y="4000"/>
                  <a:pt x="8" y="4161"/>
                  <a:pt x="25" y="4320"/>
                </a:cubicBezTo>
                <a:cubicBezTo>
                  <a:pt x="2392" y="4320"/>
                  <a:pt x="2392" y="4320"/>
                  <a:pt x="2392" y="4320"/>
                </a:cubicBezTo>
                <a:cubicBezTo>
                  <a:pt x="2392" y="0"/>
                  <a:pt x="2392" y="0"/>
                  <a:pt x="2392" y="0"/>
                </a:cubicBezTo>
                <a:cubicBezTo>
                  <a:pt x="2190" y="0"/>
                  <a:pt x="2190" y="0"/>
                  <a:pt x="2190" y="0"/>
                </a:cubicBezTo>
                <a:cubicBezTo>
                  <a:pt x="890" y="711"/>
                  <a:pt x="0" y="2162"/>
                  <a:pt x="0" y="3836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solidFill>
                <a:schemeClr val="accent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" name="Freeform 6">
            <a:extLst>
              <a:ext uri="{FF2B5EF4-FFF2-40B4-BE49-F238E27FC236}">
                <a16:creationId xmlns:a16="http://schemas.microsoft.com/office/drawing/2014/main" id="{EEF76D79-83F2-4BEB-9760-CE5F29955545}"/>
              </a:ext>
            </a:extLst>
          </p:cNvPr>
          <p:cNvSpPr>
            <a:spLocks/>
          </p:cNvSpPr>
          <p:nvPr userDrawn="1"/>
        </p:nvSpPr>
        <p:spPr bwMode="auto">
          <a:xfrm>
            <a:off x="8391524" y="2800350"/>
            <a:ext cx="1965325" cy="4057650"/>
          </a:xfrm>
          <a:custGeom>
            <a:avLst/>
            <a:gdLst>
              <a:gd name="T0" fmla="*/ 494 w 1237"/>
              <a:gd name="T1" fmla="*/ 0 h 2556"/>
              <a:gd name="T2" fmla="*/ 0 w 1237"/>
              <a:gd name="T3" fmla="*/ 2072 h 2556"/>
              <a:gd name="T4" fmla="*/ 25 w 1237"/>
              <a:gd name="T5" fmla="*/ 2556 h 2556"/>
              <a:gd name="T6" fmla="*/ 1237 w 1237"/>
              <a:gd name="T7" fmla="*/ 2556 h 2556"/>
              <a:gd name="T8" fmla="*/ 494 w 1237"/>
              <a:gd name="T9" fmla="*/ 0 h 25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37" h="2556">
                <a:moveTo>
                  <a:pt x="494" y="0"/>
                </a:moveTo>
                <a:cubicBezTo>
                  <a:pt x="179" y="615"/>
                  <a:pt x="0" y="1321"/>
                  <a:pt x="0" y="2072"/>
                </a:cubicBezTo>
                <a:cubicBezTo>
                  <a:pt x="0" y="2236"/>
                  <a:pt x="8" y="2397"/>
                  <a:pt x="25" y="2556"/>
                </a:cubicBezTo>
                <a:cubicBezTo>
                  <a:pt x="1237" y="2556"/>
                  <a:pt x="1237" y="2556"/>
                  <a:pt x="1237" y="2556"/>
                </a:cubicBezTo>
                <a:cubicBezTo>
                  <a:pt x="1207" y="1616"/>
                  <a:pt x="938" y="742"/>
                  <a:pt x="494" y="0"/>
                </a:cubicBez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7" name="Freeform 7">
            <a:extLst>
              <a:ext uri="{FF2B5EF4-FFF2-40B4-BE49-F238E27FC236}">
                <a16:creationId xmlns:a16="http://schemas.microsoft.com/office/drawing/2014/main" id="{7F99E8AA-A2BC-40F3-B9F8-B39054A5893E}"/>
              </a:ext>
            </a:extLst>
          </p:cNvPr>
          <p:cNvSpPr>
            <a:spLocks/>
          </p:cNvSpPr>
          <p:nvPr userDrawn="1"/>
        </p:nvSpPr>
        <p:spPr bwMode="auto">
          <a:xfrm>
            <a:off x="4633912" y="0"/>
            <a:ext cx="7558088" cy="5080000"/>
          </a:xfrm>
          <a:custGeom>
            <a:avLst/>
            <a:gdLst>
              <a:gd name="T0" fmla="*/ 3877 w 4756"/>
              <a:gd name="T1" fmla="*/ 3200 h 3200"/>
              <a:gd name="T2" fmla="*/ 4756 w 4756"/>
              <a:gd name="T3" fmla="*/ 3096 h 3200"/>
              <a:gd name="T4" fmla="*/ 4756 w 4756"/>
              <a:gd name="T5" fmla="*/ 0 h 3200"/>
              <a:gd name="T6" fmla="*/ 0 w 4756"/>
              <a:gd name="T7" fmla="*/ 0 h 3200"/>
              <a:gd name="T8" fmla="*/ 3877 w 4756"/>
              <a:gd name="T9" fmla="*/ 3200 h 3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756" h="3200">
                <a:moveTo>
                  <a:pt x="3877" y="3200"/>
                </a:moveTo>
                <a:cubicBezTo>
                  <a:pt x="4179" y="3200"/>
                  <a:pt x="4473" y="3164"/>
                  <a:pt x="4756" y="3096"/>
                </a:cubicBezTo>
                <a:cubicBezTo>
                  <a:pt x="4756" y="0"/>
                  <a:pt x="4756" y="0"/>
                  <a:pt x="4756" y="0"/>
                </a:cubicBezTo>
                <a:cubicBezTo>
                  <a:pt x="0" y="0"/>
                  <a:pt x="0" y="0"/>
                  <a:pt x="0" y="0"/>
                </a:cubicBezTo>
                <a:cubicBezTo>
                  <a:pt x="454" y="1842"/>
                  <a:pt x="2018" y="3200"/>
                  <a:pt x="3877" y="320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8" name="Freeform 8">
            <a:extLst>
              <a:ext uri="{FF2B5EF4-FFF2-40B4-BE49-F238E27FC236}">
                <a16:creationId xmlns:a16="http://schemas.microsoft.com/office/drawing/2014/main" id="{F6B9C256-BBB9-43BF-BE53-BE24F253D5CE}"/>
              </a:ext>
            </a:extLst>
          </p:cNvPr>
          <p:cNvSpPr>
            <a:spLocks/>
          </p:cNvSpPr>
          <p:nvPr userDrawn="1"/>
        </p:nvSpPr>
        <p:spPr bwMode="auto">
          <a:xfrm>
            <a:off x="8534399" y="0"/>
            <a:ext cx="3657600" cy="5080000"/>
          </a:xfrm>
          <a:custGeom>
            <a:avLst/>
            <a:gdLst>
              <a:gd name="T0" fmla="*/ 0 w 2302"/>
              <a:gd name="T1" fmla="*/ 2921 h 3200"/>
              <a:gd name="T2" fmla="*/ 1423 w 2302"/>
              <a:gd name="T3" fmla="*/ 3200 h 3200"/>
              <a:gd name="T4" fmla="*/ 2302 w 2302"/>
              <a:gd name="T5" fmla="*/ 3096 h 3200"/>
              <a:gd name="T6" fmla="*/ 2302 w 2302"/>
              <a:gd name="T7" fmla="*/ 0 h 3200"/>
              <a:gd name="T8" fmla="*/ 2100 w 2302"/>
              <a:gd name="T9" fmla="*/ 0 h 3200"/>
              <a:gd name="T10" fmla="*/ 0 w 2302"/>
              <a:gd name="T11" fmla="*/ 2921 h 3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302" h="3200">
                <a:moveTo>
                  <a:pt x="0" y="2921"/>
                </a:moveTo>
                <a:cubicBezTo>
                  <a:pt x="442" y="3101"/>
                  <a:pt x="922" y="3200"/>
                  <a:pt x="1423" y="3200"/>
                </a:cubicBezTo>
                <a:cubicBezTo>
                  <a:pt x="1725" y="3200"/>
                  <a:pt x="2019" y="3164"/>
                  <a:pt x="2302" y="3096"/>
                </a:cubicBezTo>
                <a:cubicBezTo>
                  <a:pt x="2302" y="0"/>
                  <a:pt x="2302" y="0"/>
                  <a:pt x="2302" y="0"/>
                </a:cubicBezTo>
                <a:cubicBezTo>
                  <a:pt x="2100" y="0"/>
                  <a:pt x="2100" y="0"/>
                  <a:pt x="2100" y="0"/>
                </a:cubicBezTo>
                <a:cubicBezTo>
                  <a:pt x="1044" y="578"/>
                  <a:pt x="258" y="1644"/>
                  <a:pt x="0" y="2921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5AA99B1F-0373-424F-B35A-47211D9E7029}"/>
              </a:ext>
            </a:extLst>
          </p:cNvPr>
          <p:cNvSpPr>
            <a:spLocks/>
          </p:cNvSpPr>
          <p:nvPr userDrawn="1"/>
        </p:nvSpPr>
        <p:spPr bwMode="auto">
          <a:xfrm>
            <a:off x="4633912" y="0"/>
            <a:ext cx="5468938" cy="5040313"/>
          </a:xfrm>
          <a:custGeom>
            <a:avLst/>
            <a:gdLst>
              <a:gd name="T0" fmla="*/ 3441 w 3441"/>
              <a:gd name="T1" fmla="*/ 3175 h 3175"/>
              <a:gd name="T2" fmla="*/ 1060 w 3441"/>
              <a:gd name="T3" fmla="*/ 0 h 3175"/>
              <a:gd name="T4" fmla="*/ 0 w 3441"/>
              <a:gd name="T5" fmla="*/ 0 h 3175"/>
              <a:gd name="T6" fmla="*/ 3441 w 3441"/>
              <a:gd name="T7" fmla="*/ 3175 h 31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441" h="3175">
                <a:moveTo>
                  <a:pt x="3441" y="3175"/>
                </a:moveTo>
                <a:cubicBezTo>
                  <a:pt x="3094" y="1795"/>
                  <a:pt x="2217" y="648"/>
                  <a:pt x="1060" y="0"/>
                </a:cubicBezTo>
                <a:cubicBezTo>
                  <a:pt x="0" y="0"/>
                  <a:pt x="0" y="0"/>
                  <a:pt x="0" y="0"/>
                </a:cubicBezTo>
                <a:cubicBezTo>
                  <a:pt x="418" y="1696"/>
                  <a:pt x="1777" y="2982"/>
                  <a:pt x="3441" y="3175"/>
                </a:cubicBezTo>
                <a:close/>
              </a:path>
            </a:pathLst>
          </a:custGeom>
          <a:solidFill>
            <a:schemeClr val="accent1">
              <a:lumMod val="60000"/>
              <a:lumOff val="40000"/>
              <a:alpha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A14E97C3-A2CA-43A0-8DF5-F32B5EFF4FF5}"/>
              </a:ext>
            </a:extLst>
          </p:cNvPr>
          <p:cNvSpPr>
            <a:spLocks/>
          </p:cNvSpPr>
          <p:nvPr userDrawn="1"/>
        </p:nvSpPr>
        <p:spPr bwMode="auto">
          <a:xfrm>
            <a:off x="8534399" y="2800350"/>
            <a:ext cx="1568450" cy="2239963"/>
          </a:xfrm>
          <a:custGeom>
            <a:avLst/>
            <a:gdLst>
              <a:gd name="T0" fmla="*/ 987 w 987"/>
              <a:gd name="T1" fmla="*/ 1411 h 1411"/>
              <a:gd name="T2" fmla="*/ 404 w 987"/>
              <a:gd name="T3" fmla="*/ 0 h 1411"/>
              <a:gd name="T4" fmla="*/ 0 w 987"/>
              <a:gd name="T5" fmla="*/ 1157 h 1411"/>
              <a:gd name="T6" fmla="*/ 987 w 987"/>
              <a:gd name="T7" fmla="*/ 1411 h 14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987" h="1411">
                <a:moveTo>
                  <a:pt x="987" y="1411"/>
                </a:moveTo>
                <a:cubicBezTo>
                  <a:pt x="860" y="905"/>
                  <a:pt x="661" y="430"/>
                  <a:pt x="404" y="0"/>
                </a:cubicBezTo>
                <a:cubicBezTo>
                  <a:pt x="221" y="358"/>
                  <a:pt x="83" y="747"/>
                  <a:pt x="0" y="1157"/>
                </a:cubicBezTo>
                <a:cubicBezTo>
                  <a:pt x="313" y="1284"/>
                  <a:pt x="643" y="1371"/>
                  <a:pt x="987" y="1411"/>
                </a:cubicBezTo>
                <a:close/>
              </a:path>
            </a:pathLst>
          </a:custGeom>
          <a:solidFill>
            <a:schemeClr val="accent3">
              <a:lumMod val="60000"/>
              <a:lumOff val="40000"/>
              <a:alpha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pic>
        <p:nvPicPr>
          <p:cNvPr id="2" name="图形 1">
            <a:extLst>
              <a:ext uri="{FF2B5EF4-FFF2-40B4-BE49-F238E27FC236}">
                <a16:creationId xmlns:a16="http://schemas.microsoft.com/office/drawing/2014/main" id="{8B8DE730-2B7A-856D-F1DD-021A1337D7C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43266" y="1877366"/>
            <a:ext cx="4773964" cy="576000"/>
          </a:xfrm>
          <a:prstGeom prst="rect">
            <a:avLst/>
          </a:prstGeom>
        </p:spPr>
      </p:pic>
      <p:pic>
        <p:nvPicPr>
          <p:cNvPr id="3" name="图形 2">
            <a:extLst>
              <a:ext uri="{FF2B5EF4-FFF2-40B4-BE49-F238E27FC236}">
                <a16:creationId xmlns:a16="http://schemas.microsoft.com/office/drawing/2014/main" id="{F6C22253-A550-8842-1E85-9D77A31F9AC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229547" y="1107031"/>
            <a:ext cx="1873302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3685598" y="1518027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3686714" y="2413377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545B04FE-F61F-4DC9-98AD-3132B783C3E0}"/>
              </a:ext>
            </a:extLst>
          </p:cNvPr>
          <p:cNvSpPr>
            <a:spLocks/>
          </p:cNvSpPr>
          <p:nvPr userDrawn="1"/>
        </p:nvSpPr>
        <p:spPr bwMode="auto">
          <a:xfrm>
            <a:off x="0" y="3175"/>
            <a:ext cx="2543175" cy="2606675"/>
          </a:xfrm>
          <a:custGeom>
            <a:avLst/>
            <a:gdLst>
              <a:gd name="T0" fmla="*/ 0 w 1602"/>
              <a:gd name="T1" fmla="*/ 1479 h 1644"/>
              <a:gd name="T2" fmla="*/ 563 w 1602"/>
              <a:gd name="T3" fmla="*/ 1644 h 1644"/>
              <a:gd name="T4" fmla="*/ 1602 w 1602"/>
              <a:gd name="T5" fmla="*/ 605 h 1644"/>
              <a:gd name="T6" fmla="*/ 1408 w 1602"/>
              <a:gd name="T7" fmla="*/ 0 h 1644"/>
              <a:gd name="T8" fmla="*/ 0 w 1602"/>
              <a:gd name="T9" fmla="*/ 0 h 1644"/>
              <a:gd name="T10" fmla="*/ 0 w 1602"/>
              <a:gd name="T11" fmla="*/ 1479 h 16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602" h="1644">
                <a:moveTo>
                  <a:pt x="0" y="1479"/>
                </a:moveTo>
                <a:cubicBezTo>
                  <a:pt x="162" y="1583"/>
                  <a:pt x="355" y="1644"/>
                  <a:pt x="563" y="1644"/>
                </a:cubicBezTo>
                <a:cubicBezTo>
                  <a:pt x="1137" y="1644"/>
                  <a:pt x="1602" y="1179"/>
                  <a:pt x="1602" y="605"/>
                </a:cubicBezTo>
                <a:cubicBezTo>
                  <a:pt x="1602" y="379"/>
                  <a:pt x="1530" y="170"/>
                  <a:pt x="1408" y="0"/>
                </a:cubicBezTo>
                <a:cubicBezTo>
                  <a:pt x="0" y="0"/>
                  <a:pt x="0" y="0"/>
                  <a:pt x="0" y="0"/>
                </a:cubicBezTo>
                <a:lnTo>
                  <a:pt x="0" y="1479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7" name="Freeform 6">
            <a:extLst>
              <a:ext uri="{FF2B5EF4-FFF2-40B4-BE49-F238E27FC236}">
                <a16:creationId xmlns:a16="http://schemas.microsoft.com/office/drawing/2014/main" id="{06B34449-3AA2-4636-890F-7FD6EEFDCB08}"/>
              </a:ext>
            </a:extLst>
          </p:cNvPr>
          <p:cNvSpPr>
            <a:spLocks/>
          </p:cNvSpPr>
          <p:nvPr userDrawn="1"/>
        </p:nvSpPr>
        <p:spPr bwMode="auto">
          <a:xfrm>
            <a:off x="0" y="3175"/>
            <a:ext cx="1928813" cy="1946275"/>
          </a:xfrm>
          <a:custGeom>
            <a:avLst/>
            <a:gdLst>
              <a:gd name="T0" fmla="*/ 0 w 1215"/>
              <a:gd name="T1" fmla="*/ 1212 h 1227"/>
              <a:gd name="T2" fmla="*/ 176 w 1215"/>
              <a:gd name="T3" fmla="*/ 1227 h 1227"/>
              <a:gd name="T4" fmla="*/ 1215 w 1215"/>
              <a:gd name="T5" fmla="*/ 188 h 1227"/>
              <a:gd name="T6" fmla="*/ 1198 w 1215"/>
              <a:gd name="T7" fmla="*/ 0 h 1227"/>
              <a:gd name="T8" fmla="*/ 0 w 1215"/>
              <a:gd name="T9" fmla="*/ 0 h 1227"/>
              <a:gd name="T10" fmla="*/ 0 w 1215"/>
              <a:gd name="T11" fmla="*/ 1212 h 1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215" h="1227">
                <a:moveTo>
                  <a:pt x="0" y="1212"/>
                </a:moveTo>
                <a:cubicBezTo>
                  <a:pt x="57" y="1222"/>
                  <a:pt x="116" y="1227"/>
                  <a:pt x="176" y="1227"/>
                </a:cubicBezTo>
                <a:cubicBezTo>
                  <a:pt x="750" y="1227"/>
                  <a:pt x="1215" y="762"/>
                  <a:pt x="1215" y="188"/>
                </a:cubicBezTo>
                <a:cubicBezTo>
                  <a:pt x="1215" y="123"/>
                  <a:pt x="1209" y="61"/>
                  <a:pt x="1198" y="0"/>
                </a:cubicBezTo>
                <a:cubicBezTo>
                  <a:pt x="0" y="0"/>
                  <a:pt x="0" y="0"/>
                  <a:pt x="0" y="0"/>
                </a:cubicBezTo>
                <a:lnTo>
                  <a:pt x="0" y="1212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8A21F531-373F-49EC-9154-6E0799FD2916}"/>
              </a:ext>
            </a:extLst>
          </p:cNvPr>
          <p:cNvGrpSpPr/>
          <p:nvPr userDrawn="1"/>
        </p:nvGrpSpPr>
        <p:grpSpPr>
          <a:xfrm>
            <a:off x="10375943" y="4992914"/>
            <a:ext cx="1816058" cy="1861912"/>
            <a:chOff x="9802813" y="4405313"/>
            <a:chExt cx="2389188" cy="2449513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3F6C82B9-1D64-4F29-96FF-7870D10C6D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2813" y="4405313"/>
              <a:ext cx="2389188" cy="2449513"/>
            </a:xfrm>
            <a:custGeom>
              <a:avLst/>
              <a:gdLst>
                <a:gd name="T0" fmla="*/ 1505 w 1505"/>
                <a:gd name="T1" fmla="*/ 155 h 1544"/>
                <a:gd name="T2" fmla="*/ 977 w 1505"/>
                <a:gd name="T3" fmla="*/ 0 h 1544"/>
                <a:gd name="T4" fmla="*/ 0 w 1505"/>
                <a:gd name="T5" fmla="*/ 976 h 1544"/>
                <a:gd name="T6" fmla="*/ 182 w 1505"/>
                <a:gd name="T7" fmla="*/ 1544 h 1544"/>
                <a:gd name="T8" fmla="*/ 1505 w 1505"/>
                <a:gd name="T9" fmla="*/ 1544 h 1544"/>
                <a:gd name="T10" fmla="*/ 1505 w 1505"/>
                <a:gd name="T11" fmla="*/ 155 h 1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05" h="1544">
                  <a:moveTo>
                    <a:pt x="1505" y="155"/>
                  </a:moveTo>
                  <a:cubicBezTo>
                    <a:pt x="1353" y="57"/>
                    <a:pt x="1171" y="0"/>
                    <a:pt x="977" y="0"/>
                  </a:cubicBezTo>
                  <a:cubicBezTo>
                    <a:pt x="438" y="0"/>
                    <a:pt x="0" y="437"/>
                    <a:pt x="0" y="976"/>
                  </a:cubicBezTo>
                  <a:cubicBezTo>
                    <a:pt x="0" y="1188"/>
                    <a:pt x="68" y="1384"/>
                    <a:pt x="182" y="1544"/>
                  </a:cubicBezTo>
                  <a:cubicBezTo>
                    <a:pt x="1505" y="1544"/>
                    <a:pt x="1505" y="1544"/>
                    <a:pt x="1505" y="1544"/>
                  </a:cubicBezTo>
                  <a:lnTo>
                    <a:pt x="1505" y="15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9F04FDC5-0B18-4096-A7E2-CFC4AAAD4D8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80663" y="5027613"/>
              <a:ext cx="1811338" cy="1827213"/>
            </a:xfrm>
            <a:custGeom>
              <a:avLst/>
              <a:gdLst>
                <a:gd name="T0" fmla="*/ 1141 w 1141"/>
                <a:gd name="T1" fmla="*/ 14 h 1152"/>
                <a:gd name="T2" fmla="*/ 976 w 1141"/>
                <a:gd name="T3" fmla="*/ 0 h 1152"/>
                <a:gd name="T4" fmla="*/ 0 w 1141"/>
                <a:gd name="T5" fmla="*/ 976 h 1152"/>
                <a:gd name="T6" fmla="*/ 16 w 1141"/>
                <a:gd name="T7" fmla="*/ 1152 h 1152"/>
                <a:gd name="T8" fmla="*/ 1141 w 1141"/>
                <a:gd name="T9" fmla="*/ 1152 h 1152"/>
                <a:gd name="T10" fmla="*/ 1141 w 1141"/>
                <a:gd name="T11" fmla="*/ 14 h 1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41" h="1152">
                  <a:moveTo>
                    <a:pt x="1141" y="14"/>
                  </a:moveTo>
                  <a:cubicBezTo>
                    <a:pt x="1087" y="4"/>
                    <a:pt x="1032" y="0"/>
                    <a:pt x="976" y="0"/>
                  </a:cubicBezTo>
                  <a:cubicBezTo>
                    <a:pt x="437" y="0"/>
                    <a:pt x="0" y="437"/>
                    <a:pt x="0" y="976"/>
                  </a:cubicBezTo>
                  <a:cubicBezTo>
                    <a:pt x="0" y="1036"/>
                    <a:pt x="5" y="1095"/>
                    <a:pt x="16" y="1152"/>
                  </a:cubicBezTo>
                  <a:cubicBezTo>
                    <a:pt x="1141" y="1152"/>
                    <a:pt x="1141" y="1152"/>
                    <a:pt x="1141" y="1152"/>
                  </a:cubicBezTo>
                  <a:lnTo>
                    <a:pt x="1141" y="1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pic>
        <p:nvPicPr>
          <p:cNvPr id="3" name="图形 2">
            <a:extLst>
              <a:ext uri="{FF2B5EF4-FFF2-40B4-BE49-F238E27FC236}">
                <a16:creationId xmlns:a16="http://schemas.microsoft.com/office/drawing/2014/main" id="{3E7C173E-0419-CCD5-A335-109BA60B7B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31318" y="860490"/>
            <a:ext cx="1829897" cy="4193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3/9/2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  <p:pic>
        <p:nvPicPr>
          <p:cNvPr id="2" name="图形 1">
            <a:extLst>
              <a:ext uri="{FF2B5EF4-FFF2-40B4-BE49-F238E27FC236}">
                <a16:creationId xmlns:a16="http://schemas.microsoft.com/office/drawing/2014/main" id="{8B5E3928-D372-3A31-7840-27FF4645533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633546" y="720726"/>
            <a:ext cx="1873302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3/9/2</a:t>
            </a:fld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pic>
        <p:nvPicPr>
          <p:cNvPr id="7" name="图形 6">
            <a:extLst>
              <a:ext uri="{FF2B5EF4-FFF2-40B4-BE49-F238E27FC236}">
                <a16:creationId xmlns:a16="http://schemas.microsoft.com/office/drawing/2014/main" id="{12C0BB6C-3D5D-432E-DD10-FC3007CEAB0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633546" y="720726"/>
            <a:ext cx="1873302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5">
            <a:extLst>
              <a:ext uri="{FF2B5EF4-FFF2-40B4-BE49-F238E27FC236}">
                <a16:creationId xmlns:a16="http://schemas.microsoft.com/office/drawing/2014/main" id="{5EF5339F-9FDD-4900-9537-2379B601EA05}"/>
              </a:ext>
            </a:extLst>
          </p:cNvPr>
          <p:cNvSpPr>
            <a:spLocks/>
          </p:cNvSpPr>
          <p:nvPr userDrawn="1"/>
        </p:nvSpPr>
        <p:spPr bwMode="auto">
          <a:xfrm flipH="1">
            <a:off x="1" y="0"/>
            <a:ext cx="3800475" cy="6858000"/>
          </a:xfrm>
          <a:custGeom>
            <a:avLst/>
            <a:gdLst>
              <a:gd name="T0" fmla="*/ 0 w 2392"/>
              <a:gd name="T1" fmla="*/ 3836 h 4320"/>
              <a:gd name="T2" fmla="*/ 25 w 2392"/>
              <a:gd name="T3" fmla="*/ 4320 h 4320"/>
              <a:gd name="T4" fmla="*/ 2392 w 2392"/>
              <a:gd name="T5" fmla="*/ 4320 h 4320"/>
              <a:gd name="T6" fmla="*/ 2392 w 2392"/>
              <a:gd name="T7" fmla="*/ 0 h 4320"/>
              <a:gd name="T8" fmla="*/ 2190 w 2392"/>
              <a:gd name="T9" fmla="*/ 0 h 4320"/>
              <a:gd name="T10" fmla="*/ 0 w 2392"/>
              <a:gd name="T11" fmla="*/ 3836 h 4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392" h="4320">
                <a:moveTo>
                  <a:pt x="0" y="3836"/>
                </a:moveTo>
                <a:cubicBezTo>
                  <a:pt x="0" y="4000"/>
                  <a:pt x="8" y="4161"/>
                  <a:pt x="25" y="4320"/>
                </a:cubicBezTo>
                <a:cubicBezTo>
                  <a:pt x="2392" y="4320"/>
                  <a:pt x="2392" y="4320"/>
                  <a:pt x="2392" y="4320"/>
                </a:cubicBezTo>
                <a:cubicBezTo>
                  <a:pt x="2392" y="0"/>
                  <a:pt x="2392" y="0"/>
                  <a:pt x="2392" y="0"/>
                </a:cubicBezTo>
                <a:cubicBezTo>
                  <a:pt x="2190" y="0"/>
                  <a:pt x="2190" y="0"/>
                  <a:pt x="2190" y="0"/>
                </a:cubicBezTo>
                <a:cubicBezTo>
                  <a:pt x="890" y="711"/>
                  <a:pt x="0" y="2162"/>
                  <a:pt x="0" y="3836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solidFill>
                <a:schemeClr val="accent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7" name="Freeform 6">
            <a:extLst>
              <a:ext uri="{FF2B5EF4-FFF2-40B4-BE49-F238E27FC236}">
                <a16:creationId xmlns:a16="http://schemas.microsoft.com/office/drawing/2014/main" id="{51AF3C16-9817-4D56-87AB-DAE160269FBB}"/>
              </a:ext>
            </a:extLst>
          </p:cNvPr>
          <p:cNvSpPr>
            <a:spLocks/>
          </p:cNvSpPr>
          <p:nvPr userDrawn="1"/>
        </p:nvSpPr>
        <p:spPr bwMode="auto">
          <a:xfrm flipH="1">
            <a:off x="1835151" y="2800350"/>
            <a:ext cx="1965325" cy="4057650"/>
          </a:xfrm>
          <a:custGeom>
            <a:avLst/>
            <a:gdLst>
              <a:gd name="T0" fmla="*/ 494 w 1237"/>
              <a:gd name="T1" fmla="*/ 0 h 2556"/>
              <a:gd name="T2" fmla="*/ 0 w 1237"/>
              <a:gd name="T3" fmla="*/ 2072 h 2556"/>
              <a:gd name="T4" fmla="*/ 25 w 1237"/>
              <a:gd name="T5" fmla="*/ 2556 h 2556"/>
              <a:gd name="T6" fmla="*/ 1237 w 1237"/>
              <a:gd name="T7" fmla="*/ 2556 h 2556"/>
              <a:gd name="T8" fmla="*/ 494 w 1237"/>
              <a:gd name="T9" fmla="*/ 0 h 25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37" h="2556">
                <a:moveTo>
                  <a:pt x="494" y="0"/>
                </a:moveTo>
                <a:cubicBezTo>
                  <a:pt x="179" y="615"/>
                  <a:pt x="0" y="1321"/>
                  <a:pt x="0" y="2072"/>
                </a:cubicBezTo>
                <a:cubicBezTo>
                  <a:pt x="0" y="2236"/>
                  <a:pt x="8" y="2397"/>
                  <a:pt x="25" y="2556"/>
                </a:cubicBezTo>
                <a:cubicBezTo>
                  <a:pt x="1237" y="2556"/>
                  <a:pt x="1237" y="2556"/>
                  <a:pt x="1237" y="2556"/>
                </a:cubicBezTo>
                <a:cubicBezTo>
                  <a:pt x="1207" y="1616"/>
                  <a:pt x="938" y="742"/>
                  <a:pt x="494" y="0"/>
                </a:cubicBez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8" name="Freeform 7">
            <a:extLst>
              <a:ext uri="{FF2B5EF4-FFF2-40B4-BE49-F238E27FC236}">
                <a16:creationId xmlns:a16="http://schemas.microsoft.com/office/drawing/2014/main" id="{34DF80D4-9DDD-4512-A0E2-1AFA3EEA5C33}"/>
              </a:ext>
            </a:extLst>
          </p:cNvPr>
          <p:cNvSpPr>
            <a:spLocks/>
          </p:cNvSpPr>
          <p:nvPr userDrawn="1"/>
        </p:nvSpPr>
        <p:spPr bwMode="auto">
          <a:xfrm flipH="1">
            <a:off x="0" y="0"/>
            <a:ext cx="7558088" cy="5080000"/>
          </a:xfrm>
          <a:custGeom>
            <a:avLst/>
            <a:gdLst>
              <a:gd name="T0" fmla="*/ 3877 w 4756"/>
              <a:gd name="T1" fmla="*/ 3200 h 3200"/>
              <a:gd name="T2" fmla="*/ 4756 w 4756"/>
              <a:gd name="T3" fmla="*/ 3096 h 3200"/>
              <a:gd name="T4" fmla="*/ 4756 w 4756"/>
              <a:gd name="T5" fmla="*/ 0 h 3200"/>
              <a:gd name="T6" fmla="*/ 0 w 4756"/>
              <a:gd name="T7" fmla="*/ 0 h 3200"/>
              <a:gd name="T8" fmla="*/ 3877 w 4756"/>
              <a:gd name="T9" fmla="*/ 3200 h 3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756" h="3200">
                <a:moveTo>
                  <a:pt x="3877" y="3200"/>
                </a:moveTo>
                <a:cubicBezTo>
                  <a:pt x="4179" y="3200"/>
                  <a:pt x="4473" y="3164"/>
                  <a:pt x="4756" y="3096"/>
                </a:cubicBezTo>
                <a:cubicBezTo>
                  <a:pt x="4756" y="0"/>
                  <a:pt x="4756" y="0"/>
                  <a:pt x="4756" y="0"/>
                </a:cubicBezTo>
                <a:cubicBezTo>
                  <a:pt x="0" y="0"/>
                  <a:pt x="0" y="0"/>
                  <a:pt x="0" y="0"/>
                </a:cubicBezTo>
                <a:cubicBezTo>
                  <a:pt x="454" y="1842"/>
                  <a:pt x="2018" y="3200"/>
                  <a:pt x="3877" y="320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A4E9D79A-FB50-4D59-87C1-31AE889DEEA8}"/>
              </a:ext>
            </a:extLst>
          </p:cNvPr>
          <p:cNvSpPr>
            <a:spLocks/>
          </p:cNvSpPr>
          <p:nvPr userDrawn="1"/>
        </p:nvSpPr>
        <p:spPr bwMode="auto">
          <a:xfrm flipH="1">
            <a:off x="1" y="0"/>
            <a:ext cx="3657600" cy="5080000"/>
          </a:xfrm>
          <a:custGeom>
            <a:avLst/>
            <a:gdLst>
              <a:gd name="T0" fmla="*/ 0 w 2302"/>
              <a:gd name="T1" fmla="*/ 2921 h 3200"/>
              <a:gd name="T2" fmla="*/ 1423 w 2302"/>
              <a:gd name="T3" fmla="*/ 3200 h 3200"/>
              <a:gd name="T4" fmla="*/ 2302 w 2302"/>
              <a:gd name="T5" fmla="*/ 3096 h 3200"/>
              <a:gd name="T6" fmla="*/ 2302 w 2302"/>
              <a:gd name="T7" fmla="*/ 0 h 3200"/>
              <a:gd name="T8" fmla="*/ 2100 w 2302"/>
              <a:gd name="T9" fmla="*/ 0 h 3200"/>
              <a:gd name="T10" fmla="*/ 0 w 2302"/>
              <a:gd name="T11" fmla="*/ 2921 h 3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302" h="3200">
                <a:moveTo>
                  <a:pt x="0" y="2921"/>
                </a:moveTo>
                <a:cubicBezTo>
                  <a:pt x="442" y="3101"/>
                  <a:pt x="922" y="3200"/>
                  <a:pt x="1423" y="3200"/>
                </a:cubicBezTo>
                <a:cubicBezTo>
                  <a:pt x="1725" y="3200"/>
                  <a:pt x="2019" y="3164"/>
                  <a:pt x="2302" y="3096"/>
                </a:cubicBezTo>
                <a:cubicBezTo>
                  <a:pt x="2302" y="0"/>
                  <a:pt x="2302" y="0"/>
                  <a:pt x="2302" y="0"/>
                </a:cubicBezTo>
                <a:cubicBezTo>
                  <a:pt x="2100" y="0"/>
                  <a:pt x="2100" y="0"/>
                  <a:pt x="2100" y="0"/>
                </a:cubicBezTo>
                <a:cubicBezTo>
                  <a:pt x="1044" y="578"/>
                  <a:pt x="258" y="1644"/>
                  <a:pt x="0" y="2921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208264A6-3BAB-43E3-9A7E-B6B98D6C9A92}"/>
              </a:ext>
            </a:extLst>
          </p:cNvPr>
          <p:cNvSpPr>
            <a:spLocks/>
          </p:cNvSpPr>
          <p:nvPr userDrawn="1"/>
        </p:nvSpPr>
        <p:spPr bwMode="auto">
          <a:xfrm flipH="1">
            <a:off x="2089150" y="0"/>
            <a:ext cx="5468938" cy="5040313"/>
          </a:xfrm>
          <a:custGeom>
            <a:avLst/>
            <a:gdLst>
              <a:gd name="T0" fmla="*/ 3441 w 3441"/>
              <a:gd name="T1" fmla="*/ 3175 h 3175"/>
              <a:gd name="T2" fmla="*/ 1060 w 3441"/>
              <a:gd name="T3" fmla="*/ 0 h 3175"/>
              <a:gd name="T4" fmla="*/ 0 w 3441"/>
              <a:gd name="T5" fmla="*/ 0 h 3175"/>
              <a:gd name="T6" fmla="*/ 3441 w 3441"/>
              <a:gd name="T7" fmla="*/ 3175 h 31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441" h="3175">
                <a:moveTo>
                  <a:pt x="3441" y="3175"/>
                </a:moveTo>
                <a:cubicBezTo>
                  <a:pt x="3094" y="1795"/>
                  <a:pt x="2217" y="648"/>
                  <a:pt x="1060" y="0"/>
                </a:cubicBezTo>
                <a:cubicBezTo>
                  <a:pt x="0" y="0"/>
                  <a:pt x="0" y="0"/>
                  <a:pt x="0" y="0"/>
                </a:cubicBezTo>
                <a:cubicBezTo>
                  <a:pt x="418" y="1696"/>
                  <a:pt x="1777" y="2982"/>
                  <a:pt x="3441" y="3175"/>
                </a:cubicBezTo>
                <a:close/>
              </a:path>
            </a:pathLst>
          </a:custGeom>
          <a:solidFill>
            <a:schemeClr val="accent1">
              <a:lumMod val="60000"/>
              <a:lumOff val="40000"/>
              <a:alpha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7B796330-1952-49F1-849B-7848281E44E0}"/>
              </a:ext>
            </a:extLst>
          </p:cNvPr>
          <p:cNvSpPr>
            <a:spLocks/>
          </p:cNvSpPr>
          <p:nvPr userDrawn="1"/>
        </p:nvSpPr>
        <p:spPr bwMode="auto">
          <a:xfrm flipH="1">
            <a:off x="2089151" y="2800350"/>
            <a:ext cx="1568450" cy="2239963"/>
          </a:xfrm>
          <a:custGeom>
            <a:avLst/>
            <a:gdLst>
              <a:gd name="T0" fmla="*/ 987 w 987"/>
              <a:gd name="T1" fmla="*/ 1411 h 1411"/>
              <a:gd name="T2" fmla="*/ 404 w 987"/>
              <a:gd name="T3" fmla="*/ 0 h 1411"/>
              <a:gd name="T4" fmla="*/ 0 w 987"/>
              <a:gd name="T5" fmla="*/ 1157 h 1411"/>
              <a:gd name="T6" fmla="*/ 987 w 987"/>
              <a:gd name="T7" fmla="*/ 1411 h 14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987" h="1411">
                <a:moveTo>
                  <a:pt x="987" y="1411"/>
                </a:moveTo>
                <a:cubicBezTo>
                  <a:pt x="860" y="905"/>
                  <a:pt x="661" y="430"/>
                  <a:pt x="404" y="0"/>
                </a:cubicBezTo>
                <a:cubicBezTo>
                  <a:pt x="221" y="358"/>
                  <a:pt x="83" y="747"/>
                  <a:pt x="0" y="1157"/>
                </a:cubicBezTo>
                <a:cubicBezTo>
                  <a:pt x="313" y="1284"/>
                  <a:pt x="643" y="1371"/>
                  <a:pt x="987" y="1411"/>
                </a:cubicBezTo>
                <a:close/>
              </a:path>
            </a:pathLst>
          </a:custGeom>
          <a:solidFill>
            <a:schemeClr val="accent3">
              <a:lumMod val="60000"/>
              <a:lumOff val="40000"/>
              <a:alpha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384924" y="2618245"/>
            <a:ext cx="5426076" cy="162150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384924" y="4924481"/>
            <a:ext cx="5426076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5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384925" y="4628210"/>
            <a:ext cx="5426076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pic>
        <p:nvPicPr>
          <p:cNvPr id="2" name="图形 1">
            <a:extLst>
              <a:ext uri="{FF2B5EF4-FFF2-40B4-BE49-F238E27FC236}">
                <a16:creationId xmlns:a16="http://schemas.microsoft.com/office/drawing/2014/main" id="{D9A63361-D0DF-1A8E-AEA1-B997DDD01F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939910" y="1622648"/>
            <a:ext cx="4773964" cy="576000"/>
          </a:xfrm>
          <a:prstGeom prst="rect">
            <a:avLst/>
          </a:prstGeom>
        </p:spPr>
      </p:pic>
      <p:pic>
        <p:nvPicPr>
          <p:cNvPr id="3" name="图形 2">
            <a:extLst>
              <a:ext uri="{FF2B5EF4-FFF2-40B4-BE49-F238E27FC236}">
                <a16:creationId xmlns:a16="http://schemas.microsoft.com/office/drawing/2014/main" id="{BF35FA95-C4D2-4837-34B5-CFED0760CBF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95043" y="1666702"/>
            <a:ext cx="2489081" cy="2467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23/9/2</a:t>
            </a:fld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11.emf"/><Relationship Id="rId2" Type="http://schemas.openxmlformats.org/officeDocument/2006/relationships/tags" Target="../tags/tag2.x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9.jp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5.xml"/><Relationship Id="rId1" Type="http://schemas.openxmlformats.org/officeDocument/2006/relationships/themeOverride" Target="../theme/themeOverride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11.emf"/><Relationship Id="rId2" Type="http://schemas.openxmlformats.org/officeDocument/2006/relationships/tags" Target="../tags/tag4.xml"/><Relationship Id="rId1" Type="http://schemas.openxmlformats.org/officeDocument/2006/relationships/themeOverride" Target="../theme/themeOverride8.x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21.xml"/><Relationship Id="rId4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5.jpg"/><Relationship Id="rId4" Type="http://schemas.openxmlformats.org/officeDocument/2006/relationships/image" Target="../media/image14.jp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70BA4137-4D99-417D-AE27-D4D466BEC4A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08383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BBC05256-DF4F-4FCD-9F4E-385734F567D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altLang="zh-CN" dirty="0"/>
              <a:t>Subtitle here</a:t>
            </a: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zh-CN" altLang="en-US" sz="2000" dirty="0"/>
              <a:t>桂林电子科技大学工商管理硕士（</a:t>
            </a:r>
            <a:r>
              <a:rPr lang="en-US" altLang="zh-CN" sz="2000" dirty="0"/>
              <a:t>MBA</a:t>
            </a:r>
            <a:r>
              <a:rPr lang="zh-CN" altLang="en-US" sz="2000" dirty="0"/>
              <a:t>）</a:t>
            </a:r>
            <a:br>
              <a:rPr lang="en-US" altLang="zh-CN" dirty="0"/>
            </a:br>
            <a:r>
              <a:rPr lang="zh-CN" altLang="en-US" dirty="0"/>
              <a:t>毕业论文答辩</a:t>
            </a:r>
            <a:r>
              <a:rPr lang="en-US" altLang="zh-CN" dirty="0"/>
              <a:t>PPT</a:t>
            </a:r>
            <a:r>
              <a:rPr lang="zh-CN" altLang="en-US" dirty="0"/>
              <a:t>模板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sz="1200">
                <a:solidFill>
                  <a:schemeClr val="tx1">
                    <a:lumMod val="50000"/>
                    <a:lumOff val="50000"/>
                  </a:schemeClr>
                </a:solidFill>
              </a:rPr>
              <a:t>Speaker name and title</a:t>
            </a:r>
            <a:endParaRPr lang="en-US" altLang="zh-CN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ba.guet.edu.cn</a:t>
            </a:r>
            <a:endParaRPr lang="en-US" alt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关键技术与实践难点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 dirty="0"/>
              <a:t>Supporting text here.</a:t>
            </a:r>
          </a:p>
          <a:p>
            <a:pPr lvl="0"/>
            <a:r>
              <a:rPr lang="en-US" altLang="zh-CN" dirty="0"/>
              <a:t>When you copy &amp; paste, choose "keep text only" option.</a:t>
            </a:r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2549768" y="2031279"/>
            <a:ext cx="890213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3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104538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A024F0D-A708-4986-B0BD-312D7CC70B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A8AB5667-726F-42E0-BE70-4D31E97BA8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17B82040-DE0B-45DF-ABF8-9C15F71CE5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1</a:t>
            </a:fld>
            <a:endParaRPr lang="zh-CN" altLang="en-US"/>
          </a:p>
        </p:txBody>
      </p:sp>
      <p:sp>
        <p:nvSpPr>
          <p:cNvPr id="6" name="ïs1idê">
            <a:extLst>
              <a:ext uri="{FF2B5EF4-FFF2-40B4-BE49-F238E27FC236}">
                <a16:creationId xmlns:a16="http://schemas.microsoft.com/office/drawing/2014/main" id="{DF52A1F6-B23D-436B-82DA-3CAF10BF9DDD}"/>
              </a:ext>
            </a:extLst>
          </p:cNvPr>
          <p:cNvSpPr>
            <a:spLocks/>
          </p:cNvSpPr>
          <p:nvPr/>
        </p:nvSpPr>
        <p:spPr>
          <a:xfrm>
            <a:off x="8148228" y="1340768"/>
            <a:ext cx="3240360" cy="4392488"/>
          </a:xfrm>
          <a:prstGeom prst="rect">
            <a:avLst/>
          </a:prstGeom>
          <a:blipFill>
            <a:blip r:embed="rId3"/>
            <a:srcRect/>
            <a:stretch>
              <a:fillRect l="-53999" t="88" r="-55541" b="-88"/>
            </a:stretch>
          </a:blipFill>
          <a:ln w="63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/>
          </a:p>
        </p:txBody>
      </p:sp>
      <p:sp>
        <p:nvSpPr>
          <p:cNvPr id="7" name="ïSḻîḋé">
            <a:extLst>
              <a:ext uri="{FF2B5EF4-FFF2-40B4-BE49-F238E27FC236}">
                <a16:creationId xmlns:a16="http://schemas.microsoft.com/office/drawing/2014/main" id="{C0FB9BC8-DBD2-4DCC-BE2B-BCF4E3E067E0}"/>
              </a:ext>
            </a:extLst>
          </p:cNvPr>
          <p:cNvSpPr/>
          <p:nvPr/>
        </p:nvSpPr>
        <p:spPr>
          <a:xfrm>
            <a:off x="8148228" y="5299272"/>
            <a:ext cx="3240360" cy="433984"/>
          </a:xfrm>
          <a:prstGeom prst="rect">
            <a:avLst/>
          </a:prstGeom>
          <a:solidFill>
            <a:schemeClr val="tx1">
              <a:lumMod val="85000"/>
              <a:lumOff val="15000"/>
              <a:alpha val="85000"/>
            </a:schemeClr>
          </a:solidFill>
          <a:ln>
            <a:noFill/>
          </a:ln>
        </p:spPr>
        <p:txBody>
          <a:bodyPr wrap="none" lIns="91412" tIns="45700" rIns="91412" bIns="45700" anchor="ctr" anchorCtr="1">
            <a:normAutofit/>
          </a:bodyPr>
          <a:lstStyle/>
          <a:p>
            <a:pPr algn="ctr">
              <a:buSzPct val="25000"/>
              <a:defRPr/>
            </a:pPr>
            <a:r>
              <a:rPr kumimoji="0" lang="zh-CN" altLang="en-US" sz="2000" b="1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</a:rPr>
              <a:t>关键词</a:t>
            </a:r>
            <a:endParaRPr kumimoji="0" lang="zh-CN" altLang="en-US" sz="2000" b="1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95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34" name="í$ľîḓê">
            <a:extLst>
              <a:ext uri="{FF2B5EF4-FFF2-40B4-BE49-F238E27FC236}">
                <a16:creationId xmlns:a16="http://schemas.microsoft.com/office/drawing/2014/main" id="{7DF325AE-E4C2-4AFC-A396-076AC6E64FDF}"/>
              </a:ext>
            </a:extLst>
          </p:cNvPr>
          <p:cNvSpPr/>
          <p:nvPr/>
        </p:nvSpPr>
        <p:spPr>
          <a:xfrm>
            <a:off x="1238327" y="2888313"/>
            <a:ext cx="720080" cy="720080"/>
          </a:xfrm>
          <a:prstGeom prst="ellipse">
            <a:avLst/>
          </a:prstGeom>
          <a:noFill/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/>
          </a:p>
        </p:txBody>
      </p:sp>
      <p:sp>
        <p:nvSpPr>
          <p:cNvPr id="35" name="íŝliḍé">
            <a:extLst>
              <a:ext uri="{FF2B5EF4-FFF2-40B4-BE49-F238E27FC236}">
                <a16:creationId xmlns:a16="http://schemas.microsoft.com/office/drawing/2014/main" id="{CEADF00D-6402-462F-AEE3-A8808A23DEE1}"/>
              </a:ext>
            </a:extLst>
          </p:cNvPr>
          <p:cNvSpPr/>
          <p:nvPr/>
        </p:nvSpPr>
        <p:spPr>
          <a:xfrm>
            <a:off x="1448618" y="3105536"/>
            <a:ext cx="299500" cy="285632"/>
          </a:xfrm>
          <a:custGeom>
            <a:avLst/>
            <a:gdLst>
              <a:gd name="connsiteX0" fmla="*/ 315778 w 607639"/>
              <a:gd name="connsiteY0" fmla="*/ 173080 h 579502"/>
              <a:gd name="connsiteX1" fmla="*/ 315778 w 607639"/>
              <a:gd name="connsiteY1" fmla="*/ 266058 h 579502"/>
              <a:gd name="connsiteX2" fmla="*/ 303493 w 607639"/>
              <a:gd name="connsiteY2" fmla="*/ 278325 h 579502"/>
              <a:gd name="connsiteX3" fmla="*/ 210375 w 607639"/>
              <a:gd name="connsiteY3" fmla="*/ 278325 h 579502"/>
              <a:gd name="connsiteX4" fmla="*/ 303493 w 607639"/>
              <a:gd name="connsiteY4" fmla="*/ 359925 h 579502"/>
              <a:gd name="connsiteX5" fmla="*/ 397500 w 607639"/>
              <a:gd name="connsiteY5" fmla="*/ 266058 h 579502"/>
              <a:gd name="connsiteX6" fmla="*/ 315778 w 607639"/>
              <a:gd name="connsiteY6" fmla="*/ 173080 h 579502"/>
              <a:gd name="connsiteX7" fmla="*/ 249814 w 607639"/>
              <a:gd name="connsiteY7" fmla="*/ 160816 h 579502"/>
              <a:gd name="connsiteX8" fmla="*/ 198110 w 607639"/>
              <a:gd name="connsiteY8" fmla="*/ 212449 h 579502"/>
              <a:gd name="connsiteX9" fmla="*/ 249814 w 607639"/>
              <a:gd name="connsiteY9" fmla="*/ 212449 h 579502"/>
              <a:gd name="connsiteX10" fmla="*/ 303493 w 607639"/>
              <a:gd name="connsiteY10" fmla="*/ 147835 h 579502"/>
              <a:gd name="connsiteX11" fmla="*/ 421981 w 607639"/>
              <a:gd name="connsiteY11" fmla="*/ 266058 h 579502"/>
              <a:gd name="connsiteX12" fmla="*/ 303493 w 607639"/>
              <a:gd name="connsiteY12" fmla="*/ 384370 h 579502"/>
              <a:gd name="connsiteX13" fmla="*/ 185093 w 607639"/>
              <a:gd name="connsiteY13" fmla="*/ 266058 h 579502"/>
              <a:gd name="connsiteX14" fmla="*/ 197289 w 607639"/>
              <a:gd name="connsiteY14" fmla="*/ 253880 h 579502"/>
              <a:gd name="connsiteX15" fmla="*/ 291297 w 607639"/>
              <a:gd name="connsiteY15" fmla="*/ 253880 h 579502"/>
              <a:gd name="connsiteX16" fmla="*/ 291297 w 607639"/>
              <a:gd name="connsiteY16" fmla="*/ 160013 h 579502"/>
              <a:gd name="connsiteX17" fmla="*/ 303493 w 607639"/>
              <a:gd name="connsiteY17" fmla="*/ 147835 h 579502"/>
              <a:gd name="connsiteX18" fmla="*/ 262095 w 607639"/>
              <a:gd name="connsiteY18" fmla="*/ 135133 h 579502"/>
              <a:gd name="connsiteX19" fmla="*/ 274287 w 607639"/>
              <a:gd name="connsiteY19" fmla="*/ 147397 h 579502"/>
              <a:gd name="connsiteX20" fmla="*/ 274287 w 607639"/>
              <a:gd name="connsiteY20" fmla="*/ 224713 h 579502"/>
              <a:gd name="connsiteX21" fmla="*/ 262095 w 607639"/>
              <a:gd name="connsiteY21" fmla="*/ 236888 h 579502"/>
              <a:gd name="connsiteX22" fmla="*/ 184672 w 607639"/>
              <a:gd name="connsiteY22" fmla="*/ 236888 h 579502"/>
              <a:gd name="connsiteX23" fmla="*/ 172391 w 607639"/>
              <a:gd name="connsiteY23" fmla="*/ 224713 h 579502"/>
              <a:gd name="connsiteX24" fmla="*/ 262095 w 607639"/>
              <a:gd name="connsiteY24" fmla="*/ 135133 h 579502"/>
              <a:gd name="connsiteX25" fmla="*/ 58120 w 607639"/>
              <a:gd name="connsiteY25" fmla="*/ 108514 h 579502"/>
              <a:gd name="connsiteX26" fmla="*/ 58120 w 607639"/>
              <a:gd name="connsiteY26" fmla="*/ 413970 h 579502"/>
              <a:gd name="connsiteX27" fmla="*/ 549430 w 607639"/>
              <a:gd name="connsiteY27" fmla="*/ 413970 h 579502"/>
              <a:gd name="connsiteX28" fmla="*/ 549430 w 607639"/>
              <a:gd name="connsiteY28" fmla="*/ 108514 h 579502"/>
              <a:gd name="connsiteX29" fmla="*/ 27236 w 607639"/>
              <a:gd name="connsiteY29" fmla="*/ 56079 h 579502"/>
              <a:gd name="connsiteX30" fmla="*/ 27236 w 607639"/>
              <a:gd name="connsiteY30" fmla="*/ 81319 h 579502"/>
              <a:gd name="connsiteX31" fmla="*/ 580403 w 607639"/>
              <a:gd name="connsiteY31" fmla="*/ 81319 h 579502"/>
              <a:gd name="connsiteX32" fmla="*/ 580403 w 607639"/>
              <a:gd name="connsiteY32" fmla="*/ 56079 h 579502"/>
              <a:gd name="connsiteX33" fmla="*/ 303775 w 607639"/>
              <a:gd name="connsiteY33" fmla="*/ 0 h 579502"/>
              <a:gd name="connsiteX34" fmla="*/ 317393 w 607639"/>
              <a:gd name="connsiteY34" fmla="*/ 13597 h 579502"/>
              <a:gd name="connsiteX35" fmla="*/ 317393 w 607639"/>
              <a:gd name="connsiteY35" fmla="*/ 28884 h 579502"/>
              <a:gd name="connsiteX36" fmla="*/ 580403 w 607639"/>
              <a:gd name="connsiteY36" fmla="*/ 28884 h 579502"/>
              <a:gd name="connsiteX37" fmla="*/ 607639 w 607639"/>
              <a:gd name="connsiteY37" fmla="*/ 56079 h 579502"/>
              <a:gd name="connsiteX38" fmla="*/ 607639 w 607639"/>
              <a:gd name="connsiteY38" fmla="*/ 81319 h 579502"/>
              <a:gd name="connsiteX39" fmla="*/ 580403 w 607639"/>
              <a:gd name="connsiteY39" fmla="*/ 108514 h 579502"/>
              <a:gd name="connsiteX40" fmla="*/ 576665 w 607639"/>
              <a:gd name="connsiteY40" fmla="*/ 108514 h 579502"/>
              <a:gd name="connsiteX41" fmla="*/ 576665 w 607639"/>
              <a:gd name="connsiteY41" fmla="*/ 413970 h 579502"/>
              <a:gd name="connsiteX42" fmla="*/ 549430 w 607639"/>
              <a:gd name="connsiteY42" fmla="*/ 441165 h 579502"/>
              <a:gd name="connsiteX43" fmla="*/ 317393 w 607639"/>
              <a:gd name="connsiteY43" fmla="*/ 441165 h 579502"/>
              <a:gd name="connsiteX44" fmla="*/ 317393 w 607639"/>
              <a:gd name="connsiteY44" fmla="*/ 481069 h 579502"/>
              <a:gd name="connsiteX45" fmla="*/ 418236 w 607639"/>
              <a:gd name="connsiteY45" fmla="*/ 554923 h 579502"/>
              <a:gd name="connsiteX46" fmla="*/ 421173 w 607639"/>
              <a:gd name="connsiteY46" fmla="*/ 573942 h 579502"/>
              <a:gd name="connsiteX47" fmla="*/ 410225 w 607639"/>
              <a:gd name="connsiteY47" fmla="*/ 579452 h 579502"/>
              <a:gd name="connsiteX48" fmla="*/ 402215 w 607639"/>
              <a:gd name="connsiteY48" fmla="*/ 576874 h 579502"/>
              <a:gd name="connsiteX49" fmla="*/ 317393 w 607639"/>
              <a:gd name="connsiteY49" fmla="*/ 514752 h 579502"/>
              <a:gd name="connsiteX50" fmla="*/ 317393 w 607639"/>
              <a:gd name="connsiteY50" fmla="*/ 565854 h 579502"/>
              <a:gd name="connsiteX51" fmla="*/ 303775 w 607639"/>
              <a:gd name="connsiteY51" fmla="*/ 579452 h 579502"/>
              <a:gd name="connsiteX52" fmla="*/ 290157 w 607639"/>
              <a:gd name="connsiteY52" fmla="*/ 565854 h 579502"/>
              <a:gd name="connsiteX53" fmla="*/ 290157 w 607639"/>
              <a:gd name="connsiteY53" fmla="*/ 514752 h 579502"/>
              <a:gd name="connsiteX54" fmla="*/ 205424 w 607639"/>
              <a:gd name="connsiteY54" fmla="*/ 576874 h 579502"/>
              <a:gd name="connsiteX55" fmla="*/ 186377 w 607639"/>
              <a:gd name="connsiteY55" fmla="*/ 573942 h 579502"/>
              <a:gd name="connsiteX56" fmla="*/ 189314 w 607639"/>
              <a:gd name="connsiteY56" fmla="*/ 554923 h 579502"/>
              <a:gd name="connsiteX57" fmla="*/ 290157 w 607639"/>
              <a:gd name="connsiteY57" fmla="*/ 481069 h 579502"/>
              <a:gd name="connsiteX58" fmla="*/ 290157 w 607639"/>
              <a:gd name="connsiteY58" fmla="*/ 441165 h 579502"/>
              <a:gd name="connsiteX59" fmla="*/ 58120 w 607639"/>
              <a:gd name="connsiteY59" fmla="*/ 441165 h 579502"/>
              <a:gd name="connsiteX60" fmla="*/ 30885 w 607639"/>
              <a:gd name="connsiteY60" fmla="*/ 413970 h 579502"/>
              <a:gd name="connsiteX61" fmla="*/ 30885 w 607639"/>
              <a:gd name="connsiteY61" fmla="*/ 108514 h 579502"/>
              <a:gd name="connsiteX62" fmla="*/ 27236 w 607639"/>
              <a:gd name="connsiteY62" fmla="*/ 108514 h 579502"/>
              <a:gd name="connsiteX63" fmla="*/ 0 w 607639"/>
              <a:gd name="connsiteY63" fmla="*/ 81319 h 579502"/>
              <a:gd name="connsiteX64" fmla="*/ 0 w 607639"/>
              <a:gd name="connsiteY64" fmla="*/ 56079 h 579502"/>
              <a:gd name="connsiteX65" fmla="*/ 27236 w 607639"/>
              <a:gd name="connsiteY65" fmla="*/ 28884 h 579502"/>
              <a:gd name="connsiteX66" fmla="*/ 290157 w 607639"/>
              <a:gd name="connsiteY66" fmla="*/ 28884 h 579502"/>
              <a:gd name="connsiteX67" fmla="*/ 290157 w 607639"/>
              <a:gd name="connsiteY67" fmla="*/ 13597 h 579502"/>
              <a:gd name="connsiteX68" fmla="*/ 303775 w 607639"/>
              <a:gd name="connsiteY68" fmla="*/ 0 h 579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</a:cxnLst>
            <a:rect l="l" t="t" r="r" b="b"/>
            <a:pathLst>
              <a:path w="607639" h="579502">
                <a:moveTo>
                  <a:pt x="315778" y="173080"/>
                </a:moveTo>
                <a:lnTo>
                  <a:pt x="315778" y="266058"/>
                </a:lnTo>
                <a:cubicBezTo>
                  <a:pt x="315778" y="272814"/>
                  <a:pt x="310258" y="278325"/>
                  <a:pt x="303493" y="278325"/>
                </a:cubicBezTo>
                <a:lnTo>
                  <a:pt x="210375" y="278325"/>
                </a:lnTo>
                <a:cubicBezTo>
                  <a:pt x="216429" y="324281"/>
                  <a:pt x="255866" y="359925"/>
                  <a:pt x="303493" y="359925"/>
                </a:cubicBezTo>
                <a:cubicBezTo>
                  <a:pt x="355303" y="359925"/>
                  <a:pt x="397500" y="317792"/>
                  <a:pt x="397500" y="266058"/>
                </a:cubicBezTo>
                <a:cubicBezTo>
                  <a:pt x="397500" y="218502"/>
                  <a:pt x="361802" y="179124"/>
                  <a:pt x="315778" y="173080"/>
                </a:cubicBezTo>
                <a:close/>
                <a:moveTo>
                  <a:pt x="249814" y="160816"/>
                </a:moveTo>
                <a:cubicBezTo>
                  <a:pt x="223740" y="165793"/>
                  <a:pt x="203093" y="186410"/>
                  <a:pt x="198110" y="212449"/>
                </a:cubicBezTo>
                <a:lnTo>
                  <a:pt x="249814" y="212449"/>
                </a:lnTo>
                <a:close/>
                <a:moveTo>
                  <a:pt x="303493" y="147835"/>
                </a:moveTo>
                <a:cubicBezTo>
                  <a:pt x="368835" y="147835"/>
                  <a:pt x="421981" y="200902"/>
                  <a:pt x="421981" y="266058"/>
                </a:cubicBezTo>
                <a:cubicBezTo>
                  <a:pt x="421981" y="331303"/>
                  <a:pt x="368835" y="384370"/>
                  <a:pt x="303493" y="384370"/>
                </a:cubicBezTo>
                <a:cubicBezTo>
                  <a:pt x="238239" y="384370"/>
                  <a:pt x="185093" y="331303"/>
                  <a:pt x="185093" y="266058"/>
                </a:cubicBezTo>
                <a:cubicBezTo>
                  <a:pt x="185093" y="259303"/>
                  <a:pt x="190523" y="253880"/>
                  <a:pt x="197289" y="253880"/>
                </a:cubicBezTo>
                <a:lnTo>
                  <a:pt x="291297" y="253880"/>
                </a:lnTo>
                <a:lnTo>
                  <a:pt x="291297" y="160013"/>
                </a:lnTo>
                <a:cubicBezTo>
                  <a:pt x="291297" y="153257"/>
                  <a:pt x="296727" y="147835"/>
                  <a:pt x="303493" y="147835"/>
                </a:cubicBezTo>
                <a:close/>
                <a:moveTo>
                  <a:pt x="262095" y="135133"/>
                </a:moveTo>
                <a:cubicBezTo>
                  <a:pt x="268859" y="135133"/>
                  <a:pt x="274287" y="140643"/>
                  <a:pt x="274287" y="147397"/>
                </a:cubicBezTo>
                <a:lnTo>
                  <a:pt x="274287" y="224713"/>
                </a:lnTo>
                <a:cubicBezTo>
                  <a:pt x="274287" y="231467"/>
                  <a:pt x="268859" y="236888"/>
                  <a:pt x="262095" y="236888"/>
                </a:cubicBezTo>
                <a:lnTo>
                  <a:pt x="184672" y="236888"/>
                </a:lnTo>
                <a:cubicBezTo>
                  <a:pt x="177909" y="236888"/>
                  <a:pt x="172391" y="231467"/>
                  <a:pt x="172391" y="224713"/>
                </a:cubicBezTo>
                <a:cubicBezTo>
                  <a:pt x="172391" y="175302"/>
                  <a:pt x="212616" y="135133"/>
                  <a:pt x="262095" y="135133"/>
                </a:cubicBezTo>
                <a:close/>
                <a:moveTo>
                  <a:pt x="58120" y="108514"/>
                </a:moveTo>
                <a:lnTo>
                  <a:pt x="58120" y="413970"/>
                </a:lnTo>
                <a:lnTo>
                  <a:pt x="549430" y="413970"/>
                </a:lnTo>
                <a:lnTo>
                  <a:pt x="549430" y="108514"/>
                </a:lnTo>
                <a:close/>
                <a:moveTo>
                  <a:pt x="27236" y="56079"/>
                </a:moveTo>
                <a:lnTo>
                  <a:pt x="27236" y="81319"/>
                </a:lnTo>
                <a:lnTo>
                  <a:pt x="580403" y="81319"/>
                </a:lnTo>
                <a:lnTo>
                  <a:pt x="580403" y="56079"/>
                </a:lnTo>
                <a:close/>
                <a:moveTo>
                  <a:pt x="303775" y="0"/>
                </a:moveTo>
                <a:cubicBezTo>
                  <a:pt x="311341" y="0"/>
                  <a:pt x="317393" y="6132"/>
                  <a:pt x="317393" y="13597"/>
                </a:cubicBezTo>
                <a:lnTo>
                  <a:pt x="317393" y="28884"/>
                </a:lnTo>
                <a:lnTo>
                  <a:pt x="580403" y="28884"/>
                </a:lnTo>
                <a:cubicBezTo>
                  <a:pt x="595356" y="28884"/>
                  <a:pt x="607639" y="41148"/>
                  <a:pt x="607639" y="56079"/>
                </a:cubicBezTo>
                <a:lnTo>
                  <a:pt x="607639" y="81319"/>
                </a:lnTo>
                <a:cubicBezTo>
                  <a:pt x="607639" y="96338"/>
                  <a:pt x="595356" y="108514"/>
                  <a:pt x="580403" y="108514"/>
                </a:cubicBezTo>
                <a:lnTo>
                  <a:pt x="576665" y="108514"/>
                </a:lnTo>
                <a:lnTo>
                  <a:pt x="576665" y="413970"/>
                </a:lnTo>
                <a:cubicBezTo>
                  <a:pt x="576665" y="428990"/>
                  <a:pt x="564472" y="441165"/>
                  <a:pt x="549430" y="441165"/>
                </a:cubicBezTo>
                <a:lnTo>
                  <a:pt x="317393" y="441165"/>
                </a:lnTo>
                <a:lnTo>
                  <a:pt x="317393" y="481069"/>
                </a:lnTo>
                <a:lnTo>
                  <a:pt x="418236" y="554923"/>
                </a:lnTo>
                <a:cubicBezTo>
                  <a:pt x="424377" y="559366"/>
                  <a:pt x="425623" y="567898"/>
                  <a:pt x="421173" y="573942"/>
                </a:cubicBezTo>
                <a:cubicBezTo>
                  <a:pt x="418503" y="577585"/>
                  <a:pt x="414409" y="579452"/>
                  <a:pt x="410225" y="579452"/>
                </a:cubicBezTo>
                <a:cubicBezTo>
                  <a:pt x="407466" y="579452"/>
                  <a:pt x="404618" y="578652"/>
                  <a:pt x="402215" y="576874"/>
                </a:cubicBezTo>
                <a:lnTo>
                  <a:pt x="317393" y="514752"/>
                </a:lnTo>
                <a:lnTo>
                  <a:pt x="317393" y="565854"/>
                </a:lnTo>
                <a:cubicBezTo>
                  <a:pt x="317393" y="573408"/>
                  <a:pt x="311341" y="579452"/>
                  <a:pt x="303775" y="579452"/>
                </a:cubicBezTo>
                <a:cubicBezTo>
                  <a:pt x="296299" y="579452"/>
                  <a:pt x="290157" y="573408"/>
                  <a:pt x="290157" y="565854"/>
                </a:cubicBezTo>
                <a:lnTo>
                  <a:pt x="290157" y="514752"/>
                </a:lnTo>
                <a:lnTo>
                  <a:pt x="205424" y="576874"/>
                </a:lnTo>
                <a:cubicBezTo>
                  <a:pt x="199372" y="581318"/>
                  <a:pt x="190827" y="579985"/>
                  <a:pt x="186377" y="573942"/>
                </a:cubicBezTo>
                <a:cubicBezTo>
                  <a:pt x="181927" y="567898"/>
                  <a:pt x="183262" y="559366"/>
                  <a:pt x="189314" y="554923"/>
                </a:cubicBezTo>
                <a:lnTo>
                  <a:pt x="290157" y="481069"/>
                </a:lnTo>
                <a:lnTo>
                  <a:pt x="290157" y="441165"/>
                </a:lnTo>
                <a:lnTo>
                  <a:pt x="58120" y="441165"/>
                </a:lnTo>
                <a:cubicBezTo>
                  <a:pt x="43167" y="441165"/>
                  <a:pt x="30885" y="428990"/>
                  <a:pt x="30885" y="413970"/>
                </a:cubicBezTo>
                <a:lnTo>
                  <a:pt x="30885" y="108514"/>
                </a:lnTo>
                <a:lnTo>
                  <a:pt x="27236" y="108514"/>
                </a:lnTo>
                <a:cubicBezTo>
                  <a:pt x="12194" y="108514"/>
                  <a:pt x="0" y="96338"/>
                  <a:pt x="0" y="81319"/>
                </a:cubicBezTo>
                <a:lnTo>
                  <a:pt x="0" y="56079"/>
                </a:lnTo>
                <a:cubicBezTo>
                  <a:pt x="0" y="41148"/>
                  <a:pt x="12194" y="28884"/>
                  <a:pt x="27236" y="28884"/>
                </a:cubicBezTo>
                <a:lnTo>
                  <a:pt x="290157" y="28884"/>
                </a:lnTo>
                <a:lnTo>
                  <a:pt x="290157" y="13597"/>
                </a:lnTo>
                <a:cubicBezTo>
                  <a:pt x="290157" y="6132"/>
                  <a:pt x="296299" y="0"/>
                  <a:pt x="303775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33" name="ïŝľiḑé">
            <a:extLst>
              <a:ext uri="{FF2B5EF4-FFF2-40B4-BE49-F238E27FC236}">
                <a16:creationId xmlns:a16="http://schemas.microsoft.com/office/drawing/2014/main" id="{0F5CFA01-5C4A-4D80-B059-668318475A6A}"/>
              </a:ext>
            </a:extLst>
          </p:cNvPr>
          <p:cNvSpPr txBox="1"/>
          <p:nvPr/>
        </p:nvSpPr>
        <p:spPr>
          <a:xfrm>
            <a:off x="803412" y="3680401"/>
            <a:ext cx="1589909" cy="612068"/>
          </a:xfrm>
          <a:prstGeom prst="rect">
            <a:avLst/>
          </a:prstGeom>
          <a:noFill/>
        </p:spPr>
        <p:txBody>
          <a:bodyPr wrap="none" lIns="90000" tIns="46800" rIns="90000" bIns="46800" anchor="ctr" anchorCtr="0">
            <a:normAutofit/>
          </a:bodyPr>
          <a:lstStyle/>
          <a:p>
            <a:pPr algn="ctr"/>
            <a:r>
              <a:rPr lang="zh-CN" altLang="en-US" sz="1600" b="1">
                <a:solidFill>
                  <a:schemeClr val="accent1"/>
                </a:solidFill>
              </a:rPr>
              <a:t>标题文本预设</a:t>
            </a:r>
            <a:endParaRPr lang="zh-CN" altLang="en-US" sz="1600" b="1" dirty="0">
              <a:solidFill>
                <a:schemeClr val="accent1"/>
              </a:solidFill>
            </a:endParaRPr>
          </a:p>
        </p:txBody>
      </p:sp>
      <p:sp>
        <p:nvSpPr>
          <p:cNvPr id="30" name="ïs1íḋê">
            <a:extLst>
              <a:ext uri="{FF2B5EF4-FFF2-40B4-BE49-F238E27FC236}">
                <a16:creationId xmlns:a16="http://schemas.microsoft.com/office/drawing/2014/main" id="{1393ECE8-C4B9-465C-A75D-3FD7226507F3}"/>
              </a:ext>
            </a:extLst>
          </p:cNvPr>
          <p:cNvSpPr/>
          <p:nvPr/>
        </p:nvSpPr>
        <p:spPr>
          <a:xfrm>
            <a:off x="3091829" y="2888313"/>
            <a:ext cx="720080" cy="720080"/>
          </a:xfrm>
          <a:prstGeom prst="ellipse">
            <a:avLst/>
          </a:prstGeom>
          <a:noFill/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/>
          </a:p>
        </p:txBody>
      </p:sp>
      <p:sp>
        <p:nvSpPr>
          <p:cNvPr id="31" name="îšḻiḍé">
            <a:extLst>
              <a:ext uri="{FF2B5EF4-FFF2-40B4-BE49-F238E27FC236}">
                <a16:creationId xmlns:a16="http://schemas.microsoft.com/office/drawing/2014/main" id="{99C4FDD4-AEEF-489C-A0D8-CC0E71BB34F8}"/>
              </a:ext>
            </a:extLst>
          </p:cNvPr>
          <p:cNvSpPr/>
          <p:nvPr/>
        </p:nvSpPr>
        <p:spPr>
          <a:xfrm>
            <a:off x="3302120" y="3105536"/>
            <a:ext cx="299500" cy="285632"/>
          </a:xfrm>
          <a:custGeom>
            <a:avLst/>
            <a:gdLst>
              <a:gd name="connsiteX0" fmla="*/ 315778 w 607639"/>
              <a:gd name="connsiteY0" fmla="*/ 173080 h 579502"/>
              <a:gd name="connsiteX1" fmla="*/ 315778 w 607639"/>
              <a:gd name="connsiteY1" fmla="*/ 266058 h 579502"/>
              <a:gd name="connsiteX2" fmla="*/ 303493 w 607639"/>
              <a:gd name="connsiteY2" fmla="*/ 278325 h 579502"/>
              <a:gd name="connsiteX3" fmla="*/ 210375 w 607639"/>
              <a:gd name="connsiteY3" fmla="*/ 278325 h 579502"/>
              <a:gd name="connsiteX4" fmla="*/ 303493 w 607639"/>
              <a:gd name="connsiteY4" fmla="*/ 359925 h 579502"/>
              <a:gd name="connsiteX5" fmla="*/ 397500 w 607639"/>
              <a:gd name="connsiteY5" fmla="*/ 266058 h 579502"/>
              <a:gd name="connsiteX6" fmla="*/ 315778 w 607639"/>
              <a:gd name="connsiteY6" fmla="*/ 173080 h 579502"/>
              <a:gd name="connsiteX7" fmla="*/ 249814 w 607639"/>
              <a:gd name="connsiteY7" fmla="*/ 160816 h 579502"/>
              <a:gd name="connsiteX8" fmla="*/ 198110 w 607639"/>
              <a:gd name="connsiteY8" fmla="*/ 212449 h 579502"/>
              <a:gd name="connsiteX9" fmla="*/ 249814 w 607639"/>
              <a:gd name="connsiteY9" fmla="*/ 212449 h 579502"/>
              <a:gd name="connsiteX10" fmla="*/ 303493 w 607639"/>
              <a:gd name="connsiteY10" fmla="*/ 147835 h 579502"/>
              <a:gd name="connsiteX11" fmla="*/ 421981 w 607639"/>
              <a:gd name="connsiteY11" fmla="*/ 266058 h 579502"/>
              <a:gd name="connsiteX12" fmla="*/ 303493 w 607639"/>
              <a:gd name="connsiteY12" fmla="*/ 384370 h 579502"/>
              <a:gd name="connsiteX13" fmla="*/ 185093 w 607639"/>
              <a:gd name="connsiteY13" fmla="*/ 266058 h 579502"/>
              <a:gd name="connsiteX14" fmla="*/ 197289 w 607639"/>
              <a:gd name="connsiteY14" fmla="*/ 253880 h 579502"/>
              <a:gd name="connsiteX15" fmla="*/ 291297 w 607639"/>
              <a:gd name="connsiteY15" fmla="*/ 253880 h 579502"/>
              <a:gd name="connsiteX16" fmla="*/ 291297 w 607639"/>
              <a:gd name="connsiteY16" fmla="*/ 160013 h 579502"/>
              <a:gd name="connsiteX17" fmla="*/ 303493 w 607639"/>
              <a:gd name="connsiteY17" fmla="*/ 147835 h 579502"/>
              <a:gd name="connsiteX18" fmla="*/ 262095 w 607639"/>
              <a:gd name="connsiteY18" fmla="*/ 135133 h 579502"/>
              <a:gd name="connsiteX19" fmla="*/ 274287 w 607639"/>
              <a:gd name="connsiteY19" fmla="*/ 147397 h 579502"/>
              <a:gd name="connsiteX20" fmla="*/ 274287 w 607639"/>
              <a:gd name="connsiteY20" fmla="*/ 224713 h 579502"/>
              <a:gd name="connsiteX21" fmla="*/ 262095 w 607639"/>
              <a:gd name="connsiteY21" fmla="*/ 236888 h 579502"/>
              <a:gd name="connsiteX22" fmla="*/ 184672 w 607639"/>
              <a:gd name="connsiteY22" fmla="*/ 236888 h 579502"/>
              <a:gd name="connsiteX23" fmla="*/ 172391 w 607639"/>
              <a:gd name="connsiteY23" fmla="*/ 224713 h 579502"/>
              <a:gd name="connsiteX24" fmla="*/ 262095 w 607639"/>
              <a:gd name="connsiteY24" fmla="*/ 135133 h 579502"/>
              <a:gd name="connsiteX25" fmla="*/ 58120 w 607639"/>
              <a:gd name="connsiteY25" fmla="*/ 108514 h 579502"/>
              <a:gd name="connsiteX26" fmla="*/ 58120 w 607639"/>
              <a:gd name="connsiteY26" fmla="*/ 413970 h 579502"/>
              <a:gd name="connsiteX27" fmla="*/ 549430 w 607639"/>
              <a:gd name="connsiteY27" fmla="*/ 413970 h 579502"/>
              <a:gd name="connsiteX28" fmla="*/ 549430 w 607639"/>
              <a:gd name="connsiteY28" fmla="*/ 108514 h 579502"/>
              <a:gd name="connsiteX29" fmla="*/ 27236 w 607639"/>
              <a:gd name="connsiteY29" fmla="*/ 56079 h 579502"/>
              <a:gd name="connsiteX30" fmla="*/ 27236 w 607639"/>
              <a:gd name="connsiteY30" fmla="*/ 81319 h 579502"/>
              <a:gd name="connsiteX31" fmla="*/ 580403 w 607639"/>
              <a:gd name="connsiteY31" fmla="*/ 81319 h 579502"/>
              <a:gd name="connsiteX32" fmla="*/ 580403 w 607639"/>
              <a:gd name="connsiteY32" fmla="*/ 56079 h 579502"/>
              <a:gd name="connsiteX33" fmla="*/ 303775 w 607639"/>
              <a:gd name="connsiteY33" fmla="*/ 0 h 579502"/>
              <a:gd name="connsiteX34" fmla="*/ 317393 w 607639"/>
              <a:gd name="connsiteY34" fmla="*/ 13597 h 579502"/>
              <a:gd name="connsiteX35" fmla="*/ 317393 w 607639"/>
              <a:gd name="connsiteY35" fmla="*/ 28884 h 579502"/>
              <a:gd name="connsiteX36" fmla="*/ 580403 w 607639"/>
              <a:gd name="connsiteY36" fmla="*/ 28884 h 579502"/>
              <a:gd name="connsiteX37" fmla="*/ 607639 w 607639"/>
              <a:gd name="connsiteY37" fmla="*/ 56079 h 579502"/>
              <a:gd name="connsiteX38" fmla="*/ 607639 w 607639"/>
              <a:gd name="connsiteY38" fmla="*/ 81319 h 579502"/>
              <a:gd name="connsiteX39" fmla="*/ 580403 w 607639"/>
              <a:gd name="connsiteY39" fmla="*/ 108514 h 579502"/>
              <a:gd name="connsiteX40" fmla="*/ 576665 w 607639"/>
              <a:gd name="connsiteY40" fmla="*/ 108514 h 579502"/>
              <a:gd name="connsiteX41" fmla="*/ 576665 w 607639"/>
              <a:gd name="connsiteY41" fmla="*/ 413970 h 579502"/>
              <a:gd name="connsiteX42" fmla="*/ 549430 w 607639"/>
              <a:gd name="connsiteY42" fmla="*/ 441165 h 579502"/>
              <a:gd name="connsiteX43" fmla="*/ 317393 w 607639"/>
              <a:gd name="connsiteY43" fmla="*/ 441165 h 579502"/>
              <a:gd name="connsiteX44" fmla="*/ 317393 w 607639"/>
              <a:gd name="connsiteY44" fmla="*/ 481069 h 579502"/>
              <a:gd name="connsiteX45" fmla="*/ 418236 w 607639"/>
              <a:gd name="connsiteY45" fmla="*/ 554923 h 579502"/>
              <a:gd name="connsiteX46" fmla="*/ 421173 w 607639"/>
              <a:gd name="connsiteY46" fmla="*/ 573942 h 579502"/>
              <a:gd name="connsiteX47" fmla="*/ 410225 w 607639"/>
              <a:gd name="connsiteY47" fmla="*/ 579452 h 579502"/>
              <a:gd name="connsiteX48" fmla="*/ 402215 w 607639"/>
              <a:gd name="connsiteY48" fmla="*/ 576874 h 579502"/>
              <a:gd name="connsiteX49" fmla="*/ 317393 w 607639"/>
              <a:gd name="connsiteY49" fmla="*/ 514752 h 579502"/>
              <a:gd name="connsiteX50" fmla="*/ 317393 w 607639"/>
              <a:gd name="connsiteY50" fmla="*/ 565854 h 579502"/>
              <a:gd name="connsiteX51" fmla="*/ 303775 w 607639"/>
              <a:gd name="connsiteY51" fmla="*/ 579452 h 579502"/>
              <a:gd name="connsiteX52" fmla="*/ 290157 w 607639"/>
              <a:gd name="connsiteY52" fmla="*/ 565854 h 579502"/>
              <a:gd name="connsiteX53" fmla="*/ 290157 w 607639"/>
              <a:gd name="connsiteY53" fmla="*/ 514752 h 579502"/>
              <a:gd name="connsiteX54" fmla="*/ 205424 w 607639"/>
              <a:gd name="connsiteY54" fmla="*/ 576874 h 579502"/>
              <a:gd name="connsiteX55" fmla="*/ 186377 w 607639"/>
              <a:gd name="connsiteY55" fmla="*/ 573942 h 579502"/>
              <a:gd name="connsiteX56" fmla="*/ 189314 w 607639"/>
              <a:gd name="connsiteY56" fmla="*/ 554923 h 579502"/>
              <a:gd name="connsiteX57" fmla="*/ 290157 w 607639"/>
              <a:gd name="connsiteY57" fmla="*/ 481069 h 579502"/>
              <a:gd name="connsiteX58" fmla="*/ 290157 w 607639"/>
              <a:gd name="connsiteY58" fmla="*/ 441165 h 579502"/>
              <a:gd name="connsiteX59" fmla="*/ 58120 w 607639"/>
              <a:gd name="connsiteY59" fmla="*/ 441165 h 579502"/>
              <a:gd name="connsiteX60" fmla="*/ 30885 w 607639"/>
              <a:gd name="connsiteY60" fmla="*/ 413970 h 579502"/>
              <a:gd name="connsiteX61" fmla="*/ 30885 w 607639"/>
              <a:gd name="connsiteY61" fmla="*/ 108514 h 579502"/>
              <a:gd name="connsiteX62" fmla="*/ 27236 w 607639"/>
              <a:gd name="connsiteY62" fmla="*/ 108514 h 579502"/>
              <a:gd name="connsiteX63" fmla="*/ 0 w 607639"/>
              <a:gd name="connsiteY63" fmla="*/ 81319 h 579502"/>
              <a:gd name="connsiteX64" fmla="*/ 0 w 607639"/>
              <a:gd name="connsiteY64" fmla="*/ 56079 h 579502"/>
              <a:gd name="connsiteX65" fmla="*/ 27236 w 607639"/>
              <a:gd name="connsiteY65" fmla="*/ 28884 h 579502"/>
              <a:gd name="connsiteX66" fmla="*/ 290157 w 607639"/>
              <a:gd name="connsiteY66" fmla="*/ 28884 h 579502"/>
              <a:gd name="connsiteX67" fmla="*/ 290157 w 607639"/>
              <a:gd name="connsiteY67" fmla="*/ 13597 h 579502"/>
              <a:gd name="connsiteX68" fmla="*/ 303775 w 607639"/>
              <a:gd name="connsiteY68" fmla="*/ 0 h 579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</a:cxnLst>
            <a:rect l="l" t="t" r="r" b="b"/>
            <a:pathLst>
              <a:path w="607639" h="579502">
                <a:moveTo>
                  <a:pt x="315778" y="173080"/>
                </a:moveTo>
                <a:lnTo>
                  <a:pt x="315778" y="266058"/>
                </a:lnTo>
                <a:cubicBezTo>
                  <a:pt x="315778" y="272814"/>
                  <a:pt x="310258" y="278325"/>
                  <a:pt x="303493" y="278325"/>
                </a:cubicBezTo>
                <a:lnTo>
                  <a:pt x="210375" y="278325"/>
                </a:lnTo>
                <a:cubicBezTo>
                  <a:pt x="216429" y="324281"/>
                  <a:pt x="255866" y="359925"/>
                  <a:pt x="303493" y="359925"/>
                </a:cubicBezTo>
                <a:cubicBezTo>
                  <a:pt x="355303" y="359925"/>
                  <a:pt x="397500" y="317792"/>
                  <a:pt x="397500" y="266058"/>
                </a:cubicBezTo>
                <a:cubicBezTo>
                  <a:pt x="397500" y="218502"/>
                  <a:pt x="361802" y="179124"/>
                  <a:pt x="315778" y="173080"/>
                </a:cubicBezTo>
                <a:close/>
                <a:moveTo>
                  <a:pt x="249814" y="160816"/>
                </a:moveTo>
                <a:cubicBezTo>
                  <a:pt x="223740" y="165793"/>
                  <a:pt x="203093" y="186410"/>
                  <a:pt x="198110" y="212449"/>
                </a:cubicBezTo>
                <a:lnTo>
                  <a:pt x="249814" y="212449"/>
                </a:lnTo>
                <a:close/>
                <a:moveTo>
                  <a:pt x="303493" y="147835"/>
                </a:moveTo>
                <a:cubicBezTo>
                  <a:pt x="368835" y="147835"/>
                  <a:pt x="421981" y="200902"/>
                  <a:pt x="421981" y="266058"/>
                </a:cubicBezTo>
                <a:cubicBezTo>
                  <a:pt x="421981" y="331303"/>
                  <a:pt x="368835" y="384370"/>
                  <a:pt x="303493" y="384370"/>
                </a:cubicBezTo>
                <a:cubicBezTo>
                  <a:pt x="238239" y="384370"/>
                  <a:pt x="185093" y="331303"/>
                  <a:pt x="185093" y="266058"/>
                </a:cubicBezTo>
                <a:cubicBezTo>
                  <a:pt x="185093" y="259303"/>
                  <a:pt x="190523" y="253880"/>
                  <a:pt x="197289" y="253880"/>
                </a:cubicBezTo>
                <a:lnTo>
                  <a:pt x="291297" y="253880"/>
                </a:lnTo>
                <a:lnTo>
                  <a:pt x="291297" y="160013"/>
                </a:lnTo>
                <a:cubicBezTo>
                  <a:pt x="291297" y="153257"/>
                  <a:pt x="296727" y="147835"/>
                  <a:pt x="303493" y="147835"/>
                </a:cubicBezTo>
                <a:close/>
                <a:moveTo>
                  <a:pt x="262095" y="135133"/>
                </a:moveTo>
                <a:cubicBezTo>
                  <a:pt x="268859" y="135133"/>
                  <a:pt x="274287" y="140643"/>
                  <a:pt x="274287" y="147397"/>
                </a:cubicBezTo>
                <a:lnTo>
                  <a:pt x="274287" y="224713"/>
                </a:lnTo>
                <a:cubicBezTo>
                  <a:pt x="274287" y="231467"/>
                  <a:pt x="268859" y="236888"/>
                  <a:pt x="262095" y="236888"/>
                </a:cubicBezTo>
                <a:lnTo>
                  <a:pt x="184672" y="236888"/>
                </a:lnTo>
                <a:cubicBezTo>
                  <a:pt x="177909" y="236888"/>
                  <a:pt x="172391" y="231467"/>
                  <a:pt x="172391" y="224713"/>
                </a:cubicBezTo>
                <a:cubicBezTo>
                  <a:pt x="172391" y="175302"/>
                  <a:pt x="212616" y="135133"/>
                  <a:pt x="262095" y="135133"/>
                </a:cubicBezTo>
                <a:close/>
                <a:moveTo>
                  <a:pt x="58120" y="108514"/>
                </a:moveTo>
                <a:lnTo>
                  <a:pt x="58120" y="413970"/>
                </a:lnTo>
                <a:lnTo>
                  <a:pt x="549430" y="413970"/>
                </a:lnTo>
                <a:lnTo>
                  <a:pt x="549430" y="108514"/>
                </a:lnTo>
                <a:close/>
                <a:moveTo>
                  <a:pt x="27236" y="56079"/>
                </a:moveTo>
                <a:lnTo>
                  <a:pt x="27236" y="81319"/>
                </a:lnTo>
                <a:lnTo>
                  <a:pt x="580403" y="81319"/>
                </a:lnTo>
                <a:lnTo>
                  <a:pt x="580403" y="56079"/>
                </a:lnTo>
                <a:close/>
                <a:moveTo>
                  <a:pt x="303775" y="0"/>
                </a:moveTo>
                <a:cubicBezTo>
                  <a:pt x="311341" y="0"/>
                  <a:pt x="317393" y="6132"/>
                  <a:pt x="317393" y="13597"/>
                </a:cubicBezTo>
                <a:lnTo>
                  <a:pt x="317393" y="28884"/>
                </a:lnTo>
                <a:lnTo>
                  <a:pt x="580403" y="28884"/>
                </a:lnTo>
                <a:cubicBezTo>
                  <a:pt x="595356" y="28884"/>
                  <a:pt x="607639" y="41148"/>
                  <a:pt x="607639" y="56079"/>
                </a:cubicBezTo>
                <a:lnTo>
                  <a:pt x="607639" y="81319"/>
                </a:lnTo>
                <a:cubicBezTo>
                  <a:pt x="607639" y="96338"/>
                  <a:pt x="595356" y="108514"/>
                  <a:pt x="580403" y="108514"/>
                </a:cubicBezTo>
                <a:lnTo>
                  <a:pt x="576665" y="108514"/>
                </a:lnTo>
                <a:lnTo>
                  <a:pt x="576665" y="413970"/>
                </a:lnTo>
                <a:cubicBezTo>
                  <a:pt x="576665" y="428990"/>
                  <a:pt x="564472" y="441165"/>
                  <a:pt x="549430" y="441165"/>
                </a:cubicBezTo>
                <a:lnTo>
                  <a:pt x="317393" y="441165"/>
                </a:lnTo>
                <a:lnTo>
                  <a:pt x="317393" y="481069"/>
                </a:lnTo>
                <a:lnTo>
                  <a:pt x="418236" y="554923"/>
                </a:lnTo>
                <a:cubicBezTo>
                  <a:pt x="424377" y="559366"/>
                  <a:pt x="425623" y="567898"/>
                  <a:pt x="421173" y="573942"/>
                </a:cubicBezTo>
                <a:cubicBezTo>
                  <a:pt x="418503" y="577585"/>
                  <a:pt x="414409" y="579452"/>
                  <a:pt x="410225" y="579452"/>
                </a:cubicBezTo>
                <a:cubicBezTo>
                  <a:pt x="407466" y="579452"/>
                  <a:pt x="404618" y="578652"/>
                  <a:pt x="402215" y="576874"/>
                </a:cubicBezTo>
                <a:lnTo>
                  <a:pt x="317393" y="514752"/>
                </a:lnTo>
                <a:lnTo>
                  <a:pt x="317393" y="565854"/>
                </a:lnTo>
                <a:cubicBezTo>
                  <a:pt x="317393" y="573408"/>
                  <a:pt x="311341" y="579452"/>
                  <a:pt x="303775" y="579452"/>
                </a:cubicBezTo>
                <a:cubicBezTo>
                  <a:pt x="296299" y="579452"/>
                  <a:pt x="290157" y="573408"/>
                  <a:pt x="290157" y="565854"/>
                </a:cubicBezTo>
                <a:lnTo>
                  <a:pt x="290157" y="514752"/>
                </a:lnTo>
                <a:lnTo>
                  <a:pt x="205424" y="576874"/>
                </a:lnTo>
                <a:cubicBezTo>
                  <a:pt x="199372" y="581318"/>
                  <a:pt x="190827" y="579985"/>
                  <a:pt x="186377" y="573942"/>
                </a:cubicBezTo>
                <a:cubicBezTo>
                  <a:pt x="181927" y="567898"/>
                  <a:pt x="183262" y="559366"/>
                  <a:pt x="189314" y="554923"/>
                </a:cubicBezTo>
                <a:lnTo>
                  <a:pt x="290157" y="481069"/>
                </a:lnTo>
                <a:lnTo>
                  <a:pt x="290157" y="441165"/>
                </a:lnTo>
                <a:lnTo>
                  <a:pt x="58120" y="441165"/>
                </a:lnTo>
                <a:cubicBezTo>
                  <a:pt x="43167" y="441165"/>
                  <a:pt x="30885" y="428990"/>
                  <a:pt x="30885" y="413970"/>
                </a:cubicBezTo>
                <a:lnTo>
                  <a:pt x="30885" y="108514"/>
                </a:lnTo>
                <a:lnTo>
                  <a:pt x="27236" y="108514"/>
                </a:lnTo>
                <a:cubicBezTo>
                  <a:pt x="12194" y="108514"/>
                  <a:pt x="0" y="96338"/>
                  <a:pt x="0" y="81319"/>
                </a:cubicBezTo>
                <a:lnTo>
                  <a:pt x="0" y="56079"/>
                </a:lnTo>
                <a:cubicBezTo>
                  <a:pt x="0" y="41148"/>
                  <a:pt x="12194" y="28884"/>
                  <a:pt x="27236" y="28884"/>
                </a:cubicBezTo>
                <a:lnTo>
                  <a:pt x="290157" y="28884"/>
                </a:lnTo>
                <a:lnTo>
                  <a:pt x="290157" y="13597"/>
                </a:lnTo>
                <a:cubicBezTo>
                  <a:pt x="290157" y="6132"/>
                  <a:pt x="296299" y="0"/>
                  <a:pt x="303775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29" name="íṩliḋê">
            <a:extLst>
              <a:ext uri="{FF2B5EF4-FFF2-40B4-BE49-F238E27FC236}">
                <a16:creationId xmlns:a16="http://schemas.microsoft.com/office/drawing/2014/main" id="{6085FC4C-AE28-4E23-B30E-834B07C7EECE}"/>
              </a:ext>
            </a:extLst>
          </p:cNvPr>
          <p:cNvSpPr txBox="1"/>
          <p:nvPr/>
        </p:nvSpPr>
        <p:spPr>
          <a:xfrm>
            <a:off x="2656914" y="3680401"/>
            <a:ext cx="1589909" cy="612068"/>
          </a:xfrm>
          <a:prstGeom prst="rect">
            <a:avLst/>
          </a:prstGeom>
          <a:noFill/>
        </p:spPr>
        <p:txBody>
          <a:bodyPr wrap="none" lIns="90000" tIns="46800" rIns="90000" bIns="46800" anchor="ctr" anchorCtr="0">
            <a:normAutofit/>
          </a:bodyPr>
          <a:lstStyle/>
          <a:p>
            <a:pPr algn="ctr"/>
            <a:r>
              <a:rPr lang="zh-CN" altLang="en-US" sz="1600" b="1">
                <a:solidFill>
                  <a:schemeClr val="accent1"/>
                </a:solidFill>
              </a:rPr>
              <a:t>标题文本预设</a:t>
            </a:r>
            <a:endParaRPr lang="zh-CN" altLang="en-US" sz="1600" b="1" dirty="0">
              <a:solidFill>
                <a:schemeClr val="accent1"/>
              </a:solidFill>
            </a:endParaRPr>
          </a:p>
        </p:txBody>
      </p:sp>
      <p:sp>
        <p:nvSpPr>
          <p:cNvPr id="26" name="îŝļiḍé">
            <a:extLst>
              <a:ext uri="{FF2B5EF4-FFF2-40B4-BE49-F238E27FC236}">
                <a16:creationId xmlns:a16="http://schemas.microsoft.com/office/drawing/2014/main" id="{5039495C-F6BB-477B-9B3E-47A99E4688B2}"/>
              </a:ext>
            </a:extLst>
          </p:cNvPr>
          <p:cNvSpPr/>
          <p:nvPr/>
        </p:nvSpPr>
        <p:spPr>
          <a:xfrm>
            <a:off x="4945331" y="2888313"/>
            <a:ext cx="720080" cy="720080"/>
          </a:xfrm>
          <a:prstGeom prst="ellipse">
            <a:avLst/>
          </a:prstGeom>
          <a:noFill/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/>
          </a:p>
        </p:txBody>
      </p:sp>
      <p:sp>
        <p:nvSpPr>
          <p:cNvPr id="27" name="íṧḷîdè">
            <a:extLst>
              <a:ext uri="{FF2B5EF4-FFF2-40B4-BE49-F238E27FC236}">
                <a16:creationId xmlns:a16="http://schemas.microsoft.com/office/drawing/2014/main" id="{76663414-EF22-42DB-9586-9DAEA2A5D508}"/>
              </a:ext>
            </a:extLst>
          </p:cNvPr>
          <p:cNvSpPr/>
          <p:nvPr/>
        </p:nvSpPr>
        <p:spPr>
          <a:xfrm>
            <a:off x="5155622" y="3105536"/>
            <a:ext cx="299500" cy="285632"/>
          </a:xfrm>
          <a:custGeom>
            <a:avLst/>
            <a:gdLst>
              <a:gd name="connsiteX0" fmla="*/ 315778 w 607639"/>
              <a:gd name="connsiteY0" fmla="*/ 173080 h 579502"/>
              <a:gd name="connsiteX1" fmla="*/ 315778 w 607639"/>
              <a:gd name="connsiteY1" fmla="*/ 266058 h 579502"/>
              <a:gd name="connsiteX2" fmla="*/ 303493 w 607639"/>
              <a:gd name="connsiteY2" fmla="*/ 278325 h 579502"/>
              <a:gd name="connsiteX3" fmla="*/ 210375 w 607639"/>
              <a:gd name="connsiteY3" fmla="*/ 278325 h 579502"/>
              <a:gd name="connsiteX4" fmla="*/ 303493 w 607639"/>
              <a:gd name="connsiteY4" fmla="*/ 359925 h 579502"/>
              <a:gd name="connsiteX5" fmla="*/ 397500 w 607639"/>
              <a:gd name="connsiteY5" fmla="*/ 266058 h 579502"/>
              <a:gd name="connsiteX6" fmla="*/ 315778 w 607639"/>
              <a:gd name="connsiteY6" fmla="*/ 173080 h 579502"/>
              <a:gd name="connsiteX7" fmla="*/ 249814 w 607639"/>
              <a:gd name="connsiteY7" fmla="*/ 160816 h 579502"/>
              <a:gd name="connsiteX8" fmla="*/ 198110 w 607639"/>
              <a:gd name="connsiteY8" fmla="*/ 212449 h 579502"/>
              <a:gd name="connsiteX9" fmla="*/ 249814 w 607639"/>
              <a:gd name="connsiteY9" fmla="*/ 212449 h 579502"/>
              <a:gd name="connsiteX10" fmla="*/ 303493 w 607639"/>
              <a:gd name="connsiteY10" fmla="*/ 147835 h 579502"/>
              <a:gd name="connsiteX11" fmla="*/ 421981 w 607639"/>
              <a:gd name="connsiteY11" fmla="*/ 266058 h 579502"/>
              <a:gd name="connsiteX12" fmla="*/ 303493 w 607639"/>
              <a:gd name="connsiteY12" fmla="*/ 384370 h 579502"/>
              <a:gd name="connsiteX13" fmla="*/ 185093 w 607639"/>
              <a:gd name="connsiteY13" fmla="*/ 266058 h 579502"/>
              <a:gd name="connsiteX14" fmla="*/ 197289 w 607639"/>
              <a:gd name="connsiteY14" fmla="*/ 253880 h 579502"/>
              <a:gd name="connsiteX15" fmla="*/ 291297 w 607639"/>
              <a:gd name="connsiteY15" fmla="*/ 253880 h 579502"/>
              <a:gd name="connsiteX16" fmla="*/ 291297 w 607639"/>
              <a:gd name="connsiteY16" fmla="*/ 160013 h 579502"/>
              <a:gd name="connsiteX17" fmla="*/ 303493 w 607639"/>
              <a:gd name="connsiteY17" fmla="*/ 147835 h 579502"/>
              <a:gd name="connsiteX18" fmla="*/ 262095 w 607639"/>
              <a:gd name="connsiteY18" fmla="*/ 135133 h 579502"/>
              <a:gd name="connsiteX19" fmla="*/ 274287 w 607639"/>
              <a:gd name="connsiteY19" fmla="*/ 147397 h 579502"/>
              <a:gd name="connsiteX20" fmla="*/ 274287 w 607639"/>
              <a:gd name="connsiteY20" fmla="*/ 224713 h 579502"/>
              <a:gd name="connsiteX21" fmla="*/ 262095 w 607639"/>
              <a:gd name="connsiteY21" fmla="*/ 236888 h 579502"/>
              <a:gd name="connsiteX22" fmla="*/ 184672 w 607639"/>
              <a:gd name="connsiteY22" fmla="*/ 236888 h 579502"/>
              <a:gd name="connsiteX23" fmla="*/ 172391 w 607639"/>
              <a:gd name="connsiteY23" fmla="*/ 224713 h 579502"/>
              <a:gd name="connsiteX24" fmla="*/ 262095 w 607639"/>
              <a:gd name="connsiteY24" fmla="*/ 135133 h 579502"/>
              <a:gd name="connsiteX25" fmla="*/ 58120 w 607639"/>
              <a:gd name="connsiteY25" fmla="*/ 108514 h 579502"/>
              <a:gd name="connsiteX26" fmla="*/ 58120 w 607639"/>
              <a:gd name="connsiteY26" fmla="*/ 413970 h 579502"/>
              <a:gd name="connsiteX27" fmla="*/ 549430 w 607639"/>
              <a:gd name="connsiteY27" fmla="*/ 413970 h 579502"/>
              <a:gd name="connsiteX28" fmla="*/ 549430 w 607639"/>
              <a:gd name="connsiteY28" fmla="*/ 108514 h 579502"/>
              <a:gd name="connsiteX29" fmla="*/ 27236 w 607639"/>
              <a:gd name="connsiteY29" fmla="*/ 56079 h 579502"/>
              <a:gd name="connsiteX30" fmla="*/ 27236 w 607639"/>
              <a:gd name="connsiteY30" fmla="*/ 81319 h 579502"/>
              <a:gd name="connsiteX31" fmla="*/ 580403 w 607639"/>
              <a:gd name="connsiteY31" fmla="*/ 81319 h 579502"/>
              <a:gd name="connsiteX32" fmla="*/ 580403 w 607639"/>
              <a:gd name="connsiteY32" fmla="*/ 56079 h 579502"/>
              <a:gd name="connsiteX33" fmla="*/ 303775 w 607639"/>
              <a:gd name="connsiteY33" fmla="*/ 0 h 579502"/>
              <a:gd name="connsiteX34" fmla="*/ 317393 w 607639"/>
              <a:gd name="connsiteY34" fmla="*/ 13597 h 579502"/>
              <a:gd name="connsiteX35" fmla="*/ 317393 w 607639"/>
              <a:gd name="connsiteY35" fmla="*/ 28884 h 579502"/>
              <a:gd name="connsiteX36" fmla="*/ 580403 w 607639"/>
              <a:gd name="connsiteY36" fmla="*/ 28884 h 579502"/>
              <a:gd name="connsiteX37" fmla="*/ 607639 w 607639"/>
              <a:gd name="connsiteY37" fmla="*/ 56079 h 579502"/>
              <a:gd name="connsiteX38" fmla="*/ 607639 w 607639"/>
              <a:gd name="connsiteY38" fmla="*/ 81319 h 579502"/>
              <a:gd name="connsiteX39" fmla="*/ 580403 w 607639"/>
              <a:gd name="connsiteY39" fmla="*/ 108514 h 579502"/>
              <a:gd name="connsiteX40" fmla="*/ 576665 w 607639"/>
              <a:gd name="connsiteY40" fmla="*/ 108514 h 579502"/>
              <a:gd name="connsiteX41" fmla="*/ 576665 w 607639"/>
              <a:gd name="connsiteY41" fmla="*/ 413970 h 579502"/>
              <a:gd name="connsiteX42" fmla="*/ 549430 w 607639"/>
              <a:gd name="connsiteY42" fmla="*/ 441165 h 579502"/>
              <a:gd name="connsiteX43" fmla="*/ 317393 w 607639"/>
              <a:gd name="connsiteY43" fmla="*/ 441165 h 579502"/>
              <a:gd name="connsiteX44" fmla="*/ 317393 w 607639"/>
              <a:gd name="connsiteY44" fmla="*/ 481069 h 579502"/>
              <a:gd name="connsiteX45" fmla="*/ 418236 w 607639"/>
              <a:gd name="connsiteY45" fmla="*/ 554923 h 579502"/>
              <a:gd name="connsiteX46" fmla="*/ 421173 w 607639"/>
              <a:gd name="connsiteY46" fmla="*/ 573942 h 579502"/>
              <a:gd name="connsiteX47" fmla="*/ 410225 w 607639"/>
              <a:gd name="connsiteY47" fmla="*/ 579452 h 579502"/>
              <a:gd name="connsiteX48" fmla="*/ 402215 w 607639"/>
              <a:gd name="connsiteY48" fmla="*/ 576874 h 579502"/>
              <a:gd name="connsiteX49" fmla="*/ 317393 w 607639"/>
              <a:gd name="connsiteY49" fmla="*/ 514752 h 579502"/>
              <a:gd name="connsiteX50" fmla="*/ 317393 w 607639"/>
              <a:gd name="connsiteY50" fmla="*/ 565854 h 579502"/>
              <a:gd name="connsiteX51" fmla="*/ 303775 w 607639"/>
              <a:gd name="connsiteY51" fmla="*/ 579452 h 579502"/>
              <a:gd name="connsiteX52" fmla="*/ 290157 w 607639"/>
              <a:gd name="connsiteY52" fmla="*/ 565854 h 579502"/>
              <a:gd name="connsiteX53" fmla="*/ 290157 w 607639"/>
              <a:gd name="connsiteY53" fmla="*/ 514752 h 579502"/>
              <a:gd name="connsiteX54" fmla="*/ 205424 w 607639"/>
              <a:gd name="connsiteY54" fmla="*/ 576874 h 579502"/>
              <a:gd name="connsiteX55" fmla="*/ 186377 w 607639"/>
              <a:gd name="connsiteY55" fmla="*/ 573942 h 579502"/>
              <a:gd name="connsiteX56" fmla="*/ 189314 w 607639"/>
              <a:gd name="connsiteY56" fmla="*/ 554923 h 579502"/>
              <a:gd name="connsiteX57" fmla="*/ 290157 w 607639"/>
              <a:gd name="connsiteY57" fmla="*/ 481069 h 579502"/>
              <a:gd name="connsiteX58" fmla="*/ 290157 w 607639"/>
              <a:gd name="connsiteY58" fmla="*/ 441165 h 579502"/>
              <a:gd name="connsiteX59" fmla="*/ 58120 w 607639"/>
              <a:gd name="connsiteY59" fmla="*/ 441165 h 579502"/>
              <a:gd name="connsiteX60" fmla="*/ 30885 w 607639"/>
              <a:gd name="connsiteY60" fmla="*/ 413970 h 579502"/>
              <a:gd name="connsiteX61" fmla="*/ 30885 w 607639"/>
              <a:gd name="connsiteY61" fmla="*/ 108514 h 579502"/>
              <a:gd name="connsiteX62" fmla="*/ 27236 w 607639"/>
              <a:gd name="connsiteY62" fmla="*/ 108514 h 579502"/>
              <a:gd name="connsiteX63" fmla="*/ 0 w 607639"/>
              <a:gd name="connsiteY63" fmla="*/ 81319 h 579502"/>
              <a:gd name="connsiteX64" fmla="*/ 0 w 607639"/>
              <a:gd name="connsiteY64" fmla="*/ 56079 h 579502"/>
              <a:gd name="connsiteX65" fmla="*/ 27236 w 607639"/>
              <a:gd name="connsiteY65" fmla="*/ 28884 h 579502"/>
              <a:gd name="connsiteX66" fmla="*/ 290157 w 607639"/>
              <a:gd name="connsiteY66" fmla="*/ 28884 h 579502"/>
              <a:gd name="connsiteX67" fmla="*/ 290157 w 607639"/>
              <a:gd name="connsiteY67" fmla="*/ 13597 h 579502"/>
              <a:gd name="connsiteX68" fmla="*/ 303775 w 607639"/>
              <a:gd name="connsiteY68" fmla="*/ 0 h 579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</a:cxnLst>
            <a:rect l="l" t="t" r="r" b="b"/>
            <a:pathLst>
              <a:path w="607639" h="579502">
                <a:moveTo>
                  <a:pt x="315778" y="173080"/>
                </a:moveTo>
                <a:lnTo>
                  <a:pt x="315778" y="266058"/>
                </a:lnTo>
                <a:cubicBezTo>
                  <a:pt x="315778" y="272814"/>
                  <a:pt x="310258" y="278325"/>
                  <a:pt x="303493" y="278325"/>
                </a:cubicBezTo>
                <a:lnTo>
                  <a:pt x="210375" y="278325"/>
                </a:lnTo>
                <a:cubicBezTo>
                  <a:pt x="216429" y="324281"/>
                  <a:pt x="255866" y="359925"/>
                  <a:pt x="303493" y="359925"/>
                </a:cubicBezTo>
                <a:cubicBezTo>
                  <a:pt x="355303" y="359925"/>
                  <a:pt x="397500" y="317792"/>
                  <a:pt x="397500" y="266058"/>
                </a:cubicBezTo>
                <a:cubicBezTo>
                  <a:pt x="397500" y="218502"/>
                  <a:pt x="361802" y="179124"/>
                  <a:pt x="315778" y="173080"/>
                </a:cubicBezTo>
                <a:close/>
                <a:moveTo>
                  <a:pt x="249814" y="160816"/>
                </a:moveTo>
                <a:cubicBezTo>
                  <a:pt x="223740" y="165793"/>
                  <a:pt x="203093" y="186410"/>
                  <a:pt x="198110" y="212449"/>
                </a:cubicBezTo>
                <a:lnTo>
                  <a:pt x="249814" y="212449"/>
                </a:lnTo>
                <a:close/>
                <a:moveTo>
                  <a:pt x="303493" y="147835"/>
                </a:moveTo>
                <a:cubicBezTo>
                  <a:pt x="368835" y="147835"/>
                  <a:pt x="421981" y="200902"/>
                  <a:pt x="421981" y="266058"/>
                </a:cubicBezTo>
                <a:cubicBezTo>
                  <a:pt x="421981" y="331303"/>
                  <a:pt x="368835" y="384370"/>
                  <a:pt x="303493" y="384370"/>
                </a:cubicBezTo>
                <a:cubicBezTo>
                  <a:pt x="238239" y="384370"/>
                  <a:pt x="185093" y="331303"/>
                  <a:pt x="185093" y="266058"/>
                </a:cubicBezTo>
                <a:cubicBezTo>
                  <a:pt x="185093" y="259303"/>
                  <a:pt x="190523" y="253880"/>
                  <a:pt x="197289" y="253880"/>
                </a:cubicBezTo>
                <a:lnTo>
                  <a:pt x="291297" y="253880"/>
                </a:lnTo>
                <a:lnTo>
                  <a:pt x="291297" y="160013"/>
                </a:lnTo>
                <a:cubicBezTo>
                  <a:pt x="291297" y="153257"/>
                  <a:pt x="296727" y="147835"/>
                  <a:pt x="303493" y="147835"/>
                </a:cubicBezTo>
                <a:close/>
                <a:moveTo>
                  <a:pt x="262095" y="135133"/>
                </a:moveTo>
                <a:cubicBezTo>
                  <a:pt x="268859" y="135133"/>
                  <a:pt x="274287" y="140643"/>
                  <a:pt x="274287" y="147397"/>
                </a:cubicBezTo>
                <a:lnTo>
                  <a:pt x="274287" y="224713"/>
                </a:lnTo>
                <a:cubicBezTo>
                  <a:pt x="274287" y="231467"/>
                  <a:pt x="268859" y="236888"/>
                  <a:pt x="262095" y="236888"/>
                </a:cubicBezTo>
                <a:lnTo>
                  <a:pt x="184672" y="236888"/>
                </a:lnTo>
                <a:cubicBezTo>
                  <a:pt x="177909" y="236888"/>
                  <a:pt x="172391" y="231467"/>
                  <a:pt x="172391" y="224713"/>
                </a:cubicBezTo>
                <a:cubicBezTo>
                  <a:pt x="172391" y="175302"/>
                  <a:pt x="212616" y="135133"/>
                  <a:pt x="262095" y="135133"/>
                </a:cubicBezTo>
                <a:close/>
                <a:moveTo>
                  <a:pt x="58120" y="108514"/>
                </a:moveTo>
                <a:lnTo>
                  <a:pt x="58120" y="413970"/>
                </a:lnTo>
                <a:lnTo>
                  <a:pt x="549430" y="413970"/>
                </a:lnTo>
                <a:lnTo>
                  <a:pt x="549430" y="108514"/>
                </a:lnTo>
                <a:close/>
                <a:moveTo>
                  <a:pt x="27236" y="56079"/>
                </a:moveTo>
                <a:lnTo>
                  <a:pt x="27236" y="81319"/>
                </a:lnTo>
                <a:lnTo>
                  <a:pt x="580403" y="81319"/>
                </a:lnTo>
                <a:lnTo>
                  <a:pt x="580403" y="56079"/>
                </a:lnTo>
                <a:close/>
                <a:moveTo>
                  <a:pt x="303775" y="0"/>
                </a:moveTo>
                <a:cubicBezTo>
                  <a:pt x="311341" y="0"/>
                  <a:pt x="317393" y="6132"/>
                  <a:pt x="317393" y="13597"/>
                </a:cubicBezTo>
                <a:lnTo>
                  <a:pt x="317393" y="28884"/>
                </a:lnTo>
                <a:lnTo>
                  <a:pt x="580403" y="28884"/>
                </a:lnTo>
                <a:cubicBezTo>
                  <a:pt x="595356" y="28884"/>
                  <a:pt x="607639" y="41148"/>
                  <a:pt x="607639" y="56079"/>
                </a:cubicBezTo>
                <a:lnTo>
                  <a:pt x="607639" y="81319"/>
                </a:lnTo>
                <a:cubicBezTo>
                  <a:pt x="607639" y="96338"/>
                  <a:pt x="595356" y="108514"/>
                  <a:pt x="580403" y="108514"/>
                </a:cubicBezTo>
                <a:lnTo>
                  <a:pt x="576665" y="108514"/>
                </a:lnTo>
                <a:lnTo>
                  <a:pt x="576665" y="413970"/>
                </a:lnTo>
                <a:cubicBezTo>
                  <a:pt x="576665" y="428990"/>
                  <a:pt x="564472" y="441165"/>
                  <a:pt x="549430" y="441165"/>
                </a:cubicBezTo>
                <a:lnTo>
                  <a:pt x="317393" y="441165"/>
                </a:lnTo>
                <a:lnTo>
                  <a:pt x="317393" y="481069"/>
                </a:lnTo>
                <a:lnTo>
                  <a:pt x="418236" y="554923"/>
                </a:lnTo>
                <a:cubicBezTo>
                  <a:pt x="424377" y="559366"/>
                  <a:pt x="425623" y="567898"/>
                  <a:pt x="421173" y="573942"/>
                </a:cubicBezTo>
                <a:cubicBezTo>
                  <a:pt x="418503" y="577585"/>
                  <a:pt x="414409" y="579452"/>
                  <a:pt x="410225" y="579452"/>
                </a:cubicBezTo>
                <a:cubicBezTo>
                  <a:pt x="407466" y="579452"/>
                  <a:pt x="404618" y="578652"/>
                  <a:pt x="402215" y="576874"/>
                </a:cubicBezTo>
                <a:lnTo>
                  <a:pt x="317393" y="514752"/>
                </a:lnTo>
                <a:lnTo>
                  <a:pt x="317393" y="565854"/>
                </a:lnTo>
                <a:cubicBezTo>
                  <a:pt x="317393" y="573408"/>
                  <a:pt x="311341" y="579452"/>
                  <a:pt x="303775" y="579452"/>
                </a:cubicBezTo>
                <a:cubicBezTo>
                  <a:pt x="296299" y="579452"/>
                  <a:pt x="290157" y="573408"/>
                  <a:pt x="290157" y="565854"/>
                </a:cubicBezTo>
                <a:lnTo>
                  <a:pt x="290157" y="514752"/>
                </a:lnTo>
                <a:lnTo>
                  <a:pt x="205424" y="576874"/>
                </a:lnTo>
                <a:cubicBezTo>
                  <a:pt x="199372" y="581318"/>
                  <a:pt x="190827" y="579985"/>
                  <a:pt x="186377" y="573942"/>
                </a:cubicBezTo>
                <a:cubicBezTo>
                  <a:pt x="181927" y="567898"/>
                  <a:pt x="183262" y="559366"/>
                  <a:pt x="189314" y="554923"/>
                </a:cubicBezTo>
                <a:lnTo>
                  <a:pt x="290157" y="481069"/>
                </a:lnTo>
                <a:lnTo>
                  <a:pt x="290157" y="441165"/>
                </a:lnTo>
                <a:lnTo>
                  <a:pt x="58120" y="441165"/>
                </a:lnTo>
                <a:cubicBezTo>
                  <a:pt x="43167" y="441165"/>
                  <a:pt x="30885" y="428990"/>
                  <a:pt x="30885" y="413970"/>
                </a:cubicBezTo>
                <a:lnTo>
                  <a:pt x="30885" y="108514"/>
                </a:lnTo>
                <a:lnTo>
                  <a:pt x="27236" y="108514"/>
                </a:lnTo>
                <a:cubicBezTo>
                  <a:pt x="12194" y="108514"/>
                  <a:pt x="0" y="96338"/>
                  <a:pt x="0" y="81319"/>
                </a:cubicBezTo>
                <a:lnTo>
                  <a:pt x="0" y="56079"/>
                </a:lnTo>
                <a:cubicBezTo>
                  <a:pt x="0" y="41148"/>
                  <a:pt x="12194" y="28884"/>
                  <a:pt x="27236" y="28884"/>
                </a:cubicBezTo>
                <a:lnTo>
                  <a:pt x="290157" y="28884"/>
                </a:lnTo>
                <a:lnTo>
                  <a:pt x="290157" y="13597"/>
                </a:lnTo>
                <a:cubicBezTo>
                  <a:pt x="290157" y="6132"/>
                  <a:pt x="296299" y="0"/>
                  <a:pt x="303775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25" name="îṧľiḓe">
            <a:extLst>
              <a:ext uri="{FF2B5EF4-FFF2-40B4-BE49-F238E27FC236}">
                <a16:creationId xmlns:a16="http://schemas.microsoft.com/office/drawing/2014/main" id="{63752596-3DFE-499E-8C8C-FC3889E59763}"/>
              </a:ext>
            </a:extLst>
          </p:cNvPr>
          <p:cNvSpPr txBox="1"/>
          <p:nvPr/>
        </p:nvSpPr>
        <p:spPr>
          <a:xfrm>
            <a:off x="4510416" y="3680401"/>
            <a:ext cx="1589909" cy="612068"/>
          </a:xfrm>
          <a:prstGeom prst="rect">
            <a:avLst/>
          </a:prstGeom>
          <a:noFill/>
        </p:spPr>
        <p:txBody>
          <a:bodyPr wrap="none" lIns="90000" tIns="46800" rIns="90000" bIns="46800" anchor="ctr" anchorCtr="0">
            <a:normAutofit/>
          </a:bodyPr>
          <a:lstStyle/>
          <a:p>
            <a:pPr algn="ctr"/>
            <a:r>
              <a:rPr lang="zh-CN" altLang="en-US" sz="1600" b="1">
                <a:solidFill>
                  <a:schemeClr val="accent1"/>
                </a:solidFill>
              </a:rPr>
              <a:t>标题文本预设</a:t>
            </a:r>
            <a:endParaRPr lang="zh-CN" altLang="en-US" sz="1600" b="1" dirty="0">
              <a:solidFill>
                <a:schemeClr val="accent1"/>
              </a:solidFill>
            </a:endParaRPr>
          </a:p>
        </p:txBody>
      </p:sp>
      <p:sp>
        <p:nvSpPr>
          <p:cNvPr id="22" name="íS1îḋê">
            <a:extLst>
              <a:ext uri="{FF2B5EF4-FFF2-40B4-BE49-F238E27FC236}">
                <a16:creationId xmlns:a16="http://schemas.microsoft.com/office/drawing/2014/main" id="{3647952C-5B0D-46D7-878B-760B31708E38}"/>
              </a:ext>
            </a:extLst>
          </p:cNvPr>
          <p:cNvSpPr/>
          <p:nvPr/>
        </p:nvSpPr>
        <p:spPr>
          <a:xfrm>
            <a:off x="6798834" y="2888313"/>
            <a:ext cx="720080" cy="720080"/>
          </a:xfrm>
          <a:prstGeom prst="ellipse">
            <a:avLst/>
          </a:prstGeom>
          <a:noFill/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/>
          </a:p>
        </p:txBody>
      </p:sp>
      <p:sp>
        <p:nvSpPr>
          <p:cNvPr id="23" name="iślîḓê">
            <a:extLst>
              <a:ext uri="{FF2B5EF4-FFF2-40B4-BE49-F238E27FC236}">
                <a16:creationId xmlns:a16="http://schemas.microsoft.com/office/drawing/2014/main" id="{7BCD7164-6DA7-4713-849A-2B106FC69055}"/>
              </a:ext>
            </a:extLst>
          </p:cNvPr>
          <p:cNvSpPr/>
          <p:nvPr/>
        </p:nvSpPr>
        <p:spPr>
          <a:xfrm>
            <a:off x="7009125" y="3105536"/>
            <a:ext cx="299500" cy="285632"/>
          </a:xfrm>
          <a:custGeom>
            <a:avLst/>
            <a:gdLst>
              <a:gd name="connsiteX0" fmla="*/ 315778 w 607639"/>
              <a:gd name="connsiteY0" fmla="*/ 173080 h 579502"/>
              <a:gd name="connsiteX1" fmla="*/ 315778 w 607639"/>
              <a:gd name="connsiteY1" fmla="*/ 266058 h 579502"/>
              <a:gd name="connsiteX2" fmla="*/ 303493 w 607639"/>
              <a:gd name="connsiteY2" fmla="*/ 278325 h 579502"/>
              <a:gd name="connsiteX3" fmla="*/ 210375 w 607639"/>
              <a:gd name="connsiteY3" fmla="*/ 278325 h 579502"/>
              <a:gd name="connsiteX4" fmla="*/ 303493 w 607639"/>
              <a:gd name="connsiteY4" fmla="*/ 359925 h 579502"/>
              <a:gd name="connsiteX5" fmla="*/ 397500 w 607639"/>
              <a:gd name="connsiteY5" fmla="*/ 266058 h 579502"/>
              <a:gd name="connsiteX6" fmla="*/ 315778 w 607639"/>
              <a:gd name="connsiteY6" fmla="*/ 173080 h 579502"/>
              <a:gd name="connsiteX7" fmla="*/ 249814 w 607639"/>
              <a:gd name="connsiteY7" fmla="*/ 160816 h 579502"/>
              <a:gd name="connsiteX8" fmla="*/ 198110 w 607639"/>
              <a:gd name="connsiteY8" fmla="*/ 212449 h 579502"/>
              <a:gd name="connsiteX9" fmla="*/ 249814 w 607639"/>
              <a:gd name="connsiteY9" fmla="*/ 212449 h 579502"/>
              <a:gd name="connsiteX10" fmla="*/ 303493 w 607639"/>
              <a:gd name="connsiteY10" fmla="*/ 147835 h 579502"/>
              <a:gd name="connsiteX11" fmla="*/ 421981 w 607639"/>
              <a:gd name="connsiteY11" fmla="*/ 266058 h 579502"/>
              <a:gd name="connsiteX12" fmla="*/ 303493 w 607639"/>
              <a:gd name="connsiteY12" fmla="*/ 384370 h 579502"/>
              <a:gd name="connsiteX13" fmla="*/ 185093 w 607639"/>
              <a:gd name="connsiteY13" fmla="*/ 266058 h 579502"/>
              <a:gd name="connsiteX14" fmla="*/ 197289 w 607639"/>
              <a:gd name="connsiteY14" fmla="*/ 253880 h 579502"/>
              <a:gd name="connsiteX15" fmla="*/ 291297 w 607639"/>
              <a:gd name="connsiteY15" fmla="*/ 253880 h 579502"/>
              <a:gd name="connsiteX16" fmla="*/ 291297 w 607639"/>
              <a:gd name="connsiteY16" fmla="*/ 160013 h 579502"/>
              <a:gd name="connsiteX17" fmla="*/ 303493 w 607639"/>
              <a:gd name="connsiteY17" fmla="*/ 147835 h 579502"/>
              <a:gd name="connsiteX18" fmla="*/ 262095 w 607639"/>
              <a:gd name="connsiteY18" fmla="*/ 135133 h 579502"/>
              <a:gd name="connsiteX19" fmla="*/ 274287 w 607639"/>
              <a:gd name="connsiteY19" fmla="*/ 147397 h 579502"/>
              <a:gd name="connsiteX20" fmla="*/ 274287 w 607639"/>
              <a:gd name="connsiteY20" fmla="*/ 224713 h 579502"/>
              <a:gd name="connsiteX21" fmla="*/ 262095 w 607639"/>
              <a:gd name="connsiteY21" fmla="*/ 236888 h 579502"/>
              <a:gd name="connsiteX22" fmla="*/ 184672 w 607639"/>
              <a:gd name="connsiteY22" fmla="*/ 236888 h 579502"/>
              <a:gd name="connsiteX23" fmla="*/ 172391 w 607639"/>
              <a:gd name="connsiteY23" fmla="*/ 224713 h 579502"/>
              <a:gd name="connsiteX24" fmla="*/ 262095 w 607639"/>
              <a:gd name="connsiteY24" fmla="*/ 135133 h 579502"/>
              <a:gd name="connsiteX25" fmla="*/ 58120 w 607639"/>
              <a:gd name="connsiteY25" fmla="*/ 108514 h 579502"/>
              <a:gd name="connsiteX26" fmla="*/ 58120 w 607639"/>
              <a:gd name="connsiteY26" fmla="*/ 413970 h 579502"/>
              <a:gd name="connsiteX27" fmla="*/ 549430 w 607639"/>
              <a:gd name="connsiteY27" fmla="*/ 413970 h 579502"/>
              <a:gd name="connsiteX28" fmla="*/ 549430 w 607639"/>
              <a:gd name="connsiteY28" fmla="*/ 108514 h 579502"/>
              <a:gd name="connsiteX29" fmla="*/ 27236 w 607639"/>
              <a:gd name="connsiteY29" fmla="*/ 56079 h 579502"/>
              <a:gd name="connsiteX30" fmla="*/ 27236 w 607639"/>
              <a:gd name="connsiteY30" fmla="*/ 81319 h 579502"/>
              <a:gd name="connsiteX31" fmla="*/ 580403 w 607639"/>
              <a:gd name="connsiteY31" fmla="*/ 81319 h 579502"/>
              <a:gd name="connsiteX32" fmla="*/ 580403 w 607639"/>
              <a:gd name="connsiteY32" fmla="*/ 56079 h 579502"/>
              <a:gd name="connsiteX33" fmla="*/ 303775 w 607639"/>
              <a:gd name="connsiteY33" fmla="*/ 0 h 579502"/>
              <a:gd name="connsiteX34" fmla="*/ 317393 w 607639"/>
              <a:gd name="connsiteY34" fmla="*/ 13597 h 579502"/>
              <a:gd name="connsiteX35" fmla="*/ 317393 w 607639"/>
              <a:gd name="connsiteY35" fmla="*/ 28884 h 579502"/>
              <a:gd name="connsiteX36" fmla="*/ 580403 w 607639"/>
              <a:gd name="connsiteY36" fmla="*/ 28884 h 579502"/>
              <a:gd name="connsiteX37" fmla="*/ 607639 w 607639"/>
              <a:gd name="connsiteY37" fmla="*/ 56079 h 579502"/>
              <a:gd name="connsiteX38" fmla="*/ 607639 w 607639"/>
              <a:gd name="connsiteY38" fmla="*/ 81319 h 579502"/>
              <a:gd name="connsiteX39" fmla="*/ 580403 w 607639"/>
              <a:gd name="connsiteY39" fmla="*/ 108514 h 579502"/>
              <a:gd name="connsiteX40" fmla="*/ 576665 w 607639"/>
              <a:gd name="connsiteY40" fmla="*/ 108514 h 579502"/>
              <a:gd name="connsiteX41" fmla="*/ 576665 w 607639"/>
              <a:gd name="connsiteY41" fmla="*/ 413970 h 579502"/>
              <a:gd name="connsiteX42" fmla="*/ 549430 w 607639"/>
              <a:gd name="connsiteY42" fmla="*/ 441165 h 579502"/>
              <a:gd name="connsiteX43" fmla="*/ 317393 w 607639"/>
              <a:gd name="connsiteY43" fmla="*/ 441165 h 579502"/>
              <a:gd name="connsiteX44" fmla="*/ 317393 w 607639"/>
              <a:gd name="connsiteY44" fmla="*/ 481069 h 579502"/>
              <a:gd name="connsiteX45" fmla="*/ 418236 w 607639"/>
              <a:gd name="connsiteY45" fmla="*/ 554923 h 579502"/>
              <a:gd name="connsiteX46" fmla="*/ 421173 w 607639"/>
              <a:gd name="connsiteY46" fmla="*/ 573942 h 579502"/>
              <a:gd name="connsiteX47" fmla="*/ 410225 w 607639"/>
              <a:gd name="connsiteY47" fmla="*/ 579452 h 579502"/>
              <a:gd name="connsiteX48" fmla="*/ 402215 w 607639"/>
              <a:gd name="connsiteY48" fmla="*/ 576874 h 579502"/>
              <a:gd name="connsiteX49" fmla="*/ 317393 w 607639"/>
              <a:gd name="connsiteY49" fmla="*/ 514752 h 579502"/>
              <a:gd name="connsiteX50" fmla="*/ 317393 w 607639"/>
              <a:gd name="connsiteY50" fmla="*/ 565854 h 579502"/>
              <a:gd name="connsiteX51" fmla="*/ 303775 w 607639"/>
              <a:gd name="connsiteY51" fmla="*/ 579452 h 579502"/>
              <a:gd name="connsiteX52" fmla="*/ 290157 w 607639"/>
              <a:gd name="connsiteY52" fmla="*/ 565854 h 579502"/>
              <a:gd name="connsiteX53" fmla="*/ 290157 w 607639"/>
              <a:gd name="connsiteY53" fmla="*/ 514752 h 579502"/>
              <a:gd name="connsiteX54" fmla="*/ 205424 w 607639"/>
              <a:gd name="connsiteY54" fmla="*/ 576874 h 579502"/>
              <a:gd name="connsiteX55" fmla="*/ 186377 w 607639"/>
              <a:gd name="connsiteY55" fmla="*/ 573942 h 579502"/>
              <a:gd name="connsiteX56" fmla="*/ 189314 w 607639"/>
              <a:gd name="connsiteY56" fmla="*/ 554923 h 579502"/>
              <a:gd name="connsiteX57" fmla="*/ 290157 w 607639"/>
              <a:gd name="connsiteY57" fmla="*/ 481069 h 579502"/>
              <a:gd name="connsiteX58" fmla="*/ 290157 w 607639"/>
              <a:gd name="connsiteY58" fmla="*/ 441165 h 579502"/>
              <a:gd name="connsiteX59" fmla="*/ 58120 w 607639"/>
              <a:gd name="connsiteY59" fmla="*/ 441165 h 579502"/>
              <a:gd name="connsiteX60" fmla="*/ 30885 w 607639"/>
              <a:gd name="connsiteY60" fmla="*/ 413970 h 579502"/>
              <a:gd name="connsiteX61" fmla="*/ 30885 w 607639"/>
              <a:gd name="connsiteY61" fmla="*/ 108514 h 579502"/>
              <a:gd name="connsiteX62" fmla="*/ 27236 w 607639"/>
              <a:gd name="connsiteY62" fmla="*/ 108514 h 579502"/>
              <a:gd name="connsiteX63" fmla="*/ 0 w 607639"/>
              <a:gd name="connsiteY63" fmla="*/ 81319 h 579502"/>
              <a:gd name="connsiteX64" fmla="*/ 0 w 607639"/>
              <a:gd name="connsiteY64" fmla="*/ 56079 h 579502"/>
              <a:gd name="connsiteX65" fmla="*/ 27236 w 607639"/>
              <a:gd name="connsiteY65" fmla="*/ 28884 h 579502"/>
              <a:gd name="connsiteX66" fmla="*/ 290157 w 607639"/>
              <a:gd name="connsiteY66" fmla="*/ 28884 h 579502"/>
              <a:gd name="connsiteX67" fmla="*/ 290157 w 607639"/>
              <a:gd name="connsiteY67" fmla="*/ 13597 h 579502"/>
              <a:gd name="connsiteX68" fmla="*/ 303775 w 607639"/>
              <a:gd name="connsiteY68" fmla="*/ 0 h 579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</a:cxnLst>
            <a:rect l="l" t="t" r="r" b="b"/>
            <a:pathLst>
              <a:path w="607639" h="579502">
                <a:moveTo>
                  <a:pt x="315778" y="173080"/>
                </a:moveTo>
                <a:lnTo>
                  <a:pt x="315778" y="266058"/>
                </a:lnTo>
                <a:cubicBezTo>
                  <a:pt x="315778" y="272814"/>
                  <a:pt x="310258" y="278325"/>
                  <a:pt x="303493" y="278325"/>
                </a:cubicBezTo>
                <a:lnTo>
                  <a:pt x="210375" y="278325"/>
                </a:lnTo>
                <a:cubicBezTo>
                  <a:pt x="216429" y="324281"/>
                  <a:pt x="255866" y="359925"/>
                  <a:pt x="303493" y="359925"/>
                </a:cubicBezTo>
                <a:cubicBezTo>
                  <a:pt x="355303" y="359925"/>
                  <a:pt x="397500" y="317792"/>
                  <a:pt x="397500" y="266058"/>
                </a:cubicBezTo>
                <a:cubicBezTo>
                  <a:pt x="397500" y="218502"/>
                  <a:pt x="361802" y="179124"/>
                  <a:pt x="315778" y="173080"/>
                </a:cubicBezTo>
                <a:close/>
                <a:moveTo>
                  <a:pt x="249814" y="160816"/>
                </a:moveTo>
                <a:cubicBezTo>
                  <a:pt x="223740" y="165793"/>
                  <a:pt x="203093" y="186410"/>
                  <a:pt x="198110" y="212449"/>
                </a:cubicBezTo>
                <a:lnTo>
                  <a:pt x="249814" y="212449"/>
                </a:lnTo>
                <a:close/>
                <a:moveTo>
                  <a:pt x="303493" y="147835"/>
                </a:moveTo>
                <a:cubicBezTo>
                  <a:pt x="368835" y="147835"/>
                  <a:pt x="421981" y="200902"/>
                  <a:pt x="421981" y="266058"/>
                </a:cubicBezTo>
                <a:cubicBezTo>
                  <a:pt x="421981" y="331303"/>
                  <a:pt x="368835" y="384370"/>
                  <a:pt x="303493" y="384370"/>
                </a:cubicBezTo>
                <a:cubicBezTo>
                  <a:pt x="238239" y="384370"/>
                  <a:pt x="185093" y="331303"/>
                  <a:pt x="185093" y="266058"/>
                </a:cubicBezTo>
                <a:cubicBezTo>
                  <a:pt x="185093" y="259303"/>
                  <a:pt x="190523" y="253880"/>
                  <a:pt x="197289" y="253880"/>
                </a:cubicBezTo>
                <a:lnTo>
                  <a:pt x="291297" y="253880"/>
                </a:lnTo>
                <a:lnTo>
                  <a:pt x="291297" y="160013"/>
                </a:lnTo>
                <a:cubicBezTo>
                  <a:pt x="291297" y="153257"/>
                  <a:pt x="296727" y="147835"/>
                  <a:pt x="303493" y="147835"/>
                </a:cubicBezTo>
                <a:close/>
                <a:moveTo>
                  <a:pt x="262095" y="135133"/>
                </a:moveTo>
                <a:cubicBezTo>
                  <a:pt x="268859" y="135133"/>
                  <a:pt x="274287" y="140643"/>
                  <a:pt x="274287" y="147397"/>
                </a:cubicBezTo>
                <a:lnTo>
                  <a:pt x="274287" y="224713"/>
                </a:lnTo>
                <a:cubicBezTo>
                  <a:pt x="274287" y="231467"/>
                  <a:pt x="268859" y="236888"/>
                  <a:pt x="262095" y="236888"/>
                </a:cubicBezTo>
                <a:lnTo>
                  <a:pt x="184672" y="236888"/>
                </a:lnTo>
                <a:cubicBezTo>
                  <a:pt x="177909" y="236888"/>
                  <a:pt x="172391" y="231467"/>
                  <a:pt x="172391" y="224713"/>
                </a:cubicBezTo>
                <a:cubicBezTo>
                  <a:pt x="172391" y="175302"/>
                  <a:pt x="212616" y="135133"/>
                  <a:pt x="262095" y="135133"/>
                </a:cubicBezTo>
                <a:close/>
                <a:moveTo>
                  <a:pt x="58120" y="108514"/>
                </a:moveTo>
                <a:lnTo>
                  <a:pt x="58120" y="413970"/>
                </a:lnTo>
                <a:lnTo>
                  <a:pt x="549430" y="413970"/>
                </a:lnTo>
                <a:lnTo>
                  <a:pt x="549430" y="108514"/>
                </a:lnTo>
                <a:close/>
                <a:moveTo>
                  <a:pt x="27236" y="56079"/>
                </a:moveTo>
                <a:lnTo>
                  <a:pt x="27236" y="81319"/>
                </a:lnTo>
                <a:lnTo>
                  <a:pt x="580403" y="81319"/>
                </a:lnTo>
                <a:lnTo>
                  <a:pt x="580403" y="56079"/>
                </a:lnTo>
                <a:close/>
                <a:moveTo>
                  <a:pt x="303775" y="0"/>
                </a:moveTo>
                <a:cubicBezTo>
                  <a:pt x="311341" y="0"/>
                  <a:pt x="317393" y="6132"/>
                  <a:pt x="317393" y="13597"/>
                </a:cubicBezTo>
                <a:lnTo>
                  <a:pt x="317393" y="28884"/>
                </a:lnTo>
                <a:lnTo>
                  <a:pt x="580403" y="28884"/>
                </a:lnTo>
                <a:cubicBezTo>
                  <a:pt x="595356" y="28884"/>
                  <a:pt x="607639" y="41148"/>
                  <a:pt x="607639" y="56079"/>
                </a:cubicBezTo>
                <a:lnTo>
                  <a:pt x="607639" y="81319"/>
                </a:lnTo>
                <a:cubicBezTo>
                  <a:pt x="607639" y="96338"/>
                  <a:pt x="595356" y="108514"/>
                  <a:pt x="580403" y="108514"/>
                </a:cubicBezTo>
                <a:lnTo>
                  <a:pt x="576665" y="108514"/>
                </a:lnTo>
                <a:lnTo>
                  <a:pt x="576665" y="413970"/>
                </a:lnTo>
                <a:cubicBezTo>
                  <a:pt x="576665" y="428990"/>
                  <a:pt x="564472" y="441165"/>
                  <a:pt x="549430" y="441165"/>
                </a:cubicBezTo>
                <a:lnTo>
                  <a:pt x="317393" y="441165"/>
                </a:lnTo>
                <a:lnTo>
                  <a:pt x="317393" y="481069"/>
                </a:lnTo>
                <a:lnTo>
                  <a:pt x="418236" y="554923"/>
                </a:lnTo>
                <a:cubicBezTo>
                  <a:pt x="424377" y="559366"/>
                  <a:pt x="425623" y="567898"/>
                  <a:pt x="421173" y="573942"/>
                </a:cubicBezTo>
                <a:cubicBezTo>
                  <a:pt x="418503" y="577585"/>
                  <a:pt x="414409" y="579452"/>
                  <a:pt x="410225" y="579452"/>
                </a:cubicBezTo>
                <a:cubicBezTo>
                  <a:pt x="407466" y="579452"/>
                  <a:pt x="404618" y="578652"/>
                  <a:pt x="402215" y="576874"/>
                </a:cubicBezTo>
                <a:lnTo>
                  <a:pt x="317393" y="514752"/>
                </a:lnTo>
                <a:lnTo>
                  <a:pt x="317393" y="565854"/>
                </a:lnTo>
                <a:cubicBezTo>
                  <a:pt x="317393" y="573408"/>
                  <a:pt x="311341" y="579452"/>
                  <a:pt x="303775" y="579452"/>
                </a:cubicBezTo>
                <a:cubicBezTo>
                  <a:pt x="296299" y="579452"/>
                  <a:pt x="290157" y="573408"/>
                  <a:pt x="290157" y="565854"/>
                </a:cubicBezTo>
                <a:lnTo>
                  <a:pt x="290157" y="514752"/>
                </a:lnTo>
                <a:lnTo>
                  <a:pt x="205424" y="576874"/>
                </a:lnTo>
                <a:cubicBezTo>
                  <a:pt x="199372" y="581318"/>
                  <a:pt x="190827" y="579985"/>
                  <a:pt x="186377" y="573942"/>
                </a:cubicBezTo>
                <a:cubicBezTo>
                  <a:pt x="181927" y="567898"/>
                  <a:pt x="183262" y="559366"/>
                  <a:pt x="189314" y="554923"/>
                </a:cubicBezTo>
                <a:lnTo>
                  <a:pt x="290157" y="481069"/>
                </a:lnTo>
                <a:lnTo>
                  <a:pt x="290157" y="441165"/>
                </a:lnTo>
                <a:lnTo>
                  <a:pt x="58120" y="441165"/>
                </a:lnTo>
                <a:cubicBezTo>
                  <a:pt x="43167" y="441165"/>
                  <a:pt x="30885" y="428990"/>
                  <a:pt x="30885" y="413970"/>
                </a:cubicBezTo>
                <a:lnTo>
                  <a:pt x="30885" y="108514"/>
                </a:lnTo>
                <a:lnTo>
                  <a:pt x="27236" y="108514"/>
                </a:lnTo>
                <a:cubicBezTo>
                  <a:pt x="12194" y="108514"/>
                  <a:pt x="0" y="96338"/>
                  <a:pt x="0" y="81319"/>
                </a:cubicBezTo>
                <a:lnTo>
                  <a:pt x="0" y="56079"/>
                </a:lnTo>
                <a:cubicBezTo>
                  <a:pt x="0" y="41148"/>
                  <a:pt x="12194" y="28884"/>
                  <a:pt x="27236" y="28884"/>
                </a:cubicBezTo>
                <a:lnTo>
                  <a:pt x="290157" y="28884"/>
                </a:lnTo>
                <a:lnTo>
                  <a:pt x="290157" y="13597"/>
                </a:lnTo>
                <a:cubicBezTo>
                  <a:pt x="290157" y="6132"/>
                  <a:pt x="296299" y="0"/>
                  <a:pt x="303775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21" name="íšľîḍê">
            <a:extLst>
              <a:ext uri="{FF2B5EF4-FFF2-40B4-BE49-F238E27FC236}">
                <a16:creationId xmlns:a16="http://schemas.microsoft.com/office/drawing/2014/main" id="{0766FBB2-7B36-4DED-9287-5354BDBA0EBB}"/>
              </a:ext>
            </a:extLst>
          </p:cNvPr>
          <p:cNvSpPr txBox="1"/>
          <p:nvPr/>
        </p:nvSpPr>
        <p:spPr>
          <a:xfrm>
            <a:off x="6363919" y="3680401"/>
            <a:ext cx="1589909" cy="612068"/>
          </a:xfrm>
          <a:prstGeom prst="rect">
            <a:avLst/>
          </a:prstGeom>
          <a:noFill/>
        </p:spPr>
        <p:txBody>
          <a:bodyPr wrap="none" lIns="90000" tIns="46800" rIns="90000" bIns="46800" anchor="ctr" anchorCtr="0">
            <a:normAutofit/>
          </a:bodyPr>
          <a:lstStyle/>
          <a:p>
            <a:pPr algn="ctr"/>
            <a:r>
              <a:rPr lang="zh-CN" altLang="en-US" sz="1600" b="1">
                <a:solidFill>
                  <a:schemeClr val="accent1"/>
                </a:solidFill>
              </a:rPr>
              <a:t>标题文本预设</a:t>
            </a:r>
            <a:endParaRPr lang="zh-CN" altLang="en-US" sz="1600" b="1" dirty="0">
              <a:solidFill>
                <a:schemeClr val="accent1"/>
              </a:solidFill>
            </a:endParaRPr>
          </a:p>
        </p:txBody>
      </p:sp>
      <p:sp>
        <p:nvSpPr>
          <p:cNvPr id="18" name="iṧļîďè">
            <a:extLst>
              <a:ext uri="{FF2B5EF4-FFF2-40B4-BE49-F238E27FC236}">
                <a16:creationId xmlns:a16="http://schemas.microsoft.com/office/drawing/2014/main" id="{14096C66-5D60-4D55-9647-FCF4893F1501}"/>
              </a:ext>
            </a:extLst>
          </p:cNvPr>
          <p:cNvSpPr txBox="1"/>
          <p:nvPr/>
        </p:nvSpPr>
        <p:spPr>
          <a:xfrm>
            <a:off x="853107" y="1316035"/>
            <a:ext cx="3816423" cy="728231"/>
          </a:xfrm>
          <a:prstGeom prst="rect">
            <a:avLst/>
          </a:prstGeom>
          <a:noFill/>
        </p:spPr>
        <p:txBody>
          <a:bodyPr wrap="square" lIns="90000">
            <a:normAutofit/>
          </a:bodyPr>
          <a:lstStyle/>
          <a:p>
            <a:pPr lvl="0">
              <a:lnSpc>
                <a:spcPct val="120000"/>
              </a:lnSpc>
            </a:pPr>
            <a:r>
              <a:rPr lang="zh-CN" altLang="en-US" b="1">
                <a:solidFill>
                  <a:srgbClr val="333639"/>
                </a:solidFill>
              </a:rPr>
              <a:t>此部分内容作为文字排版占位显示（建议使用主题字体）</a:t>
            </a:r>
            <a:endParaRPr lang="zh-CN" altLang="en-US" b="1" dirty="0">
              <a:solidFill>
                <a:srgbClr val="333639"/>
              </a:solidFill>
            </a:endParaRPr>
          </a:p>
        </p:txBody>
      </p:sp>
      <p:sp>
        <p:nvSpPr>
          <p:cNvPr id="19" name="işḻíḍé">
            <a:extLst>
              <a:ext uri="{FF2B5EF4-FFF2-40B4-BE49-F238E27FC236}">
                <a16:creationId xmlns:a16="http://schemas.microsoft.com/office/drawing/2014/main" id="{9F264706-F980-4C22-B061-CA4EF986A646}"/>
              </a:ext>
            </a:extLst>
          </p:cNvPr>
          <p:cNvSpPr/>
          <p:nvPr/>
        </p:nvSpPr>
        <p:spPr>
          <a:xfrm>
            <a:off x="853108" y="2168097"/>
            <a:ext cx="3816423" cy="697997"/>
          </a:xfrm>
          <a:prstGeom prst="rect">
            <a:avLst/>
          </a:prstGeom>
        </p:spPr>
        <p:txBody>
          <a:bodyPr wrap="square" lIns="90000">
            <a:normAutofit/>
          </a:bodyPr>
          <a:lstStyle/>
          <a:p>
            <a:r>
              <a:rPr lang="zh-CN" altLang="en-US" sz="1200"/>
              <a:t>通常规则为在</a:t>
            </a:r>
            <a:r>
              <a:rPr lang="en-US" altLang="zh-CN" sz="1200"/>
              <a:t>PPT</a:t>
            </a:r>
            <a:r>
              <a:rPr lang="zh-CN" altLang="en-US" sz="1200"/>
              <a:t>文档下中英文各使用一种字体以保持全文档统一</a:t>
            </a:r>
            <a:endParaRPr lang="zh-CN" altLang="en-US" sz="1200" dirty="0"/>
          </a:p>
        </p:txBody>
      </p:sp>
      <p:sp>
        <p:nvSpPr>
          <p:cNvPr id="14" name="iṡḷiḑè">
            <a:extLst>
              <a:ext uri="{FF2B5EF4-FFF2-40B4-BE49-F238E27FC236}">
                <a16:creationId xmlns:a16="http://schemas.microsoft.com/office/drawing/2014/main" id="{9CB6C6B7-AF13-4520-8BAE-2B192D489380}"/>
              </a:ext>
            </a:extLst>
          </p:cNvPr>
          <p:cNvSpPr/>
          <p:nvPr/>
        </p:nvSpPr>
        <p:spPr>
          <a:xfrm>
            <a:off x="953514" y="4583448"/>
            <a:ext cx="6834674" cy="1151650"/>
          </a:xfrm>
          <a:prstGeom prst="rect">
            <a:avLst/>
          </a:prstGeom>
          <a:solidFill>
            <a:schemeClr val="bg1">
              <a:lumMod val="75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/>
          </a:p>
        </p:txBody>
      </p:sp>
      <p:sp>
        <p:nvSpPr>
          <p:cNvPr id="16" name="ïsľîďe">
            <a:extLst>
              <a:ext uri="{FF2B5EF4-FFF2-40B4-BE49-F238E27FC236}">
                <a16:creationId xmlns:a16="http://schemas.microsoft.com/office/drawing/2014/main" id="{4D1D4D32-9EE1-4D47-8BAC-68B3C267B322}"/>
              </a:ext>
            </a:extLst>
          </p:cNvPr>
          <p:cNvSpPr>
            <a:spLocks/>
          </p:cNvSpPr>
          <p:nvPr/>
        </p:nvSpPr>
        <p:spPr bwMode="auto">
          <a:xfrm>
            <a:off x="953514" y="5056143"/>
            <a:ext cx="3596194" cy="5573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rIns="90000" anchor="t" anchorCtr="0">
            <a:normAutofit/>
          </a:bodyPr>
          <a:lstStyle/>
          <a:p>
            <a:pPr eaLnBrk="1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zh-CN" altLang="en-US" sz="1000"/>
              <a:t>此部分内容作为文字排版占位显示（建议使用主题字体）</a:t>
            </a:r>
            <a:br>
              <a:rPr lang="zh-CN" altLang="en-US" sz="1000"/>
            </a:br>
            <a:r>
              <a:rPr lang="zh-CN" altLang="en-US" sz="1000"/>
              <a:t>如需更改请在（设置形状格式）菜单下（文本选项）中调整</a:t>
            </a:r>
            <a:endParaRPr lang="zh-CN" altLang="en-US" sz="1000" dirty="0"/>
          </a:p>
        </p:txBody>
      </p:sp>
      <p:sp>
        <p:nvSpPr>
          <p:cNvPr id="17" name="íṧ1ïḋe">
            <a:extLst>
              <a:ext uri="{FF2B5EF4-FFF2-40B4-BE49-F238E27FC236}">
                <a16:creationId xmlns:a16="http://schemas.microsoft.com/office/drawing/2014/main" id="{923DC628-7039-4BAB-8581-5AA9CED8AAE6}"/>
              </a:ext>
            </a:extLst>
          </p:cNvPr>
          <p:cNvSpPr txBox="1">
            <a:spLocks/>
          </p:cNvSpPr>
          <p:nvPr/>
        </p:nvSpPr>
        <p:spPr bwMode="auto">
          <a:xfrm>
            <a:off x="953514" y="4705004"/>
            <a:ext cx="3596194" cy="3511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rIns="90000">
            <a:normAutofit lnSpcReduction="10000"/>
          </a:bodyPr>
          <a:lstStyle/>
          <a:p>
            <a:pPr eaLnBrk="1" hangingPunct="1">
              <a:spcBef>
                <a:spcPct val="0"/>
              </a:spcBef>
              <a:buFontTx/>
              <a:buNone/>
            </a:pPr>
            <a:r>
              <a:rPr lang="zh-CN" altLang="en-US" sz="1800" b="1"/>
              <a:t>标题文本预设</a:t>
            </a:r>
            <a:endParaRPr lang="zh-CN" altLang="en-US" sz="1800" b="1" dirty="0"/>
          </a:p>
        </p:txBody>
      </p:sp>
    </p:spTree>
    <p:extLst>
      <p:ext uri="{BB962C8B-B14F-4D97-AF65-F5344CB8AC3E}">
        <p14:creationId xmlns:p14="http://schemas.microsoft.com/office/powerpoint/2010/main" val="270556521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36EE684-7472-478A-AC9C-833B7E65DA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43FD0CFB-3385-4600-8625-5F1B7B6C27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F31D2C3-BC8A-4910-BA31-F6CB27C309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2</a:t>
            </a:fld>
            <a:endParaRPr lang="zh-CN" altLang="en-US"/>
          </a:p>
        </p:txBody>
      </p:sp>
      <p:sp>
        <p:nvSpPr>
          <p:cNvPr id="19" name="iśļiḑe">
            <a:extLst>
              <a:ext uri="{FF2B5EF4-FFF2-40B4-BE49-F238E27FC236}">
                <a16:creationId xmlns:a16="http://schemas.microsoft.com/office/drawing/2014/main" id="{F0471947-FAD1-45E2-AC66-267CBE296F9B}"/>
              </a:ext>
            </a:extLst>
          </p:cNvPr>
          <p:cNvSpPr/>
          <p:nvPr/>
        </p:nvSpPr>
        <p:spPr>
          <a:xfrm>
            <a:off x="4757855" y="2276872"/>
            <a:ext cx="2676291" cy="2676292"/>
          </a:xfrm>
          <a:prstGeom prst="arc">
            <a:avLst>
              <a:gd name="adj1" fmla="val 12272767"/>
              <a:gd name="adj2" fmla="val 20003823"/>
            </a:avLst>
          </a:prstGeom>
          <a:noFill/>
          <a:ln w="19050">
            <a:solidFill>
              <a:schemeClr val="bg1">
                <a:lumMod val="85000"/>
              </a:schemeClr>
            </a:solidFill>
            <a:prstDash val="solid"/>
            <a:tailEnd type="triangle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/>
          </a:p>
        </p:txBody>
      </p:sp>
      <p:sp>
        <p:nvSpPr>
          <p:cNvPr id="20" name="iṩļíḓê">
            <a:extLst>
              <a:ext uri="{FF2B5EF4-FFF2-40B4-BE49-F238E27FC236}">
                <a16:creationId xmlns:a16="http://schemas.microsoft.com/office/drawing/2014/main" id="{9371D58C-B65F-4133-B443-A596C7F0DE3A}"/>
              </a:ext>
            </a:extLst>
          </p:cNvPr>
          <p:cNvSpPr/>
          <p:nvPr/>
        </p:nvSpPr>
        <p:spPr>
          <a:xfrm>
            <a:off x="4084320" y="2985014"/>
            <a:ext cx="1260008" cy="1260008"/>
          </a:xfrm>
          <a:prstGeom prst="ellipse">
            <a:avLst/>
          </a:prstGeom>
          <a:solidFill>
            <a:schemeClr val="accent1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/>
          </a:p>
        </p:txBody>
      </p:sp>
      <p:sp>
        <p:nvSpPr>
          <p:cNvPr id="21" name="îş1iḍè">
            <a:extLst>
              <a:ext uri="{FF2B5EF4-FFF2-40B4-BE49-F238E27FC236}">
                <a16:creationId xmlns:a16="http://schemas.microsoft.com/office/drawing/2014/main" id="{9496B41E-DE77-46EA-94E2-2BC00E8D18C8}"/>
              </a:ext>
            </a:extLst>
          </p:cNvPr>
          <p:cNvSpPr/>
          <p:nvPr/>
        </p:nvSpPr>
        <p:spPr>
          <a:xfrm>
            <a:off x="6847672" y="2985014"/>
            <a:ext cx="1260008" cy="1260008"/>
          </a:xfrm>
          <a:prstGeom prst="ellipse">
            <a:avLst/>
          </a:prstGeom>
          <a:solidFill>
            <a:schemeClr val="accent3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dirty="0"/>
          </a:p>
        </p:txBody>
      </p:sp>
      <p:sp>
        <p:nvSpPr>
          <p:cNvPr id="22" name="ïsľiďê">
            <a:extLst>
              <a:ext uri="{FF2B5EF4-FFF2-40B4-BE49-F238E27FC236}">
                <a16:creationId xmlns:a16="http://schemas.microsoft.com/office/drawing/2014/main" id="{719510ED-5B40-4E1A-9A98-A289FD732F86}"/>
              </a:ext>
            </a:extLst>
          </p:cNvPr>
          <p:cNvSpPr/>
          <p:nvPr/>
        </p:nvSpPr>
        <p:spPr>
          <a:xfrm>
            <a:off x="4757855" y="2276872"/>
            <a:ext cx="2676291" cy="2676292"/>
          </a:xfrm>
          <a:prstGeom prst="arc">
            <a:avLst>
              <a:gd name="adj1" fmla="val 1657893"/>
              <a:gd name="adj2" fmla="val 9194934"/>
            </a:avLst>
          </a:prstGeom>
          <a:noFill/>
          <a:ln w="19050">
            <a:solidFill>
              <a:schemeClr val="bg1">
                <a:lumMod val="85000"/>
              </a:schemeClr>
            </a:solidFill>
            <a:prstDash val="solid"/>
            <a:tailEnd type="triangle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/>
          </a:p>
        </p:txBody>
      </p:sp>
      <p:sp>
        <p:nvSpPr>
          <p:cNvPr id="23" name="íŝļiḓe">
            <a:extLst>
              <a:ext uri="{FF2B5EF4-FFF2-40B4-BE49-F238E27FC236}">
                <a16:creationId xmlns:a16="http://schemas.microsoft.com/office/drawing/2014/main" id="{1154D7DA-D6BA-48F0-9F7A-FD9CCF084659}"/>
              </a:ext>
            </a:extLst>
          </p:cNvPr>
          <p:cNvSpPr>
            <a:spLocks/>
          </p:cNvSpPr>
          <p:nvPr/>
        </p:nvSpPr>
        <p:spPr bwMode="auto">
          <a:xfrm>
            <a:off x="4385249" y="3313076"/>
            <a:ext cx="633204" cy="603883"/>
          </a:xfrm>
          <a:custGeom>
            <a:avLst/>
            <a:gdLst>
              <a:gd name="connsiteX0" fmla="*/ 315778 w 607639"/>
              <a:gd name="connsiteY0" fmla="*/ 173080 h 579502"/>
              <a:gd name="connsiteX1" fmla="*/ 315778 w 607639"/>
              <a:gd name="connsiteY1" fmla="*/ 266058 h 579502"/>
              <a:gd name="connsiteX2" fmla="*/ 303493 w 607639"/>
              <a:gd name="connsiteY2" fmla="*/ 278325 h 579502"/>
              <a:gd name="connsiteX3" fmla="*/ 210375 w 607639"/>
              <a:gd name="connsiteY3" fmla="*/ 278325 h 579502"/>
              <a:gd name="connsiteX4" fmla="*/ 303493 w 607639"/>
              <a:gd name="connsiteY4" fmla="*/ 359925 h 579502"/>
              <a:gd name="connsiteX5" fmla="*/ 397500 w 607639"/>
              <a:gd name="connsiteY5" fmla="*/ 266058 h 579502"/>
              <a:gd name="connsiteX6" fmla="*/ 315778 w 607639"/>
              <a:gd name="connsiteY6" fmla="*/ 173080 h 579502"/>
              <a:gd name="connsiteX7" fmla="*/ 249814 w 607639"/>
              <a:gd name="connsiteY7" fmla="*/ 160816 h 579502"/>
              <a:gd name="connsiteX8" fmla="*/ 198110 w 607639"/>
              <a:gd name="connsiteY8" fmla="*/ 212449 h 579502"/>
              <a:gd name="connsiteX9" fmla="*/ 249814 w 607639"/>
              <a:gd name="connsiteY9" fmla="*/ 212449 h 579502"/>
              <a:gd name="connsiteX10" fmla="*/ 303493 w 607639"/>
              <a:gd name="connsiteY10" fmla="*/ 147835 h 579502"/>
              <a:gd name="connsiteX11" fmla="*/ 421981 w 607639"/>
              <a:gd name="connsiteY11" fmla="*/ 266058 h 579502"/>
              <a:gd name="connsiteX12" fmla="*/ 303493 w 607639"/>
              <a:gd name="connsiteY12" fmla="*/ 384370 h 579502"/>
              <a:gd name="connsiteX13" fmla="*/ 185093 w 607639"/>
              <a:gd name="connsiteY13" fmla="*/ 266058 h 579502"/>
              <a:gd name="connsiteX14" fmla="*/ 197289 w 607639"/>
              <a:gd name="connsiteY14" fmla="*/ 253880 h 579502"/>
              <a:gd name="connsiteX15" fmla="*/ 291297 w 607639"/>
              <a:gd name="connsiteY15" fmla="*/ 253880 h 579502"/>
              <a:gd name="connsiteX16" fmla="*/ 291297 w 607639"/>
              <a:gd name="connsiteY16" fmla="*/ 160013 h 579502"/>
              <a:gd name="connsiteX17" fmla="*/ 303493 w 607639"/>
              <a:gd name="connsiteY17" fmla="*/ 147835 h 579502"/>
              <a:gd name="connsiteX18" fmla="*/ 262095 w 607639"/>
              <a:gd name="connsiteY18" fmla="*/ 135133 h 579502"/>
              <a:gd name="connsiteX19" fmla="*/ 274287 w 607639"/>
              <a:gd name="connsiteY19" fmla="*/ 147397 h 579502"/>
              <a:gd name="connsiteX20" fmla="*/ 274287 w 607639"/>
              <a:gd name="connsiteY20" fmla="*/ 224713 h 579502"/>
              <a:gd name="connsiteX21" fmla="*/ 262095 w 607639"/>
              <a:gd name="connsiteY21" fmla="*/ 236888 h 579502"/>
              <a:gd name="connsiteX22" fmla="*/ 184672 w 607639"/>
              <a:gd name="connsiteY22" fmla="*/ 236888 h 579502"/>
              <a:gd name="connsiteX23" fmla="*/ 172391 w 607639"/>
              <a:gd name="connsiteY23" fmla="*/ 224713 h 579502"/>
              <a:gd name="connsiteX24" fmla="*/ 262095 w 607639"/>
              <a:gd name="connsiteY24" fmla="*/ 135133 h 579502"/>
              <a:gd name="connsiteX25" fmla="*/ 58120 w 607639"/>
              <a:gd name="connsiteY25" fmla="*/ 108514 h 579502"/>
              <a:gd name="connsiteX26" fmla="*/ 58120 w 607639"/>
              <a:gd name="connsiteY26" fmla="*/ 413970 h 579502"/>
              <a:gd name="connsiteX27" fmla="*/ 549430 w 607639"/>
              <a:gd name="connsiteY27" fmla="*/ 413970 h 579502"/>
              <a:gd name="connsiteX28" fmla="*/ 549430 w 607639"/>
              <a:gd name="connsiteY28" fmla="*/ 108514 h 579502"/>
              <a:gd name="connsiteX29" fmla="*/ 27236 w 607639"/>
              <a:gd name="connsiteY29" fmla="*/ 56079 h 579502"/>
              <a:gd name="connsiteX30" fmla="*/ 27236 w 607639"/>
              <a:gd name="connsiteY30" fmla="*/ 81319 h 579502"/>
              <a:gd name="connsiteX31" fmla="*/ 580403 w 607639"/>
              <a:gd name="connsiteY31" fmla="*/ 81319 h 579502"/>
              <a:gd name="connsiteX32" fmla="*/ 580403 w 607639"/>
              <a:gd name="connsiteY32" fmla="*/ 56079 h 579502"/>
              <a:gd name="connsiteX33" fmla="*/ 303775 w 607639"/>
              <a:gd name="connsiteY33" fmla="*/ 0 h 579502"/>
              <a:gd name="connsiteX34" fmla="*/ 317393 w 607639"/>
              <a:gd name="connsiteY34" fmla="*/ 13597 h 579502"/>
              <a:gd name="connsiteX35" fmla="*/ 317393 w 607639"/>
              <a:gd name="connsiteY35" fmla="*/ 28884 h 579502"/>
              <a:gd name="connsiteX36" fmla="*/ 580403 w 607639"/>
              <a:gd name="connsiteY36" fmla="*/ 28884 h 579502"/>
              <a:gd name="connsiteX37" fmla="*/ 607639 w 607639"/>
              <a:gd name="connsiteY37" fmla="*/ 56079 h 579502"/>
              <a:gd name="connsiteX38" fmla="*/ 607639 w 607639"/>
              <a:gd name="connsiteY38" fmla="*/ 81319 h 579502"/>
              <a:gd name="connsiteX39" fmla="*/ 580403 w 607639"/>
              <a:gd name="connsiteY39" fmla="*/ 108514 h 579502"/>
              <a:gd name="connsiteX40" fmla="*/ 576665 w 607639"/>
              <a:gd name="connsiteY40" fmla="*/ 108514 h 579502"/>
              <a:gd name="connsiteX41" fmla="*/ 576665 w 607639"/>
              <a:gd name="connsiteY41" fmla="*/ 413970 h 579502"/>
              <a:gd name="connsiteX42" fmla="*/ 549430 w 607639"/>
              <a:gd name="connsiteY42" fmla="*/ 441165 h 579502"/>
              <a:gd name="connsiteX43" fmla="*/ 317393 w 607639"/>
              <a:gd name="connsiteY43" fmla="*/ 441165 h 579502"/>
              <a:gd name="connsiteX44" fmla="*/ 317393 w 607639"/>
              <a:gd name="connsiteY44" fmla="*/ 481069 h 579502"/>
              <a:gd name="connsiteX45" fmla="*/ 418236 w 607639"/>
              <a:gd name="connsiteY45" fmla="*/ 554923 h 579502"/>
              <a:gd name="connsiteX46" fmla="*/ 421173 w 607639"/>
              <a:gd name="connsiteY46" fmla="*/ 573942 h 579502"/>
              <a:gd name="connsiteX47" fmla="*/ 410225 w 607639"/>
              <a:gd name="connsiteY47" fmla="*/ 579452 h 579502"/>
              <a:gd name="connsiteX48" fmla="*/ 402215 w 607639"/>
              <a:gd name="connsiteY48" fmla="*/ 576874 h 579502"/>
              <a:gd name="connsiteX49" fmla="*/ 317393 w 607639"/>
              <a:gd name="connsiteY49" fmla="*/ 514752 h 579502"/>
              <a:gd name="connsiteX50" fmla="*/ 317393 w 607639"/>
              <a:gd name="connsiteY50" fmla="*/ 565854 h 579502"/>
              <a:gd name="connsiteX51" fmla="*/ 303775 w 607639"/>
              <a:gd name="connsiteY51" fmla="*/ 579452 h 579502"/>
              <a:gd name="connsiteX52" fmla="*/ 290157 w 607639"/>
              <a:gd name="connsiteY52" fmla="*/ 565854 h 579502"/>
              <a:gd name="connsiteX53" fmla="*/ 290157 w 607639"/>
              <a:gd name="connsiteY53" fmla="*/ 514752 h 579502"/>
              <a:gd name="connsiteX54" fmla="*/ 205424 w 607639"/>
              <a:gd name="connsiteY54" fmla="*/ 576874 h 579502"/>
              <a:gd name="connsiteX55" fmla="*/ 186377 w 607639"/>
              <a:gd name="connsiteY55" fmla="*/ 573942 h 579502"/>
              <a:gd name="connsiteX56" fmla="*/ 189314 w 607639"/>
              <a:gd name="connsiteY56" fmla="*/ 554923 h 579502"/>
              <a:gd name="connsiteX57" fmla="*/ 290157 w 607639"/>
              <a:gd name="connsiteY57" fmla="*/ 481069 h 579502"/>
              <a:gd name="connsiteX58" fmla="*/ 290157 w 607639"/>
              <a:gd name="connsiteY58" fmla="*/ 441165 h 579502"/>
              <a:gd name="connsiteX59" fmla="*/ 58120 w 607639"/>
              <a:gd name="connsiteY59" fmla="*/ 441165 h 579502"/>
              <a:gd name="connsiteX60" fmla="*/ 30885 w 607639"/>
              <a:gd name="connsiteY60" fmla="*/ 413970 h 579502"/>
              <a:gd name="connsiteX61" fmla="*/ 30885 w 607639"/>
              <a:gd name="connsiteY61" fmla="*/ 108514 h 579502"/>
              <a:gd name="connsiteX62" fmla="*/ 27236 w 607639"/>
              <a:gd name="connsiteY62" fmla="*/ 108514 h 579502"/>
              <a:gd name="connsiteX63" fmla="*/ 0 w 607639"/>
              <a:gd name="connsiteY63" fmla="*/ 81319 h 579502"/>
              <a:gd name="connsiteX64" fmla="*/ 0 w 607639"/>
              <a:gd name="connsiteY64" fmla="*/ 56079 h 579502"/>
              <a:gd name="connsiteX65" fmla="*/ 27236 w 607639"/>
              <a:gd name="connsiteY65" fmla="*/ 28884 h 579502"/>
              <a:gd name="connsiteX66" fmla="*/ 290157 w 607639"/>
              <a:gd name="connsiteY66" fmla="*/ 28884 h 579502"/>
              <a:gd name="connsiteX67" fmla="*/ 290157 w 607639"/>
              <a:gd name="connsiteY67" fmla="*/ 13597 h 579502"/>
              <a:gd name="connsiteX68" fmla="*/ 303775 w 607639"/>
              <a:gd name="connsiteY68" fmla="*/ 0 h 579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</a:cxnLst>
            <a:rect l="l" t="t" r="r" b="b"/>
            <a:pathLst>
              <a:path w="607639" h="579502">
                <a:moveTo>
                  <a:pt x="315778" y="173080"/>
                </a:moveTo>
                <a:lnTo>
                  <a:pt x="315778" y="266058"/>
                </a:lnTo>
                <a:cubicBezTo>
                  <a:pt x="315778" y="272814"/>
                  <a:pt x="310258" y="278325"/>
                  <a:pt x="303493" y="278325"/>
                </a:cubicBezTo>
                <a:lnTo>
                  <a:pt x="210375" y="278325"/>
                </a:lnTo>
                <a:cubicBezTo>
                  <a:pt x="216429" y="324281"/>
                  <a:pt x="255866" y="359925"/>
                  <a:pt x="303493" y="359925"/>
                </a:cubicBezTo>
                <a:cubicBezTo>
                  <a:pt x="355303" y="359925"/>
                  <a:pt x="397500" y="317792"/>
                  <a:pt x="397500" y="266058"/>
                </a:cubicBezTo>
                <a:cubicBezTo>
                  <a:pt x="397500" y="218502"/>
                  <a:pt x="361802" y="179124"/>
                  <a:pt x="315778" y="173080"/>
                </a:cubicBezTo>
                <a:close/>
                <a:moveTo>
                  <a:pt x="249814" y="160816"/>
                </a:moveTo>
                <a:cubicBezTo>
                  <a:pt x="223740" y="165793"/>
                  <a:pt x="203093" y="186410"/>
                  <a:pt x="198110" y="212449"/>
                </a:cubicBezTo>
                <a:lnTo>
                  <a:pt x="249814" y="212449"/>
                </a:lnTo>
                <a:close/>
                <a:moveTo>
                  <a:pt x="303493" y="147835"/>
                </a:moveTo>
                <a:cubicBezTo>
                  <a:pt x="368835" y="147835"/>
                  <a:pt x="421981" y="200902"/>
                  <a:pt x="421981" y="266058"/>
                </a:cubicBezTo>
                <a:cubicBezTo>
                  <a:pt x="421981" y="331303"/>
                  <a:pt x="368835" y="384370"/>
                  <a:pt x="303493" y="384370"/>
                </a:cubicBezTo>
                <a:cubicBezTo>
                  <a:pt x="238239" y="384370"/>
                  <a:pt x="185093" y="331303"/>
                  <a:pt x="185093" y="266058"/>
                </a:cubicBezTo>
                <a:cubicBezTo>
                  <a:pt x="185093" y="259303"/>
                  <a:pt x="190523" y="253880"/>
                  <a:pt x="197289" y="253880"/>
                </a:cubicBezTo>
                <a:lnTo>
                  <a:pt x="291297" y="253880"/>
                </a:lnTo>
                <a:lnTo>
                  <a:pt x="291297" y="160013"/>
                </a:lnTo>
                <a:cubicBezTo>
                  <a:pt x="291297" y="153257"/>
                  <a:pt x="296727" y="147835"/>
                  <a:pt x="303493" y="147835"/>
                </a:cubicBezTo>
                <a:close/>
                <a:moveTo>
                  <a:pt x="262095" y="135133"/>
                </a:moveTo>
                <a:cubicBezTo>
                  <a:pt x="268859" y="135133"/>
                  <a:pt x="274287" y="140643"/>
                  <a:pt x="274287" y="147397"/>
                </a:cubicBezTo>
                <a:lnTo>
                  <a:pt x="274287" y="224713"/>
                </a:lnTo>
                <a:cubicBezTo>
                  <a:pt x="274287" y="231467"/>
                  <a:pt x="268859" y="236888"/>
                  <a:pt x="262095" y="236888"/>
                </a:cubicBezTo>
                <a:lnTo>
                  <a:pt x="184672" y="236888"/>
                </a:lnTo>
                <a:cubicBezTo>
                  <a:pt x="177909" y="236888"/>
                  <a:pt x="172391" y="231467"/>
                  <a:pt x="172391" y="224713"/>
                </a:cubicBezTo>
                <a:cubicBezTo>
                  <a:pt x="172391" y="175302"/>
                  <a:pt x="212616" y="135133"/>
                  <a:pt x="262095" y="135133"/>
                </a:cubicBezTo>
                <a:close/>
                <a:moveTo>
                  <a:pt x="58120" y="108514"/>
                </a:moveTo>
                <a:lnTo>
                  <a:pt x="58120" y="413970"/>
                </a:lnTo>
                <a:lnTo>
                  <a:pt x="549430" y="413970"/>
                </a:lnTo>
                <a:lnTo>
                  <a:pt x="549430" y="108514"/>
                </a:lnTo>
                <a:close/>
                <a:moveTo>
                  <a:pt x="27236" y="56079"/>
                </a:moveTo>
                <a:lnTo>
                  <a:pt x="27236" y="81319"/>
                </a:lnTo>
                <a:lnTo>
                  <a:pt x="580403" y="81319"/>
                </a:lnTo>
                <a:lnTo>
                  <a:pt x="580403" y="56079"/>
                </a:lnTo>
                <a:close/>
                <a:moveTo>
                  <a:pt x="303775" y="0"/>
                </a:moveTo>
                <a:cubicBezTo>
                  <a:pt x="311341" y="0"/>
                  <a:pt x="317393" y="6132"/>
                  <a:pt x="317393" y="13597"/>
                </a:cubicBezTo>
                <a:lnTo>
                  <a:pt x="317393" y="28884"/>
                </a:lnTo>
                <a:lnTo>
                  <a:pt x="580403" y="28884"/>
                </a:lnTo>
                <a:cubicBezTo>
                  <a:pt x="595356" y="28884"/>
                  <a:pt x="607639" y="41148"/>
                  <a:pt x="607639" y="56079"/>
                </a:cubicBezTo>
                <a:lnTo>
                  <a:pt x="607639" y="81319"/>
                </a:lnTo>
                <a:cubicBezTo>
                  <a:pt x="607639" y="96338"/>
                  <a:pt x="595356" y="108514"/>
                  <a:pt x="580403" y="108514"/>
                </a:cubicBezTo>
                <a:lnTo>
                  <a:pt x="576665" y="108514"/>
                </a:lnTo>
                <a:lnTo>
                  <a:pt x="576665" y="413970"/>
                </a:lnTo>
                <a:cubicBezTo>
                  <a:pt x="576665" y="428990"/>
                  <a:pt x="564472" y="441165"/>
                  <a:pt x="549430" y="441165"/>
                </a:cubicBezTo>
                <a:lnTo>
                  <a:pt x="317393" y="441165"/>
                </a:lnTo>
                <a:lnTo>
                  <a:pt x="317393" y="481069"/>
                </a:lnTo>
                <a:lnTo>
                  <a:pt x="418236" y="554923"/>
                </a:lnTo>
                <a:cubicBezTo>
                  <a:pt x="424377" y="559366"/>
                  <a:pt x="425623" y="567898"/>
                  <a:pt x="421173" y="573942"/>
                </a:cubicBezTo>
                <a:cubicBezTo>
                  <a:pt x="418503" y="577585"/>
                  <a:pt x="414409" y="579452"/>
                  <a:pt x="410225" y="579452"/>
                </a:cubicBezTo>
                <a:cubicBezTo>
                  <a:pt x="407466" y="579452"/>
                  <a:pt x="404618" y="578652"/>
                  <a:pt x="402215" y="576874"/>
                </a:cubicBezTo>
                <a:lnTo>
                  <a:pt x="317393" y="514752"/>
                </a:lnTo>
                <a:lnTo>
                  <a:pt x="317393" y="565854"/>
                </a:lnTo>
                <a:cubicBezTo>
                  <a:pt x="317393" y="573408"/>
                  <a:pt x="311341" y="579452"/>
                  <a:pt x="303775" y="579452"/>
                </a:cubicBezTo>
                <a:cubicBezTo>
                  <a:pt x="296299" y="579452"/>
                  <a:pt x="290157" y="573408"/>
                  <a:pt x="290157" y="565854"/>
                </a:cubicBezTo>
                <a:lnTo>
                  <a:pt x="290157" y="514752"/>
                </a:lnTo>
                <a:lnTo>
                  <a:pt x="205424" y="576874"/>
                </a:lnTo>
                <a:cubicBezTo>
                  <a:pt x="199372" y="581318"/>
                  <a:pt x="190827" y="579985"/>
                  <a:pt x="186377" y="573942"/>
                </a:cubicBezTo>
                <a:cubicBezTo>
                  <a:pt x="181927" y="567898"/>
                  <a:pt x="183262" y="559366"/>
                  <a:pt x="189314" y="554923"/>
                </a:cubicBezTo>
                <a:lnTo>
                  <a:pt x="290157" y="481069"/>
                </a:lnTo>
                <a:lnTo>
                  <a:pt x="290157" y="441165"/>
                </a:lnTo>
                <a:lnTo>
                  <a:pt x="58120" y="441165"/>
                </a:lnTo>
                <a:cubicBezTo>
                  <a:pt x="43167" y="441165"/>
                  <a:pt x="30885" y="428990"/>
                  <a:pt x="30885" y="413970"/>
                </a:cubicBezTo>
                <a:lnTo>
                  <a:pt x="30885" y="108514"/>
                </a:lnTo>
                <a:lnTo>
                  <a:pt x="27236" y="108514"/>
                </a:lnTo>
                <a:cubicBezTo>
                  <a:pt x="12194" y="108514"/>
                  <a:pt x="0" y="96338"/>
                  <a:pt x="0" y="81319"/>
                </a:cubicBezTo>
                <a:lnTo>
                  <a:pt x="0" y="56079"/>
                </a:lnTo>
                <a:cubicBezTo>
                  <a:pt x="0" y="41148"/>
                  <a:pt x="12194" y="28884"/>
                  <a:pt x="27236" y="28884"/>
                </a:cubicBezTo>
                <a:lnTo>
                  <a:pt x="290157" y="28884"/>
                </a:lnTo>
                <a:lnTo>
                  <a:pt x="290157" y="13597"/>
                </a:lnTo>
                <a:cubicBezTo>
                  <a:pt x="290157" y="6132"/>
                  <a:pt x="296299" y="0"/>
                  <a:pt x="30377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anchor="ctr"/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/>
          </a:p>
        </p:txBody>
      </p:sp>
      <p:sp>
        <p:nvSpPr>
          <p:cNvPr id="24" name="ïṥľïďê" title="LjXxPfK7a53MF99">
            <a:extLst>
              <a:ext uri="{FF2B5EF4-FFF2-40B4-BE49-F238E27FC236}">
                <a16:creationId xmlns:a16="http://schemas.microsoft.com/office/drawing/2014/main" id="{E491D8B3-22CD-46B4-B27D-5349354D05F0}"/>
              </a:ext>
            </a:extLst>
          </p:cNvPr>
          <p:cNvSpPr>
            <a:spLocks/>
          </p:cNvSpPr>
          <p:nvPr/>
        </p:nvSpPr>
        <p:spPr bwMode="auto">
          <a:xfrm>
            <a:off x="7173548" y="3398975"/>
            <a:ext cx="633204" cy="432087"/>
          </a:xfrm>
          <a:custGeom>
            <a:avLst/>
            <a:gdLst>
              <a:gd name="connsiteX0" fmla="*/ 20293 w 607639"/>
              <a:gd name="connsiteY0" fmla="*/ 364067 h 414642"/>
              <a:gd name="connsiteX1" fmla="*/ 20293 w 607639"/>
              <a:gd name="connsiteY1" fmla="*/ 384244 h 414642"/>
              <a:gd name="connsiteX2" fmla="*/ 30351 w 607639"/>
              <a:gd name="connsiteY2" fmla="*/ 394377 h 414642"/>
              <a:gd name="connsiteX3" fmla="*/ 577199 w 607639"/>
              <a:gd name="connsiteY3" fmla="*/ 394377 h 414642"/>
              <a:gd name="connsiteX4" fmla="*/ 587346 w 607639"/>
              <a:gd name="connsiteY4" fmla="*/ 384244 h 414642"/>
              <a:gd name="connsiteX5" fmla="*/ 587346 w 607639"/>
              <a:gd name="connsiteY5" fmla="*/ 364067 h 414642"/>
              <a:gd name="connsiteX6" fmla="*/ 556995 w 607639"/>
              <a:gd name="connsiteY6" fmla="*/ 364067 h 414642"/>
              <a:gd name="connsiteX7" fmla="*/ 394916 w 607639"/>
              <a:gd name="connsiteY7" fmla="*/ 364067 h 414642"/>
              <a:gd name="connsiteX8" fmla="*/ 394916 w 607639"/>
              <a:gd name="connsiteY8" fmla="*/ 374200 h 414642"/>
              <a:gd name="connsiteX9" fmla="*/ 384859 w 607639"/>
              <a:gd name="connsiteY9" fmla="*/ 384244 h 414642"/>
              <a:gd name="connsiteX10" fmla="*/ 222780 w 607639"/>
              <a:gd name="connsiteY10" fmla="*/ 384244 h 414642"/>
              <a:gd name="connsiteX11" fmla="*/ 212634 w 607639"/>
              <a:gd name="connsiteY11" fmla="*/ 374200 h 414642"/>
              <a:gd name="connsiteX12" fmla="*/ 212634 w 607639"/>
              <a:gd name="connsiteY12" fmla="*/ 364067 h 414642"/>
              <a:gd name="connsiteX13" fmla="*/ 50644 w 607639"/>
              <a:gd name="connsiteY13" fmla="*/ 364067 h 414642"/>
              <a:gd name="connsiteX14" fmla="*/ 141754 w 607639"/>
              <a:gd name="connsiteY14" fmla="*/ 232583 h 414642"/>
              <a:gd name="connsiteX15" fmla="*/ 161961 w 607639"/>
              <a:gd name="connsiteY15" fmla="*/ 232583 h 414642"/>
              <a:gd name="connsiteX16" fmla="*/ 172110 w 607639"/>
              <a:gd name="connsiteY16" fmla="*/ 242719 h 414642"/>
              <a:gd name="connsiteX17" fmla="*/ 161961 w 607639"/>
              <a:gd name="connsiteY17" fmla="*/ 252765 h 414642"/>
              <a:gd name="connsiteX18" fmla="*/ 141754 w 607639"/>
              <a:gd name="connsiteY18" fmla="*/ 252765 h 414642"/>
              <a:gd name="connsiteX19" fmla="*/ 131605 w 607639"/>
              <a:gd name="connsiteY19" fmla="*/ 242719 h 414642"/>
              <a:gd name="connsiteX20" fmla="*/ 141754 w 607639"/>
              <a:gd name="connsiteY20" fmla="*/ 232583 h 414642"/>
              <a:gd name="connsiteX21" fmla="*/ 141758 w 607639"/>
              <a:gd name="connsiteY21" fmla="*/ 192149 h 414642"/>
              <a:gd name="connsiteX22" fmla="*/ 182279 w 607639"/>
              <a:gd name="connsiteY22" fmla="*/ 192149 h 414642"/>
              <a:gd name="connsiteX23" fmla="*/ 192432 w 607639"/>
              <a:gd name="connsiteY23" fmla="*/ 202196 h 414642"/>
              <a:gd name="connsiteX24" fmla="*/ 182279 w 607639"/>
              <a:gd name="connsiteY24" fmla="*/ 212331 h 414642"/>
              <a:gd name="connsiteX25" fmla="*/ 141758 w 607639"/>
              <a:gd name="connsiteY25" fmla="*/ 212331 h 414642"/>
              <a:gd name="connsiteX26" fmla="*/ 131605 w 607639"/>
              <a:gd name="connsiteY26" fmla="*/ 202196 h 414642"/>
              <a:gd name="connsiteX27" fmla="*/ 141758 w 607639"/>
              <a:gd name="connsiteY27" fmla="*/ 192149 h 414642"/>
              <a:gd name="connsiteX28" fmla="*/ 141754 w 607639"/>
              <a:gd name="connsiteY28" fmla="*/ 151716 h 414642"/>
              <a:gd name="connsiteX29" fmla="*/ 161961 w 607639"/>
              <a:gd name="connsiteY29" fmla="*/ 151716 h 414642"/>
              <a:gd name="connsiteX30" fmla="*/ 172110 w 607639"/>
              <a:gd name="connsiteY30" fmla="*/ 161763 h 414642"/>
              <a:gd name="connsiteX31" fmla="*/ 161961 w 607639"/>
              <a:gd name="connsiteY31" fmla="*/ 171898 h 414642"/>
              <a:gd name="connsiteX32" fmla="*/ 141754 w 607639"/>
              <a:gd name="connsiteY32" fmla="*/ 171898 h 414642"/>
              <a:gd name="connsiteX33" fmla="*/ 131605 w 607639"/>
              <a:gd name="connsiteY33" fmla="*/ 161763 h 414642"/>
              <a:gd name="connsiteX34" fmla="*/ 141754 w 607639"/>
              <a:gd name="connsiteY34" fmla="*/ 151716 h 414642"/>
              <a:gd name="connsiteX35" fmla="*/ 141758 w 607639"/>
              <a:gd name="connsiteY35" fmla="*/ 111211 h 414642"/>
              <a:gd name="connsiteX36" fmla="*/ 182279 w 607639"/>
              <a:gd name="connsiteY36" fmla="*/ 111211 h 414642"/>
              <a:gd name="connsiteX37" fmla="*/ 192432 w 607639"/>
              <a:gd name="connsiteY37" fmla="*/ 121337 h 414642"/>
              <a:gd name="connsiteX38" fmla="*/ 182279 w 607639"/>
              <a:gd name="connsiteY38" fmla="*/ 131463 h 414642"/>
              <a:gd name="connsiteX39" fmla="*/ 141758 w 607639"/>
              <a:gd name="connsiteY39" fmla="*/ 131463 h 414642"/>
              <a:gd name="connsiteX40" fmla="*/ 131605 w 607639"/>
              <a:gd name="connsiteY40" fmla="*/ 121337 h 414642"/>
              <a:gd name="connsiteX41" fmla="*/ 141758 w 607639"/>
              <a:gd name="connsiteY41" fmla="*/ 111211 h 414642"/>
              <a:gd name="connsiteX42" fmla="*/ 425367 w 607639"/>
              <a:gd name="connsiteY42" fmla="*/ 101191 h 414642"/>
              <a:gd name="connsiteX43" fmla="*/ 496228 w 607639"/>
              <a:gd name="connsiteY43" fmla="*/ 101191 h 414642"/>
              <a:gd name="connsiteX44" fmla="*/ 506377 w 607639"/>
              <a:gd name="connsiteY44" fmla="*/ 111231 h 414642"/>
              <a:gd name="connsiteX45" fmla="*/ 506377 w 607639"/>
              <a:gd name="connsiteY45" fmla="*/ 182042 h 414642"/>
              <a:gd name="connsiteX46" fmla="*/ 496228 w 607639"/>
              <a:gd name="connsiteY46" fmla="*/ 192171 h 414642"/>
              <a:gd name="connsiteX47" fmla="*/ 486080 w 607639"/>
              <a:gd name="connsiteY47" fmla="*/ 182042 h 414642"/>
              <a:gd name="connsiteX48" fmla="*/ 486080 w 607639"/>
              <a:gd name="connsiteY48" fmla="*/ 135575 h 414642"/>
              <a:gd name="connsiteX49" fmla="*/ 402043 w 607639"/>
              <a:gd name="connsiteY49" fmla="*/ 219447 h 414642"/>
              <a:gd name="connsiteX50" fmla="*/ 394921 w 607639"/>
              <a:gd name="connsiteY50" fmla="*/ 222468 h 414642"/>
              <a:gd name="connsiteX51" fmla="*/ 387889 w 607639"/>
              <a:gd name="connsiteY51" fmla="*/ 219447 h 414642"/>
              <a:gd name="connsiteX52" fmla="*/ 344268 w 607639"/>
              <a:gd name="connsiteY52" fmla="*/ 176001 h 414642"/>
              <a:gd name="connsiteX53" fmla="*/ 270380 w 607639"/>
              <a:gd name="connsiteY53" fmla="*/ 249744 h 414642"/>
              <a:gd name="connsiteX54" fmla="*/ 263258 w 607639"/>
              <a:gd name="connsiteY54" fmla="*/ 252765 h 414642"/>
              <a:gd name="connsiteX55" fmla="*/ 256225 w 607639"/>
              <a:gd name="connsiteY55" fmla="*/ 249744 h 414642"/>
              <a:gd name="connsiteX56" fmla="*/ 256225 w 607639"/>
              <a:gd name="connsiteY56" fmla="*/ 235617 h 414642"/>
              <a:gd name="connsiteX57" fmla="*/ 337235 w 607639"/>
              <a:gd name="connsiteY57" fmla="*/ 154766 h 414642"/>
              <a:gd name="connsiteX58" fmla="*/ 338837 w 607639"/>
              <a:gd name="connsiteY58" fmla="*/ 153433 h 414642"/>
              <a:gd name="connsiteX59" fmla="*/ 340618 w 607639"/>
              <a:gd name="connsiteY59" fmla="*/ 152456 h 414642"/>
              <a:gd name="connsiteX60" fmla="*/ 341508 w 607639"/>
              <a:gd name="connsiteY60" fmla="*/ 152101 h 414642"/>
              <a:gd name="connsiteX61" fmla="*/ 343378 w 607639"/>
              <a:gd name="connsiteY61" fmla="*/ 151745 h 414642"/>
              <a:gd name="connsiteX62" fmla="*/ 344268 w 607639"/>
              <a:gd name="connsiteY62" fmla="*/ 151745 h 414642"/>
              <a:gd name="connsiteX63" fmla="*/ 346226 w 607639"/>
              <a:gd name="connsiteY63" fmla="*/ 151923 h 414642"/>
              <a:gd name="connsiteX64" fmla="*/ 351390 w 607639"/>
              <a:gd name="connsiteY64" fmla="*/ 154766 h 414642"/>
              <a:gd name="connsiteX65" fmla="*/ 394921 w 607639"/>
              <a:gd name="connsiteY65" fmla="*/ 198213 h 414642"/>
              <a:gd name="connsiteX66" fmla="*/ 471925 w 607639"/>
              <a:gd name="connsiteY66" fmla="*/ 121359 h 414642"/>
              <a:gd name="connsiteX67" fmla="*/ 425367 w 607639"/>
              <a:gd name="connsiteY67" fmla="*/ 121359 h 414642"/>
              <a:gd name="connsiteX68" fmla="*/ 415218 w 607639"/>
              <a:gd name="connsiteY68" fmla="*/ 111231 h 414642"/>
              <a:gd name="connsiteX69" fmla="*/ 425367 w 607639"/>
              <a:gd name="connsiteY69" fmla="*/ 101191 h 414642"/>
              <a:gd name="connsiteX70" fmla="*/ 101297 w 607639"/>
              <a:gd name="connsiteY70" fmla="*/ 91029 h 414642"/>
              <a:gd name="connsiteX71" fmla="*/ 111423 w 607639"/>
              <a:gd name="connsiteY71" fmla="*/ 101159 h 414642"/>
              <a:gd name="connsiteX72" fmla="*/ 111423 w 607639"/>
              <a:gd name="connsiteY72" fmla="*/ 262887 h 414642"/>
              <a:gd name="connsiteX73" fmla="*/ 101297 w 607639"/>
              <a:gd name="connsiteY73" fmla="*/ 273017 h 414642"/>
              <a:gd name="connsiteX74" fmla="*/ 91171 w 607639"/>
              <a:gd name="connsiteY74" fmla="*/ 262887 h 414642"/>
              <a:gd name="connsiteX75" fmla="*/ 91171 w 607639"/>
              <a:gd name="connsiteY75" fmla="*/ 101159 h 414642"/>
              <a:gd name="connsiteX76" fmla="*/ 101297 w 607639"/>
              <a:gd name="connsiteY76" fmla="*/ 91029 h 414642"/>
              <a:gd name="connsiteX77" fmla="*/ 70848 w 607639"/>
              <a:gd name="connsiteY77" fmla="*/ 20177 h 414642"/>
              <a:gd name="connsiteX78" fmla="*/ 60791 w 607639"/>
              <a:gd name="connsiteY78" fmla="*/ 30309 h 414642"/>
              <a:gd name="connsiteX79" fmla="*/ 60791 w 607639"/>
              <a:gd name="connsiteY79" fmla="*/ 343802 h 414642"/>
              <a:gd name="connsiteX80" fmla="*/ 222780 w 607639"/>
              <a:gd name="connsiteY80" fmla="*/ 343802 h 414642"/>
              <a:gd name="connsiteX81" fmla="*/ 232927 w 607639"/>
              <a:gd name="connsiteY81" fmla="*/ 353935 h 414642"/>
              <a:gd name="connsiteX82" fmla="*/ 232927 w 607639"/>
              <a:gd name="connsiteY82" fmla="*/ 364067 h 414642"/>
              <a:gd name="connsiteX83" fmla="*/ 374712 w 607639"/>
              <a:gd name="connsiteY83" fmla="*/ 364067 h 414642"/>
              <a:gd name="connsiteX84" fmla="*/ 374712 w 607639"/>
              <a:gd name="connsiteY84" fmla="*/ 353935 h 414642"/>
              <a:gd name="connsiteX85" fmla="*/ 384859 w 607639"/>
              <a:gd name="connsiteY85" fmla="*/ 343802 h 414642"/>
              <a:gd name="connsiteX86" fmla="*/ 546848 w 607639"/>
              <a:gd name="connsiteY86" fmla="*/ 343802 h 414642"/>
              <a:gd name="connsiteX87" fmla="*/ 546848 w 607639"/>
              <a:gd name="connsiteY87" fmla="*/ 30309 h 414642"/>
              <a:gd name="connsiteX88" fmla="*/ 536702 w 607639"/>
              <a:gd name="connsiteY88" fmla="*/ 20177 h 414642"/>
              <a:gd name="connsiteX89" fmla="*/ 70848 w 607639"/>
              <a:gd name="connsiteY89" fmla="*/ 0 h 414642"/>
              <a:gd name="connsiteX90" fmla="*/ 536702 w 607639"/>
              <a:gd name="connsiteY90" fmla="*/ 0 h 414642"/>
              <a:gd name="connsiteX91" fmla="*/ 567142 w 607639"/>
              <a:gd name="connsiteY91" fmla="*/ 30309 h 414642"/>
              <a:gd name="connsiteX92" fmla="*/ 567142 w 607639"/>
              <a:gd name="connsiteY92" fmla="*/ 343802 h 414642"/>
              <a:gd name="connsiteX93" fmla="*/ 597492 w 607639"/>
              <a:gd name="connsiteY93" fmla="*/ 343802 h 414642"/>
              <a:gd name="connsiteX94" fmla="*/ 607639 w 607639"/>
              <a:gd name="connsiteY94" fmla="*/ 353935 h 414642"/>
              <a:gd name="connsiteX95" fmla="*/ 607639 w 607639"/>
              <a:gd name="connsiteY95" fmla="*/ 384244 h 414642"/>
              <a:gd name="connsiteX96" fmla="*/ 577199 w 607639"/>
              <a:gd name="connsiteY96" fmla="*/ 414642 h 414642"/>
              <a:gd name="connsiteX97" fmla="*/ 30351 w 607639"/>
              <a:gd name="connsiteY97" fmla="*/ 414642 h 414642"/>
              <a:gd name="connsiteX98" fmla="*/ 0 w 607639"/>
              <a:gd name="connsiteY98" fmla="*/ 384244 h 414642"/>
              <a:gd name="connsiteX99" fmla="*/ 0 w 607639"/>
              <a:gd name="connsiteY99" fmla="*/ 353935 h 414642"/>
              <a:gd name="connsiteX100" fmla="*/ 10147 w 607639"/>
              <a:gd name="connsiteY100" fmla="*/ 343802 h 414642"/>
              <a:gd name="connsiteX101" fmla="*/ 40497 w 607639"/>
              <a:gd name="connsiteY101" fmla="*/ 343802 h 414642"/>
              <a:gd name="connsiteX102" fmla="*/ 40497 w 607639"/>
              <a:gd name="connsiteY102" fmla="*/ 30309 h 414642"/>
              <a:gd name="connsiteX103" fmla="*/ 70848 w 607639"/>
              <a:gd name="connsiteY103" fmla="*/ 0 h 4146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</a:cxnLst>
            <a:rect l="l" t="t" r="r" b="b"/>
            <a:pathLst>
              <a:path w="607639" h="414642">
                <a:moveTo>
                  <a:pt x="20293" y="364067"/>
                </a:moveTo>
                <a:lnTo>
                  <a:pt x="20293" y="384244"/>
                </a:lnTo>
                <a:cubicBezTo>
                  <a:pt x="20293" y="390377"/>
                  <a:pt x="24298" y="394377"/>
                  <a:pt x="30351" y="394377"/>
                </a:cubicBezTo>
                <a:lnTo>
                  <a:pt x="577199" y="394377"/>
                </a:lnTo>
                <a:cubicBezTo>
                  <a:pt x="583341" y="394377"/>
                  <a:pt x="587346" y="390377"/>
                  <a:pt x="587346" y="384244"/>
                </a:cubicBezTo>
                <a:lnTo>
                  <a:pt x="587346" y="364067"/>
                </a:lnTo>
                <a:lnTo>
                  <a:pt x="556995" y="364067"/>
                </a:lnTo>
                <a:lnTo>
                  <a:pt x="394916" y="364067"/>
                </a:lnTo>
                <a:lnTo>
                  <a:pt x="394916" y="374200"/>
                </a:lnTo>
                <a:cubicBezTo>
                  <a:pt x="394916" y="380244"/>
                  <a:pt x="390911" y="384244"/>
                  <a:pt x="384859" y="384244"/>
                </a:cubicBezTo>
                <a:lnTo>
                  <a:pt x="222780" y="384244"/>
                </a:lnTo>
                <a:cubicBezTo>
                  <a:pt x="216728" y="384244"/>
                  <a:pt x="212634" y="380244"/>
                  <a:pt x="212634" y="374200"/>
                </a:cubicBezTo>
                <a:lnTo>
                  <a:pt x="212634" y="364067"/>
                </a:lnTo>
                <a:lnTo>
                  <a:pt x="50644" y="364067"/>
                </a:lnTo>
                <a:close/>
                <a:moveTo>
                  <a:pt x="141754" y="232583"/>
                </a:moveTo>
                <a:lnTo>
                  <a:pt x="161961" y="232583"/>
                </a:lnTo>
                <a:cubicBezTo>
                  <a:pt x="168104" y="232583"/>
                  <a:pt x="172110" y="236584"/>
                  <a:pt x="172110" y="242719"/>
                </a:cubicBezTo>
                <a:cubicBezTo>
                  <a:pt x="172110" y="248764"/>
                  <a:pt x="168104" y="252765"/>
                  <a:pt x="161961" y="252765"/>
                </a:cubicBezTo>
                <a:lnTo>
                  <a:pt x="141754" y="252765"/>
                </a:lnTo>
                <a:cubicBezTo>
                  <a:pt x="135700" y="252765"/>
                  <a:pt x="131605" y="248764"/>
                  <a:pt x="131605" y="242719"/>
                </a:cubicBezTo>
                <a:cubicBezTo>
                  <a:pt x="131605" y="236584"/>
                  <a:pt x="135700" y="232583"/>
                  <a:pt x="141754" y="232583"/>
                </a:cubicBezTo>
                <a:close/>
                <a:moveTo>
                  <a:pt x="141758" y="192149"/>
                </a:moveTo>
                <a:lnTo>
                  <a:pt x="182279" y="192149"/>
                </a:lnTo>
                <a:cubicBezTo>
                  <a:pt x="188335" y="192149"/>
                  <a:pt x="192432" y="196150"/>
                  <a:pt x="192432" y="202196"/>
                </a:cubicBezTo>
                <a:cubicBezTo>
                  <a:pt x="192432" y="208330"/>
                  <a:pt x="188335" y="212331"/>
                  <a:pt x="182279" y="212331"/>
                </a:cubicBezTo>
                <a:lnTo>
                  <a:pt x="141758" y="212331"/>
                </a:lnTo>
                <a:cubicBezTo>
                  <a:pt x="135702" y="212331"/>
                  <a:pt x="131605" y="208330"/>
                  <a:pt x="131605" y="202196"/>
                </a:cubicBezTo>
                <a:cubicBezTo>
                  <a:pt x="131605" y="196150"/>
                  <a:pt x="135702" y="192149"/>
                  <a:pt x="141758" y="192149"/>
                </a:cubicBezTo>
                <a:close/>
                <a:moveTo>
                  <a:pt x="141754" y="151716"/>
                </a:moveTo>
                <a:lnTo>
                  <a:pt x="161961" y="151716"/>
                </a:lnTo>
                <a:cubicBezTo>
                  <a:pt x="168104" y="151716"/>
                  <a:pt x="172110" y="155717"/>
                  <a:pt x="172110" y="161763"/>
                </a:cubicBezTo>
                <a:cubicBezTo>
                  <a:pt x="172110" y="167897"/>
                  <a:pt x="168104" y="171898"/>
                  <a:pt x="161961" y="171898"/>
                </a:cubicBezTo>
                <a:lnTo>
                  <a:pt x="141754" y="171898"/>
                </a:lnTo>
                <a:cubicBezTo>
                  <a:pt x="135700" y="171898"/>
                  <a:pt x="131605" y="167897"/>
                  <a:pt x="131605" y="161763"/>
                </a:cubicBezTo>
                <a:cubicBezTo>
                  <a:pt x="131605" y="155717"/>
                  <a:pt x="135700" y="151716"/>
                  <a:pt x="141754" y="151716"/>
                </a:cubicBezTo>
                <a:close/>
                <a:moveTo>
                  <a:pt x="141758" y="111211"/>
                </a:moveTo>
                <a:lnTo>
                  <a:pt x="182279" y="111211"/>
                </a:lnTo>
                <a:cubicBezTo>
                  <a:pt x="188335" y="111211"/>
                  <a:pt x="192432" y="115297"/>
                  <a:pt x="192432" y="121337"/>
                </a:cubicBezTo>
                <a:cubicBezTo>
                  <a:pt x="192432" y="127377"/>
                  <a:pt x="188335" y="131463"/>
                  <a:pt x="182279" y="131463"/>
                </a:cubicBezTo>
                <a:lnTo>
                  <a:pt x="141758" y="131463"/>
                </a:lnTo>
                <a:cubicBezTo>
                  <a:pt x="135702" y="131463"/>
                  <a:pt x="131605" y="127377"/>
                  <a:pt x="131605" y="121337"/>
                </a:cubicBezTo>
                <a:cubicBezTo>
                  <a:pt x="131605" y="115297"/>
                  <a:pt x="135702" y="111211"/>
                  <a:pt x="141758" y="111211"/>
                </a:cubicBezTo>
                <a:close/>
                <a:moveTo>
                  <a:pt x="425367" y="101191"/>
                </a:moveTo>
                <a:lnTo>
                  <a:pt x="496228" y="101191"/>
                </a:lnTo>
                <a:cubicBezTo>
                  <a:pt x="502282" y="101191"/>
                  <a:pt x="506377" y="105189"/>
                  <a:pt x="506377" y="111231"/>
                </a:cubicBezTo>
                <a:lnTo>
                  <a:pt x="506377" y="182042"/>
                </a:lnTo>
                <a:cubicBezTo>
                  <a:pt x="506377" y="188084"/>
                  <a:pt x="502282" y="192171"/>
                  <a:pt x="496228" y="192171"/>
                </a:cubicBezTo>
                <a:cubicBezTo>
                  <a:pt x="490175" y="192171"/>
                  <a:pt x="486080" y="188084"/>
                  <a:pt x="486080" y="182042"/>
                </a:cubicBezTo>
                <a:lnTo>
                  <a:pt x="486080" y="135575"/>
                </a:lnTo>
                <a:lnTo>
                  <a:pt x="402043" y="219447"/>
                </a:lnTo>
                <a:cubicBezTo>
                  <a:pt x="399996" y="221491"/>
                  <a:pt x="397948" y="222468"/>
                  <a:pt x="394921" y="222468"/>
                </a:cubicBezTo>
                <a:cubicBezTo>
                  <a:pt x="391895" y="222468"/>
                  <a:pt x="389847" y="221491"/>
                  <a:pt x="387889" y="219447"/>
                </a:cubicBezTo>
                <a:lnTo>
                  <a:pt x="344268" y="176001"/>
                </a:lnTo>
                <a:lnTo>
                  <a:pt x="270380" y="249744"/>
                </a:lnTo>
                <a:cubicBezTo>
                  <a:pt x="268332" y="251788"/>
                  <a:pt x="266285" y="252765"/>
                  <a:pt x="263258" y="252765"/>
                </a:cubicBezTo>
                <a:cubicBezTo>
                  <a:pt x="260231" y="252765"/>
                  <a:pt x="258184" y="251788"/>
                  <a:pt x="256225" y="249744"/>
                </a:cubicBezTo>
                <a:cubicBezTo>
                  <a:pt x="252130" y="245746"/>
                  <a:pt x="252130" y="239616"/>
                  <a:pt x="256225" y="235617"/>
                </a:cubicBezTo>
                <a:lnTo>
                  <a:pt x="337235" y="154766"/>
                </a:lnTo>
                <a:cubicBezTo>
                  <a:pt x="337769" y="154233"/>
                  <a:pt x="338303" y="153789"/>
                  <a:pt x="338837" y="153433"/>
                </a:cubicBezTo>
                <a:cubicBezTo>
                  <a:pt x="339372" y="152989"/>
                  <a:pt x="339995" y="152723"/>
                  <a:pt x="340618" y="152456"/>
                </a:cubicBezTo>
                <a:cubicBezTo>
                  <a:pt x="340885" y="152367"/>
                  <a:pt x="341152" y="152190"/>
                  <a:pt x="341508" y="152101"/>
                </a:cubicBezTo>
                <a:cubicBezTo>
                  <a:pt x="342131" y="151923"/>
                  <a:pt x="342754" y="151834"/>
                  <a:pt x="343378" y="151745"/>
                </a:cubicBezTo>
                <a:cubicBezTo>
                  <a:pt x="343645" y="151745"/>
                  <a:pt x="344001" y="151745"/>
                  <a:pt x="344268" y="151745"/>
                </a:cubicBezTo>
                <a:cubicBezTo>
                  <a:pt x="344980" y="151745"/>
                  <a:pt x="345603" y="151745"/>
                  <a:pt x="346226" y="151923"/>
                </a:cubicBezTo>
                <a:cubicBezTo>
                  <a:pt x="348096" y="152278"/>
                  <a:pt x="349876" y="153256"/>
                  <a:pt x="351390" y="154766"/>
                </a:cubicBezTo>
                <a:lnTo>
                  <a:pt x="394921" y="198213"/>
                </a:lnTo>
                <a:lnTo>
                  <a:pt x="471925" y="121359"/>
                </a:lnTo>
                <a:lnTo>
                  <a:pt x="425367" y="121359"/>
                </a:lnTo>
                <a:cubicBezTo>
                  <a:pt x="419224" y="121359"/>
                  <a:pt x="415218" y="117361"/>
                  <a:pt x="415218" y="111231"/>
                </a:cubicBezTo>
                <a:cubicBezTo>
                  <a:pt x="415218" y="105189"/>
                  <a:pt x="419224" y="101191"/>
                  <a:pt x="425367" y="101191"/>
                </a:cubicBezTo>
                <a:close/>
                <a:moveTo>
                  <a:pt x="101297" y="91029"/>
                </a:moveTo>
                <a:cubicBezTo>
                  <a:pt x="107337" y="91029"/>
                  <a:pt x="111423" y="95028"/>
                  <a:pt x="111423" y="101159"/>
                </a:cubicBezTo>
                <a:lnTo>
                  <a:pt x="111423" y="262887"/>
                </a:lnTo>
                <a:cubicBezTo>
                  <a:pt x="111423" y="268929"/>
                  <a:pt x="107337" y="273017"/>
                  <a:pt x="101297" y="273017"/>
                </a:cubicBezTo>
                <a:cubicBezTo>
                  <a:pt x="95257" y="273017"/>
                  <a:pt x="91171" y="268929"/>
                  <a:pt x="91171" y="262887"/>
                </a:cubicBezTo>
                <a:lnTo>
                  <a:pt x="91171" y="101159"/>
                </a:lnTo>
                <a:cubicBezTo>
                  <a:pt x="91171" y="95028"/>
                  <a:pt x="95257" y="91029"/>
                  <a:pt x="101297" y="91029"/>
                </a:cubicBezTo>
                <a:close/>
                <a:moveTo>
                  <a:pt x="70848" y="20177"/>
                </a:moveTo>
                <a:cubicBezTo>
                  <a:pt x="64796" y="20177"/>
                  <a:pt x="60791" y="24265"/>
                  <a:pt x="60791" y="30309"/>
                </a:cubicBezTo>
                <a:lnTo>
                  <a:pt x="60791" y="343802"/>
                </a:lnTo>
                <a:lnTo>
                  <a:pt x="222780" y="343802"/>
                </a:lnTo>
                <a:cubicBezTo>
                  <a:pt x="228833" y="343802"/>
                  <a:pt x="232927" y="347890"/>
                  <a:pt x="232927" y="353935"/>
                </a:cubicBezTo>
                <a:lnTo>
                  <a:pt x="232927" y="364067"/>
                </a:lnTo>
                <a:lnTo>
                  <a:pt x="374712" y="364067"/>
                </a:lnTo>
                <a:lnTo>
                  <a:pt x="374712" y="353935"/>
                </a:lnTo>
                <a:cubicBezTo>
                  <a:pt x="374712" y="347890"/>
                  <a:pt x="378717" y="343802"/>
                  <a:pt x="384859" y="343802"/>
                </a:cubicBezTo>
                <a:lnTo>
                  <a:pt x="546848" y="343802"/>
                </a:lnTo>
                <a:lnTo>
                  <a:pt x="546848" y="30309"/>
                </a:lnTo>
                <a:cubicBezTo>
                  <a:pt x="546848" y="24265"/>
                  <a:pt x="542754" y="20177"/>
                  <a:pt x="536702" y="20177"/>
                </a:cubicBezTo>
                <a:close/>
                <a:moveTo>
                  <a:pt x="70848" y="0"/>
                </a:moveTo>
                <a:lnTo>
                  <a:pt x="536702" y="0"/>
                </a:lnTo>
                <a:cubicBezTo>
                  <a:pt x="553969" y="0"/>
                  <a:pt x="567142" y="13155"/>
                  <a:pt x="567142" y="30309"/>
                </a:cubicBezTo>
                <a:lnTo>
                  <a:pt x="567142" y="343802"/>
                </a:lnTo>
                <a:lnTo>
                  <a:pt x="597492" y="343802"/>
                </a:lnTo>
                <a:cubicBezTo>
                  <a:pt x="603545" y="343802"/>
                  <a:pt x="607639" y="347890"/>
                  <a:pt x="607639" y="353935"/>
                </a:cubicBezTo>
                <a:lnTo>
                  <a:pt x="607639" y="384244"/>
                </a:lnTo>
                <a:cubicBezTo>
                  <a:pt x="607639" y="401487"/>
                  <a:pt x="594466" y="414642"/>
                  <a:pt x="577199" y="414642"/>
                </a:cubicBezTo>
                <a:lnTo>
                  <a:pt x="30351" y="414642"/>
                </a:lnTo>
                <a:cubicBezTo>
                  <a:pt x="13173" y="414642"/>
                  <a:pt x="0" y="401487"/>
                  <a:pt x="0" y="384244"/>
                </a:cubicBezTo>
                <a:lnTo>
                  <a:pt x="0" y="353935"/>
                </a:lnTo>
                <a:cubicBezTo>
                  <a:pt x="0" y="347890"/>
                  <a:pt x="4094" y="343802"/>
                  <a:pt x="10147" y="343802"/>
                </a:cubicBezTo>
                <a:lnTo>
                  <a:pt x="40497" y="343802"/>
                </a:lnTo>
                <a:lnTo>
                  <a:pt x="40497" y="30309"/>
                </a:lnTo>
                <a:cubicBezTo>
                  <a:pt x="40497" y="13155"/>
                  <a:pt x="53670" y="0"/>
                  <a:pt x="70848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anchor="ctr"/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/>
          </a:p>
        </p:txBody>
      </p:sp>
      <p:sp>
        <p:nvSpPr>
          <p:cNvPr id="30" name="îṧľîḓè">
            <a:extLst>
              <a:ext uri="{FF2B5EF4-FFF2-40B4-BE49-F238E27FC236}">
                <a16:creationId xmlns:a16="http://schemas.microsoft.com/office/drawing/2014/main" id="{C06CF8EF-09D0-40E8-A13B-65E3A7AA7878}"/>
              </a:ext>
            </a:extLst>
          </p:cNvPr>
          <p:cNvSpPr/>
          <p:nvPr/>
        </p:nvSpPr>
        <p:spPr>
          <a:xfrm>
            <a:off x="5758558" y="1939430"/>
            <a:ext cx="674884" cy="674884"/>
          </a:xfrm>
          <a:prstGeom prst="ellipse">
            <a:avLst/>
          </a:prstGeom>
          <a:solidFill>
            <a:schemeClr val="bg1"/>
          </a:solidFill>
          <a:ln w="28575" cap="flat" cmpd="sng" algn="ctr">
            <a:solidFill>
              <a:schemeClr val="tx2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 lang="zh-CN" altLang="en-US" dirty="0"/>
          </a:p>
        </p:txBody>
      </p:sp>
      <p:sp>
        <p:nvSpPr>
          <p:cNvPr id="31" name="is1íḋê">
            <a:extLst>
              <a:ext uri="{FF2B5EF4-FFF2-40B4-BE49-F238E27FC236}">
                <a16:creationId xmlns:a16="http://schemas.microsoft.com/office/drawing/2014/main" id="{71E2E896-D56E-429F-8B5E-940AE7FAE50B}"/>
              </a:ext>
            </a:extLst>
          </p:cNvPr>
          <p:cNvSpPr>
            <a:spLocks noChangeAspect="1"/>
          </p:cNvSpPr>
          <p:nvPr/>
        </p:nvSpPr>
        <p:spPr bwMode="auto">
          <a:xfrm>
            <a:off x="5925425" y="2094926"/>
            <a:ext cx="341149" cy="363892"/>
          </a:xfrm>
          <a:custGeom>
            <a:avLst/>
            <a:gdLst>
              <a:gd name="T0" fmla="*/ 41 w 45"/>
              <a:gd name="T1" fmla="*/ 48 h 48"/>
              <a:gd name="T2" fmla="*/ 0 w 45"/>
              <a:gd name="T3" fmla="*/ 44 h 48"/>
              <a:gd name="T4" fmla="*/ 3 w 45"/>
              <a:gd name="T5" fmla="*/ 7 h 48"/>
              <a:gd name="T6" fmla="*/ 7 w 45"/>
              <a:gd name="T7" fmla="*/ 4 h 48"/>
              <a:gd name="T8" fmla="*/ 13 w 45"/>
              <a:gd name="T9" fmla="*/ 0 h 48"/>
              <a:gd name="T10" fmla="*/ 17 w 45"/>
              <a:gd name="T11" fmla="*/ 7 h 48"/>
              <a:gd name="T12" fmla="*/ 27 w 45"/>
              <a:gd name="T13" fmla="*/ 4 h 48"/>
              <a:gd name="T14" fmla="*/ 33 w 45"/>
              <a:gd name="T15" fmla="*/ 0 h 48"/>
              <a:gd name="T16" fmla="*/ 38 w 45"/>
              <a:gd name="T17" fmla="*/ 7 h 48"/>
              <a:gd name="T18" fmla="*/ 45 w 45"/>
              <a:gd name="T19" fmla="*/ 10 h 48"/>
              <a:gd name="T20" fmla="*/ 11 w 45"/>
              <a:gd name="T21" fmla="*/ 25 h 48"/>
              <a:gd name="T22" fmla="*/ 3 w 45"/>
              <a:gd name="T23" fmla="*/ 17 h 48"/>
              <a:gd name="T24" fmla="*/ 11 w 45"/>
              <a:gd name="T25" fmla="*/ 25 h 48"/>
              <a:gd name="T26" fmla="*/ 11 w 45"/>
              <a:gd name="T27" fmla="*/ 26 h 48"/>
              <a:gd name="T28" fmla="*/ 3 w 45"/>
              <a:gd name="T29" fmla="*/ 35 h 48"/>
              <a:gd name="T30" fmla="*/ 11 w 45"/>
              <a:gd name="T31" fmla="*/ 44 h 48"/>
              <a:gd name="T32" fmla="*/ 3 w 45"/>
              <a:gd name="T33" fmla="*/ 37 h 48"/>
              <a:gd name="T34" fmla="*/ 11 w 45"/>
              <a:gd name="T35" fmla="*/ 44 h 48"/>
              <a:gd name="T36" fmla="*/ 13 w 45"/>
              <a:gd name="T37" fmla="*/ 3 h 48"/>
              <a:gd name="T38" fmla="*/ 10 w 45"/>
              <a:gd name="T39" fmla="*/ 4 h 48"/>
              <a:gd name="T40" fmla="*/ 11 w 45"/>
              <a:gd name="T41" fmla="*/ 13 h 48"/>
              <a:gd name="T42" fmla="*/ 14 w 45"/>
              <a:gd name="T43" fmla="*/ 12 h 48"/>
              <a:gd name="T44" fmla="*/ 21 w 45"/>
              <a:gd name="T45" fmla="*/ 25 h 48"/>
              <a:gd name="T46" fmla="*/ 13 w 45"/>
              <a:gd name="T47" fmla="*/ 17 h 48"/>
              <a:gd name="T48" fmla="*/ 21 w 45"/>
              <a:gd name="T49" fmla="*/ 25 h 48"/>
              <a:gd name="T50" fmla="*/ 21 w 45"/>
              <a:gd name="T51" fmla="*/ 26 h 48"/>
              <a:gd name="T52" fmla="*/ 13 w 45"/>
              <a:gd name="T53" fmla="*/ 35 h 48"/>
              <a:gd name="T54" fmla="*/ 21 w 45"/>
              <a:gd name="T55" fmla="*/ 44 h 48"/>
              <a:gd name="T56" fmla="*/ 13 w 45"/>
              <a:gd name="T57" fmla="*/ 37 h 48"/>
              <a:gd name="T58" fmla="*/ 21 w 45"/>
              <a:gd name="T59" fmla="*/ 44 h 48"/>
              <a:gd name="T60" fmla="*/ 32 w 45"/>
              <a:gd name="T61" fmla="*/ 17 h 48"/>
              <a:gd name="T62" fmla="*/ 23 w 45"/>
              <a:gd name="T63" fmla="*/ 25 h 48"/>
              <a:gd name="T64" fmla="*/ 32 w 45"/>
              <a:gd name="T65" fmla="*/ 35 h 48"/>
              <a:gd name="T66" fmla="*/ 23 w 45"/>
              <a:gd name="T67" fmla="*/ 26 h 48"/>
              <a:gd name="T68" fmla="*/ 32 w 45"/>
              <a:gd name="T69" fmla="*/ 35 h 48"/>
              <a:gd name="T70" fmla="*/ 32 w 45"/>
              <a:gd name="T71" fmla="*/ 37 h 48"/>
              <a:gd name="T72" fmla="*/ 23 w 45"/>
              <a:gd name="T73" fmla="*/ 44 h 48"/>
              <a:gd name="T74" fmla="*/ 34 w 45"/>
              <a:gd name="T75" fmla="*/ 4 h 48"/>
              <a:gd name="T76" fmla="*/ 32 w 45"/>
              <a:gd name="T77" fmla="*/ 3 h 48"/>
              <a:gd name="T78" fmla="*/ 31 w 45"/>
              <a:gd name="T79" fmla="*/ 12 h 48"/>
              <a:gd name="T80" fmla="*/ 33 w 45"/>
              <a:gd name="T81" fmla="*/ 13 h 48"/>
              <a:gd name="T82" fmla="*/ 34 w 45"/>
              <a:gd name="T83" fmla="*/ 4 h 48"/>
              <a:gd name="T84" fmla="*/ 41 w 45"/>
              <a:gd name="T85" fmla="*/ 17 h 48"/>
              <a:gd name="T86" fmla="*/ 33 w 45"/>
              <a:gd name="T87" fmla="*/ 25 h 48"/>
              <a:gd name="T88" fmla="*/ 41 w 45"/>
              <a:gd name="T89" fmla="*/ 35 h 48"/>
              <a:gd name="T90" fmla="*/ 33 w 45"/>
              <a:gd name="T91" fmla="*/ 26 h 48"/>
              <a:gd name="T92" fmla="*/ 41 w 45"/>
              <a:gd name="T93" fmla="*/ 35 h 48"/>
              <a:gd name="T94" fmla="*/ 41 w 45"/>
              <a:gd name="T95" fmla="*/ 37 h 48"/>
              <a:gd name="T96" fmla="*/ 33 w 45"/>
              <a:gd name="T97" fmla="*/ 44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45" h="48">
                <a:moveTo>
                  <a:pt x="45" y="44"/>
                </a:moveTo>
                <a:cubicBezTo>
                  <a:pt x="45" y="46"/>
                  <a:pt x="43" y="48"/>
                  <a:pt x="41" y="48"/>
                </a:cubicBezTo>
                <a:cubicBezTo>
                  <a:pt x="3" y="48"/>
                  <a:pt x="3" y="48"/>
                  <a:pt x="3" y="48"/>
                </a:cubicBezTo>
                <a:cubicBezTo>
                  <a:pt x="1" y="48"/>
                  <a:pt x="0" y="46"/>
                  <a:pt x="0" y="44"/>
                </a:cubicBezTo>
                <a:cubicBezTo>
                  <a:pt x="0" y="10"/>
                  <a:pt x="0" y="10"/>
                  <a:pt x="0" y="10"/>
                </a:cubicBezTo>
                <a:cubicBezTo>
                  <a:pt x="0" y="8"/>
                  <a:pt x="1" y="7"/>
                  <a:pt x="3" y="7"/>
                </a:cubicBezTo>
                <a:cubicBezTo>
                  <a:pt x="7" y="7"/>
                  <a:pt x="7" y="7"/>
                  <a:pt x="7" y="7"/>
                </a:cubicBezTo>
                <a:cubicBezTo>
                  <a:pt x="7" y="4"/>
                  <a:pt x="7" y="4"/>
                  <a:pt x="7" y="4"/>
                </a:cubicBezTo>
                <a:cubicBezTo>
                  <a:pt x="7" y="2"/>
                  <a:pt x="9" y="0"/>
                  <a:pt x="11" y="0"/>
                </a:cubicBezTo>
                <a:cubicBezTo>
                  <a:pt x="13" y="0"/>
                  <a:pt x="13" y="0"/>
                  <a:pt x="13" y="0"/>
                </a:cubicBezTo>
                <a:cubicBezTo>
                  <a:pt x="15" y="0"/>
                  <a:pt x="17" y="2"/>
                  <a:pt x="17" y="4"/>
                </a:cubicBezTo>
                <a:cubicBezTo>
                  <a:pt x="17" y="7"/>
                  <a:pt x="17" y="7"/>
                  <a:pt x="17" y="7"/>
                </a:cubicBezTo>
                <a:cubicBezTo>
                  <a:pt x="27" y="7"/>
                  <a:pt x="27" y="7"/>
                  <a:pt x="27" y="7"/>
                </a:cubicBezTo>
                <a:cubicBezTo>
                  <a:pt x="27" y="4"/>
                  <a:pt x="27" y="4"/>
                  <a:pt x="27" y="4"/>
                </a:cubicBezTo>
                <a:cubicBezTo>
                  <a:pt x="27" y="2"/>
                  <a:pt x="29" y="0"/>
                  <a:pt x="32" y="0"/>
                </a:cubicBezTo>
                <a:cubicBezTo>
                  <a:pt x="33" y="0"/>
                  <a:pt x="33" y="0"/>
                  <a:pt x="33" y="0"/>
                </a:cubicBezTo>
                <a:cubicBezTo>
                  <a:pt x="36" y="0"/>
                  <a:pt x="38" y="2"/>
                  <a:pt x="38" y="4"/>
                </a:cubicBezTo>
                <a:cubicBezTo>
                  <a:pt x="38" y="7"/>
                  <a:pt x="38" y="7"/>
                  <a:pt x="38" y="7"/>
                </a:cubicBezTo>
                <a:cubicBezTo>
                  <a:pt x="41" y="7"/>
                  <a:pt x="41" y="7"/>
                  <a:pt x="41" y="7"/>
                </a:cubicBezTo>
                <a:cubicBezTo>
                  <a:pt x="43" y="7"/>
                  <a:pt x="45" y="8"/>
                  <a:pt x="45" y="10"/>
                </a:cubicBezTo>
                <a:lnTo>
                  <a:pt x="45" y="44"/>
                </a:lnTo>
                <a:close/>
                <a:moveTo>
                  <a:pt x="11" y="25"/>
                </a:moveTo>
                <a:cubicBezTo>
                  <a:pt x="11" y="17"/>
                  <a:pt x="11" y="17"/>
                  <a:pt x="11" y="17"/>
                </a:cubicBezTo>
                <a:cubicBezTo>
                  <a:pt x="3" y="17"/>
                  <a:pt x="3" y="17"/>
                  <a:pt x="3" y="17"/>
                </a:cubicBezTo>
                <a:cubicBezTo>
                  <a:pt x="3" y="25"/>
                  <a:pt x="3" y="25"/>
                  <a:pt x="3" y="25"/>
                </a:cubicBezTo>
                <a:lnTo>
                  <a:pt x="11" y="25"/>
                </a:lnTo>
                <a:close/>
                <a:moveTo>
                  <a:pt x="11" y="35"/>
                </a:moveTo>
                <a:cubicBezTo>
                  <a:pt x="11" y="26"/>
                  <a:pt x="11" y="26"/>
                  <a:pt x="11" y="26"/>
                </a:cubicBezTo>
                <a:cubicBezTo>
                  <a:pt x="3" y="26"/>
                  <a:pt x="3" y="26"/>
                  <a:pt x="3" y="26"/>
                </a:cubicBezTo>
                <a:cubicBezTo>
                  <a:pt x="3" y="35"/>
                  <a:pt x="3" y="35"/>
                  <a:pt x="3" y="35"/>
                </a:cubicBezTo>
                <a:lnTo>
                  <a:pt x="11" y="35"/>
                </a:lnTo>
                <a:close/>
                <a:moveTo>
                  <a:pt x="11" y="44"/>
                </a:moveTo>
                <a:cubicBezTo>
                  <a:pt x="11" y="37"/>
                  <a:pt x="11" y="37"/>
                  <a:pt x="11" y="37"/>
                </a:cubicBezTo>
                <a:cubicBezTo>
                  <a:pt x="3" y="37"/>
                  <a:pt x="3" y="37"/>
                  <a:pt x="3" y="37"/>
                </a:cubicBezTo>
                <a:cubicBezTo>
                  <a:pt x="3" y="44"/>
                  <a:pt x="3" y="44"/>
                  <a:pt x="3" y="44"/>
                </a:cubicBezTo>
                <a:lnTo>
                  <a:pt x="11" y="44"/>
                </a:lnTo>
                <a:close/>
                <a:moveTo>
                  <a:pt x="14" y="4"/>
                </a:moveTo>
                <a:cubicBezTo>
                  <a:pt x="14" y="4"/>
                  <a:pt x="13" y="3"/>
                  <a:pt x="13" y="3"/>
                </a:cubicBezTo>
                <a:cubicBezTo>
                  <a:pt x="11" y="3"/>
                  <a:pt x="11" y="3"/>
                  <a:pt x="11" y="3"/>
                </a:cubicBezTo>
                <a:cubicBezTo>
                  <a:pt x="11" y="3"/>
                  <a:pt x="10" y="4"/>
                  <a:pt x="10" y="4"/>
                </a:cubicBezTo>
                <a:cubicBezTo>
                  <a:pt x="10" y="12"/>
                  <a:pt x="10" y="12"/>
                  <a:pt x="10" y="12"/>
                </a:cubicBezTo>
                <a:cubicBezTo>
                  <a:pt x="10" y="12"/>
                  <a:pt x="11" y="13"/>
                  <a:pt x="11" y="13"/>
                </a:cubicBezTo>
                <a:cubicBezTo>
                  <a:pt x="13" y="13"/>
                  <a:pt x="13" y="13"/>
                  <a:pt x="13" y="13"/>
                </a:cubicBezTo>
                <a:cubicBezTo>
                  <a:pt x="13" y="13"/>
                  <a:pt x="14" y="12"/>
                  <a:pt x="14" y="12"/>
                </a:cubicBezTo>
                <a:lnTo>
                  <a:pt x="14" y="4"/>
                </a:lnTo>
                <a:close/>
                <a:moveTo>
                  <a:pt x="21" y="25"/>
                </a:moveTo>
                <a:cubicBezTo>
                  <a:pt x="21" y="17"/>
                  <a:pt x="21" y="17"/>
                  <a:pt x="21" y="17"/>
                </a:cubicBezTo>
                <a:cubicBezTo>
                  <a:pt x="13" y="17"/>
                  <a:pt x="13" y="17"/>
                  <a:pt x="13" y="17"/>
                </a:cubicBezTo>
                <a:cubicBezTo>
                  <a:pt x="13" y="25"/>
                  <a:pt x="13" y="25"/>
                  <a:pt x="13" y="25"/>
                </a:cubicBezTo>
                <a:lnTo>
                  <a:pt x="21" y="25"/>
                </a:lnTo>
                <a:close/>
                <a:moveTo>
                  <a:pt x="21" y="35"/>
                </a:moveTo>
                <a:cubicBezTo>
                  <a:pt x="21" y="26"/>
                  <a:pt x="21" y="26"/>
                  <a:pt x="21" y="26"/>
                </a:cubicBezTo>
                <a:cubicBezTo>
                  <a:pt x="13" y="26"/>
                  <a:pt x="13" y="26"/>
                  <a:pt x="13" y="26"/>
                </a:cubicBezTo>
                <a:cubicBezTo>
                  <a:pt x="13" y="35"/>
                  <a:pt x="13" y="35"/>
                  <a:pt x="13" y="35"/>
                </a:cubicBezTo>
                <a:lnTo>
                  <a:pt x="21" y="35"/>
                </a:lnTo>
                <a:close/>
                <a:moveTo>
                  <a:pt x="21" y="44"/>
                </a:moveTo>
                <a:cubicBezTo>
                  <a:pt x="21" y="37"/>
                  <a:pt x="21" y="37"/>
                  <a:pt x="21" y="37"/>
                </a:cubicBezTo>
                <a:cubicBezTo>
                  <a:pt x="13" y="37"/>
                  <a:pt x="13" y="37"/>
                  <a:pt x="13" y="37"/>
                </a:cubicBezTo>
                <a:cubicBezTo>
                  <a:pt x="13" y="44"/>
                  <a:pt x="13" y="44"/>
                  <a:pt x="13" y="44"/>
                </a:cubicBezTo>
                <a:lnTo>
                  <a:pt x="21" y="44"/>
                </a:lnTo>
                <a:close/>
                <a:moveTo>
                  <a:pt x="32" y="25"/>
                </a:moveTo>
                <a:cubicBezTo>
                  <a:pt x="32" y="17"/>
                  <a:pt x="32" y="17"/>
                  <a:pt x="32" y="17"/>
                </a:cubicBezTo>
                <a:cubicBezTo>
                  <a:pt x="23" y="17"/>
                  <a:pt x="23" y="17"/>
                  <a:pt x="23" y="17"/>
                </a:cubicBezTo>
                <a:cubicBezTo>
                  <a:pt x="23" y="25"/>
                  <a:pt x="23" y="25"/>
                  <a:pt x="23" y="25"/>
                </a:cubicBezTo>
                <a:lnTo>
                  <a:pt x="32" y="25"/>
                </a:lnTo>
                <a:close/>
                <a:moveTo>
                  <a:pt x="32" y="35"/>
                </a:moveTo>
                <a:cubicBezTo>
                  <a:pt x="32" y="26"/>
                  <a:pt x="32" y="26"/>
                  <a:pt x="32" y="26"/>
                </a:cubicBezTo>
                <a:cubicBezTo>
                  <a:pt x="23" y="26"/>
                  <a:pt x="23" y="26"/>
                  <a:pt x="23" y="26"/>
                </a:cubicBezTo>
                <a:cubicBezTo>
                  <a:pt x="23" y="35"/>
                  <a:pt x="23" y="35"/>
                  <a:pt x="23" y="35"/>
                </a:cubicBezTo>
                <a:lnTo>
                  <a:pt x="32" y="35"/>
                </a:lnTo>
                <a:close/>
                <a:moveTo>
                  <a:pt x="32" y="44"/>
                </a:moveTo>
                <a:cubicBezTo>
                  <a:pt x="32" y="37"/>
                  <a:pt x="32" y="37"/>
                  <a:pt x="32" y="37"/>
                </a:cubicBezTo>
                <a:cubicBezTo>
                  <a:pt x="23" y="37"/>
                  <a:pt x="23" y="37"/>
                  <a:pt x="23" y="37"/>
                </a:cubicBezTo>
                <a:cubicBezTo>
                  <a:pt x="23" y="44"/>
                  <a:pt x="23" y="44"/>
                  <a:pt x="23" y="44"/>
                </a:cubicBezTo>
                <a:lnTo>
                  <a:pt x="32" y="44"/>
                </a:lnTo>
                <a:close/>
                <a:moveTo>
                  <a:pt x="34" y="4"/>
                </a:moveTo>
                <a:cubicBezTo>
                  <a:pt x="34" y="4"/>
                  <a:pt x="34" y="3"/>
                  <a:pt x="33" y="3"/>
                </a:cubicBezTo>
                <a:cubicBezTo>
                  <a:pt x="32" y="3"/>
                  <a:pt x="32" y="3"/>
                  <a:pt x="32" y="3"/>
                </a:cubicBezTo>
                <a:cubicBezTo>
                  <a:pt x="31" y="3"/>
                  <a:pt x="31" y="4"/>
                  <a:pt x="31" y="4"/>
                </a:cubicBezTo>
                <a:cubicBezTo>
                  <a:pt x="31" y="12"/>
                  <a:pt x="31" y="12"/>
                  <a:pt x="31" y="12"/>
                </a:cubicBezTo>
                <a:cubicBezTo>
                  <a:pt x="31" y="12"/>
                  <a:pt x="31" y="13"/>
                  <a:pt x="32" y="13"/>
                </a:cubicBezTo>
                <a:cubicBezTo>
                  <a:pt x="33" y="13"/>
                  <a:pt x="33" y="13"/>
                  <a:pt x="33" y="13"/>
                </a:cubicBezTo>
                <a:cubicBezTo>
                  <a:pt x="34" y="13"/>
                  <a:pt x="34" y="12"/>
                  <a:pt x="34" y="12"/>
                </a:cubicBezTo>
                <a:lnTo>
                  <a:pt x="34" y="4"/>
                </a:lnTo>
                <a:close/>
                <a:moveTo>
                  <a:pt x="41" y="25"/>
                </a:moveTo>
                <a:cubicBezTo>
                  <a:pt x="41" y="17"/>
                  <a:pt x="41" y="17"/>
                  <a:pt x="41" y="17"/>
                </a:cubicBezTo>
                <a:cubicBezTo>
                  <a:pt x="33" y="17"/>
                  <a:pt x="33" y="17"/>
                  <a:pt x="33" y="17"/>
                </a:cubicBezTo>
                <a:cubicBezTo>
                  <a:pt x="33" y="25"/>
                  <a:pt x="33" y="25"/>
                  <a:pt x="33" y="25"/>
                </a:cubicBezTo>
                <a:lnTo>
                  <a:pt x="41" y="25"/>
                </a:lnTo>
                <a:close/>
                <a:moveTo>
                  <a:pt x="41" y="35"/>
                </a:moveTo>
                <a:cubicBezTo>
                  <a:pt x="41" y="26"/>
                  <a:pt x="41" y="26"/>
                  <a:pt x="41" y="26"/>
                </a:cubicBezTo>
                <a:cubicBezTo>
                  <a:pt x="33" y="26"/>
                  <a:pt x="33" y="26"/>
                  <a:pt x="33" y="26"/>
                </a:cubicBezTo>
                <a:cubicBezTo>
                  <a:pt x="33" y="35"/>
                  <a:pt x="33" y="35"/>
                  <a:pt x="33" y="35"/>
                </a:cubicBezTo>
                <a:lnTo>
                  <a:pt x="41" y="35"/>
                </a:lnTo>
                <a:close/>
                <a:moveTo>
                  <a:pt x="41" y="44"/>
                </a:moveTo>
                <a:cubicBezTo>
                  <a:pt x="41" y="37"/>
                  <a:pt x="41" y="37"/>
                  <a:pt x="41" y="37"/>
                </a:cubicBezTo>
                <a:cubicBezTo>
                  <a:pt x="33" y="37"/>
                  <a:pt x="33" y="37"/>
                  <a:pt x="33" y="37"/>
                </a:cubicBezTo>
                <a:cubicBezTo>
                  <a:pt x="33" y="44"/>
                  <a:pt x="33" y="44"/>
                  <a:pt x="33" y="44"/>
                </a:cubicBezTo>
                <a:lnTo>
                  <a:pt x="41" y="44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82832" tIns="91416" rIns="182832" bIns="91416" numCol="1" anchor="t" anchorCtr="0" compatLnSpc="1">
            <a:prstTxWarp prst="textNoShape">
              <a:avLst/>
            </a:prstTxWarp>
          </a:bodyPr>
          <a:lstStyle/>
          <a:p>
            <a:endParaRPr lang="en-US" sz="7198"/>
          </a:p>
        </p:txBody>
      </p:sp>
      <p:sp>
        <p:nvSpPr>
          <p:cNvPr id="28" name="íṩļîdé">
            <a:extLst>
              <a:ext uri="{FF2B5EF4-FFF2-40B4-BE49-F238E27FC236}">
                <a16:creationId xmlns:a16="http://schemas.microsoft.com/office/drawing/2014/main" id="{C473AE3A-BD1D-4E17-9C7D-4FCBAB78A559}"/>
              </a:ext>
            </a:extLst>
          </p:cNvPr>
          <p:cNvSpPr/>
          <p:nvPr/>
        </p:nvSpPr>
        <p:spPr>
          <a:xfrm>
            <a:off x="5788590" y="4588314"/>
            <a:ext cx="674884" cy="674884"/>
          </a:xfrm>
          <a:prstGeom prst="ellipse">
            <a:avLst/>
          </a:prstGeom>
          <a:solidFill>
            <a:schemeClr val="bg1"/>
          </a:solidFill>
          <a:ln w="28575" cap="flat" cmpd="sng" algn="ctr">
            <a:solidFill>
              <a:schemeClr val="tx2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 lang="zh-CN" altLang="en-US"/>
          </a:p>
        </p:txBody>
      </p:sp>
      <p:sp>
        <p:nvSpPr>
          <p:cNvPr id="29" name="íšľïḓê">
            <a:extLst>
              <a:ext uri="{FF2B5EF4-FFF2-40B4-BE49-F238E27FC236}">
                <a16:creationId xmlns:a16="http://schemas.microsoft.com/office/drawing/2014/main" id="{D45D52A5-18FB-402E-B73F-855C7CBD0F88}"/>
              </a:ext>
            </a:extLst>
          </p:cNvPr>
          <p:cNvSpPr>
            <a:spLocks noChangeAspect="1"/>
          </p:cNvSpPr>
          <p:nvPr/>
        </p:nvSpPr>
        <p:spPr bwMode="auto">
          <a:xfrm>
            <a:off x="5944086" y="4744065"/>
            <a:ext cx="363892" cy="363384"/>
          </a:xfrm>
          <a:custGeom>
            <a:avLst/>
            <a:gdLst>
              <a:gd name="connsiteX0" fmla="*/ 126452 w 606933"/>
              <a:gd name="connsiteY0" fmla="*/ 239923 h 606087"/>
              <a:gd name="connsiteX1" fmla="*/ 191364 w 606933"/>
              <a:gd name="connsiteY1" fmla="*/ 239923 h 606087"/>
              <a:gd name="connsiteX2" fmla="*/ 289791 w 606933"/>
              <a:gd name="connsiteY2" fmla="*/ 336874 h 606087"/>
              <a:gd name="connsiteX3" fmla="*/ 303467 w 606933"/>
              <a:gd name="connsiteY3" fmla="*/ 345627 h 606087"/>
              <a:gd name="connsiteX4" fmla="*/ 317142 w 606933"/>
              <a:gd name="connsiteY4" fmla="*/ 336874 h 606087"/>
              <a:gd name="connsiteX5" fmla="*/ 415569 w 606933"/>
              <a:gd name="connsiteY5" fmla="*/ 239923 h 606087"/>
              <a:gd name="connsiteX6" fmla="*/ 480481 w 606933"/>
              <a:gd name="connsiteY6" fmla="*/ 239923 h 606087"/>
              <a:gd name="connsiteX7" fmla="*/ 480481 w 606933"/>
              <a:gd name="connsiteY7" fmla="*/ 404009 h 606087"/>
              <a:gd name="connsiteX8" fmla="*/ 316083 w 606933"/>
              <a:gd name="connsiteY8" fmla="*/ 404009 h 606087"/>
              <a:gd name="connsiteX9" fmla="*/ 316083 w 606933"/>
              <a:gd name="connsiteY9" fmla="*/ 441905 h 606087"/>
              <a:gd name="connsiteX10" fmla="*/ 568988 w 606933"/>
              <a:gd name="connsiteY10" fmla="*/ 441905 h 606087"/>
              <a:gd name="connsiteX11" fmla="*/ 568988 w 606933"/>
              <a:gd name="connsiteY11" fmla="*/ 505096 h 606087"/>
              <a:gd name="connsiteX12" fmla="*/ 606933 w 606933"/>
              <a:gd name="connsiteY12" fmla="*/ 505096 h 606087"/>
              <a:gd name="connsiteX13" fmla="*/ 606933 w 606933"/>
              <a:gd name="connsiteY13" fmla="*/ 606087 h 606087"/>
              <a:gd name="connsiteX14" fmla="*/ 505714 w 606933"/>
              <a:gd name="connsiteY14" fmla="*/ 606087 h 606087"/>
              <a:gd name="connsiteX15" fmla="*/ 505714 w 606933"/>
              <a:gd name="connsiteY15" fmla="*/ 505096 h 606087"/>
              <a:gd name="connsiteX16" fmla="*/ 543659 w 606933"/>
              <a:gd name="connsiteY16" fmla="*/ 505096 h 606087"/>
              <a:gd name="connsiteX17" fmla="*/ 543659 w 606933"/>
              <a:gd name="connsiteY17" fmla="*/ 467105 h 606087"/>
              <a:gd name="connsiteX18" fmla="*/ 316083 w 606933"/>
              <a:gd name="connsiteY18" fmla="*/ 467105 h 606087"/>
              <a:gd name="connsiteX19" fmla="*/ 316083 w 606933"/>
              <a:gd name="connsiteY19" fmla="*/ 505096 h 606087"/>
              <a:gd name="connsiteX20" fmla="*/ 354028 w 606933"/>
              <a:gd name="connsiteY20" fmla="*/ 505096 h 606087"/>
              <a:gd name="connsiteX21" fmla="*/ 354028 w 606933"/>
              <a:gd name="connsiteY21" fmla="*/ 606087 h 606087"/>
              <a:gd name="connsiteX22" fmla="*/ 252905 w 606933"/>
              <a:gd name="connsiteY22" fmla="*/ 606087 h 606087"/>
              <a:gd name="connsiteX23" fmla="*/ 252905 w 606933"/>
              <a:gd name="connsiteY23" fmla="*/ 505096 h 606087"/>
              <a:gd name="connsiteX24" fmla="*/ 290850 w 606933"/>
              <a:gd name="connsiteY24" fmla="*/ 505096 h 606087"/>
              <a:gd name="connsiteX25" fmla="*/ 290850 w 606933"/>
              <a:gd name="connsiteY25" fmla="*/ 467105 h 606087"/>
              <a:gd name="connsiteX26" fmla="*/ 63274 w 606933"/>
              <a:gd name="connsiteY26" fmla="*/ 467105 h 606087"/>
              <a:gd name="connsiteX27" fmla="*/ 63274 w 606933"/>
              <a:gd name="connsiteY27" fmla="*/ 505096 h 606087"/>
              <a:gd name="connsiteX28" fmla="*/ 101123 w 606933"/>
              <a:gd name="connsiteY28" fmla="*/ 505096 h 606087"/>
              <a:gd name="connsiteX29" fmla="*/ 101123 w 606933"/>
              <a:gd name="connsiteY29" fmla="*/ 606087 h 606087"/>
              <a:gd name="connsiteX30" fmla="*/ 0 w 606933"/>
              <a:gd name="connsiteY30" fmla="*/ 606087 h 606087"/>
              <a:gd name="connsiteX31" fmla="*/ 0 w 606933"/>
              <a:gd name="connsiteY31" fmla="*/ 505096 h 606087"/>
              <a:gd name="connsiteX32" fmla="*/ 37945 w 606933"/>
              <a:gd name="connsiteY32" fmla="*/ 505096 h 606087"/>
              <a:gd name="connsiteX33" fmla="*/ 37945 w 606933"/>
              <a:gd name="connsiteY33" fmla="*/ 441905 h 606087"/>
              <a:gd name="connsiteX34" fmla="*/ 290850 w 606933"/>
              <a:gd name="connsiteY34" fmla="*/ 441905 h 606087"/>
              <a:gd name="connsiteX35" fmla="*/ 290850 w 606933"/>
              <a:gd name="connsiteY35" fmla="*/ 404009 h 606087"/>
              <a:gd name="connsiteX36" fmla="*/ 126452 w 606933"/>
              <a:gd name="connsiteY36" fmla="*/ 404009 h 606087"/>
              <a:gd name="connsiteX37" fmla="*/ 303502 w 606933"/>
              <a:gd name="connsiteY37" fmla="*/ 71264 h 606087"/>
              <a:gd name="connsiteX38" fmla="*/ 250822 w 606933"/>
              <a:gd name="connsiteY38" fmla="*/ 122140 h 606087"/>
              <a:gd name="connsiteX39" fmla="*/ 303502 w 606933"/>
              <a:gd name="connsiteY39" fmla="*/ 173111 h 606087"/>
              <a:gd name="connsiteX40" fmla="*/ 356183 w 606933"/>
              <a:gd name="connsiteY40" fmla="*/ 122140 h 606087"/>
              <a:gd name="connsiteX41" fmla="*/ 303502 w 606933"/>
              <a:gd name="connsiteY41" fmla="*/ 71264 h 606087"/>
              <a:gd name="connsiteX42" fmla="*/ 303502 w 606933"/>
              <a:gd name="connsiteY42" fmla="*/ 0 h 606087"/>
              <a:gd name="connsiteX43" fmla="*/ 429955 w 606933"/>
              <a:gd name="connsiteY43" fmla="*/ 122140 h 606087"/>
              <a:gd name="connsiteX44" fmla="*/ 303502 w 606933"/>
              <a:gd name="connsiteY44" fmla="*/ 315639 h 606087"/>
              <a:gd name="connsiteX45" fmla="*/ 177049 w 606933"/>
              <a:gd name="connsiteY45" fmla="*/ 122140 h 606087"/>
              <a:gd name="connsiteX46" fmla="*/ 303502 w 606933"/>
              <a:gd name="connsiteY46" fmla="*/ 0 h 606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</a:cxnLst>
            <a:rect l="l" t="t" r="r" b="b"/>
            <a:pathLst>
              <a:path w="606933" h="606087">
                <a:moveTo>
                  <a:pt x="126452" y="239923"/>
                </a:moveTo>
                <a:lnTo>
                  <a:pt x="191364" y="239923"/>
                </a:lnTo>
                <a:cubicBezTo>
                  <a:pt x="230851" y="298209"/>
                  <a:pt x="286131" y="334566"/>
                  <a:pt x="289791" y="336874"/>
                </a:cubicBezTo>
                <a:lnTo>
                  <a:pt x="303467" y="345627"/>
                </a:lnTo>
                <a:lnTo>
                  <a:pt x="317142" y="336874"/>
                </a:lnTo>
                <a:cubicBezTo>
                  <a:pt x="320802" y="334566"/>
                  <a:pt x="376083" y="298209"/>
                  <a:pt x="415569" y="239923"/>
                </a:cubicBezTo>
                <a:lnTo>
                  <a:pt x="480481" y="239923"/>
                </a:lnTo>
                <a:lnTo>
                  <a:pt x="480481" y="404009"/>
                </a:lnTo>
                <a:lnTo>
                  <a:pt x="316083" y="404009"/>
                </a:lnTo>
                <a:lnTo>
                  <a:pt x="316083" y="441905"/>
                </a:lnTo>
                <a:lnTo>
                  <a:pt x="568988" y="441905"/>
                </a:lnTo>
                <a:lnTo>
                  <a:pt x="568988" y="505096"/>
                </a:lnTo>
                <a:lnTo>
                  <a:pt x="606933" y="505096"/>
                </a:lnTo>
                <a:lnTo>
                  <a:pt x="606933" y="606087"/>
                </a:lnTo>
                <a:lnTo>
                  <a:pt x="505714" y="606087"/>
                </a:lnTo>
                <a:lnTo>
                  <a:pt x="505714" y="505096"/>
                </a:lnTo>
                <a:lnTo>
                  <a:pt x="543659" y="505096"/>
                </a:lnTo>
                <a:lnTo>
                  <a:pt x="543659" y="467105"/>
                </a:lnTo>
                <a:lnTo>
                  <a:pt x="316083" y="467105"/>
                </a:lnTo>
                <a:lnTo>
                  <a:pt x="316083" y="505096"/>
                </a:lnTo>
                <a:lnTo>
                  <a:pt x="354028" y="505096"/>
                </a:lnTo>
                <a:lnTo>
                  <a:pt x="354028" y="606087"/>
                </a:lnTo>
                <a:lnTo>
                  <a:pt x="252905" y="606087"/>
                </a:lnTo>
                <a:lnTo>
                  <a:pt x="252905" y="505096"/>
                </a:lnTo>
                <a:lnTo>
                  <a:pt x="290850" y="505096"/>
                </a:lnTo>
                <a:lnTo>
                  <a:pt x="290850" y="467105"/>
                </a:lnTo>
                <a:lnTo>
                  <a:pt x="63274" y="467105"/>
                </a:lnTo>
                <a:lnTo>
                  <a:pt x="63274" y="505096"/>
                </a:lnTo>
                <a:lnTo>
                  <a:pt x="101123" y="505096"/>
                </a:lnTo>
                <a:lnTo>
                  <a:pt x="101123" y="606087"/>
                </a:lnTo>
                <a:lnTo>
                  <a:pt x="0" y="606087"/>
                </a:lnTo>
                <a:lnTo>
                  <a:pt x="0" y="505096"/>
                </a:lnTo>
                <a:lnTo>
                  <a:pt x="37945" y="505096"/>
                </a:lnTo>
                <a:lnTo>
                  <a:pt x="37945" y="441905"/>
                </a:lnTo>
                <a:lnTo>
                  <a:pt x="290850" y="441905"/>
                </a:lnTo>
                <a:lnTo>
                  <a:pt x="290850" y="404009"/>
                </a:lnTo>
                <a:lnTo>
                  <a:pt x="126452" y="404009"/>
                </a:lnTo>
                <a:close/>
                <a:moveTo>
                  <a:pt x="303502" y="71264"/>
                </a:moveTo>
                <a:cubicBezTo>
                  <a:pt x="274417" y="71264"/>
                  <a:pt x="250822" y="94057"/>
                  <a:pt x="250822" y="122140"/>
                </a:cubicBezTo>
                <a:cubicBezTo>
                  <a:pt x="250822" y="150318"/>
                  <a:pt x="274417" y="173111"/>
                  <a:pt x="303502" y="173111"/>
                </a:cubicBezTo>
                <a:cubicBezTo>
                  <a:pt x="332587" y="173111"/>
                  <a:pt x="356183" y="150318"/>
                  <a:pt x="356183" y="122140"/>
                </a:cubicBezTo>
                <a:cubicBezTo>
                  <a:pt x="356183" y="94057"/>
                  <a:pt x="332587" y="71264"/>
                  <a:pt x="303502" y="71264"/>
                </a:cubicBezTo>
                <a:close/>
                <a:moveTo>
                  <a:pt x="303502" y="0"/>
                </a:moveTo>
                <a:cubicBezTo>
                  <a:pt x="373326" y="0"/>
                  <a:pt x="429955" y="54723"/>
                  <a:pt x="429955" y="122140"/>
                </a:cubicBezTo>
                <a:cubicBezTo>
                  <a:pt x="429955" y="234181"/>
                  <a:pt x="303502" y="315639"/>
                  <a:pt x="303502" y="315639"/>
                </a:cubicBezTo>
                <a:cubicBezTo>
                  <a:pt x="303502" y="315639"/>
                  <a:pt x="177049" y="234181"/>
                  <a:pt x="177049" y="122140"/>
                </a:cubicBezTo>
                <a:cubicBezTo>
                  <a:pt x="177049" y="54723"/>
                  <a:pt x="233679" y="0"/>
                  <a:pt x="303502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82832" tIns="91416" rIns="182832" bIns="91416" numCol="1" anchor="t" anchorCtr="0" compatLnSpc="1">
            <a:prstTxWarp prst="textNoShape">
              <a:avLst/>
            </a:prstTxWarp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 sz="7198"/>
          </a:p>
        </p:txBody>
      </p:sp>
      <p:sp>
        <p:nvSpPr>
          <p:cNvPr id="27" name="íşḷîḍe">
            <a:extLst>
              <a:ext uri="{FF2B5EF4-FFF2-40B4-BE49-F238E27FC236}">
                <a16:creationId xmlns:a16="http://schemas.microsoft.com/office/drawing/2014/main" id="{CDF5CD0E-41EF-4A7B-BBCB-9875A2486881}"/>
              </a:ext>
            </a:extLst>
          </p:cNvPr>
          <p:cNvSpPr/>
          <p:nvPr/>
        </p:nvSpPr>
        <p:spPr bwMode="auto">
          <a:xfrm>
            <a:off x="5474061" y="2974638"/>
            <a:ext cx="1300018" cy="1300018"/>
          </a:xfrm>
          <a:prstGeom prst="ellipse">
            <a:avLst/>
          </a:prstGeom>
          <a:blipFill>
            <a:blip r:embed="rId3"/>
            <a:srcRect/>
            <a:stretch>
              <a:fillRect l="-23442" t="2235" r="-31137" b="-2235"/>
            </a:stretch>
          </a:blipFill>
          <a:ln w="63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914400"/>
            <a:endParaRPr lang="zh-CN" altLang="en-US" sz="2000" b="1" dirty="0">
              <a:solidFill>
                <a:schemeClr val="lt1"/>
              </a:solidFill>
            </a:endParaRPr>
          </a:p>
        </p:txBody>
      </p:sp>
      <p:sp>
        <p:nvSpPr>
          <p:cNvPr id="17" name="îŝ1iḍé">
            <a:extLst>
              <a:ext uri="{FF2B5EF4-FFF2-40B4-BE49-F238E27FC236}">
                <a16:creationId xmlns:a16="http://schemas.microsoft.com/office/drawing/2014/main" id="{170CC027-751C-4F58-92CE-65311F3B5415}"/>
              </a:ext>
            </a:extLst>
          </p:cNvPr>
          <p:cNvSpPr txBox="1"/>
          <p:nvPr/>
        </p:nvSpPr>
        <p:spPr>
          <a:xfrm>
            <a:off x="695400" y="2960510"/>
            <a:ext cx="3096344" cy="1908650"/>
          </a:xfrm>
          <a:prstGeom prst="rect">
            <a:avLst/>
          </a:prstGeom>
          <a:noFill/>
        </p:spPr>
        <p:txBody>
          <a:bodyPr wrap="square" lIns="90000" tIns="46800" rIns="90000" bIns="46800" rtlCol="0">
            <a:normAutofit/>
          </a:bodyPr>
          <a:lstStyle/>
          <a:p>
            <a:pPr algn="just">
              <a:lnSpc>
                <a:spcPct val="150000"/>
              </a:lnSpc>
            </a:pPr>
            <a:r>
              <a:rPr lang="en-US" altLang="zh-CN" sz="1000" dirty="0"/>
              <a:t>1.</a:t>
            </a:r>
            <a:r>
              <a:rPr lang="zh-CN" altLang="en-US" sz="1000" dirty="0"/>
              <a:t>选中</a:t>
            </a:r>
            <a:r>
              <a:rPr lang="en-US" altLang="zh-CN" sz="1000" dirty="0"/>
              <a:t>PPT</a:t>
            </a:r>
            <a:r>
              <a:rPr lang="zh-CN" altLang="en-US" sz="1000" dirty="0"/>
              <a:t>页面中图示里的图标（可按住</a:t>
            </a:r>
            <a:r>
              <a:rPr lang="en-US" altLang="zh-CN" sz="1000" dirty="0"/>
              <a:t>shift</a:t>
            </a:r>
            <a:r>
              <a:rPr lang="zh-CN" altLang="en-US" sz="1000" dirty="0"/>
              <a:t>键多选）</a:t>
            </a:r>
            <a:endParaRPr lang="en-US" altLang="zh-CN" sz="1000" dirty="0"/>
          </a:p>
          <a:p>
            <a:pPr algn="just">
              <a:lnSpc>
                <a:spcPct val="150000"/>
              </a:lnSpc>
            </a:pPr>
            <a:endParaRPr lang="en-US" altLang="zh-CN" sz="1000" dirty="0"/>
          </a:p>
          <a:p>
            <a:pPr algn="just">
              <a:lnSpc>
                <a:spcPct val="150000"/>
              </a:lnSpc>
            </a:pPr>
            <a:r>
              <a:rPr lang="en-US" altLang="zh-CN" sz="1000" dirty="0"/>
              <a:t>2.</a:t>
            </a:r>
            <a:r>
              <a:rPr lang="zh-CN" altLang="en-US" sz="1000" dirty="0"/>
              <a:t>在</a:t>
            </a:r>
            <a:r>
              <a:rPr lang="en-US" altLang="zh-CN" sz="1000" dirty="0" err="1"/>
              <a:t>iSlide</a:t>
            </a:r>
            <a:r>
              <a:rPr lang="zh-CN" altLang="en-US" sz="1000" dirty="0"/>
              <a:t>菜单面板打开“图标库”，单击左键即可进行替换操作；可以将</a:t>
            </a:r>
            <a:r>
              <a:rPr lang="en-US" altLang="zh-CN" sz="1000" dirty="0"/>
              <a:t>PPT</a:t>
            </a:r>
            <a:r>
              <a:rPr lang="zh-CN" altLang="en-US" sz="1000" dirty="0"/>
              <a:t>中绘制的任何形状替换为</a:t>
            </a:r>
            <a:r>
              <a:rPr lang="en-US" altLang="zh-CN" sz="1000" dirty="0" err="1"/>
              <a:t>iSlide</a:t>
            </a:r>
            <a:r>
              <a:rPr lang="zh-CN" altLang="en-US" sz="1000" dirty="0"/>
              <a:t>图标库中的图标；所有使用</a:t>
            </a:r>
            <a:r>
              <a:rPr lang="en-US" altLang="zh-CN" sz="1000" dirty="0" err="1"/>
              <a:t>iSlide</a:t>
            </a:r>
            <a:r>
              <a:rPr lang="zh-CN" altLang="en-US" sz="1000" dirty="0"/>
              <a:t>插入的图标均为矢量格式；所有单独的图标或图形（非组合）均可以使用</a:t>
            </a:r>
            <a:r>
              <a:rPr lang="en-US" altLang="zh-CN" sz="1000" dirty="0" err="1"/>
              <a:t>iSlide</a:t>
            </a:r>
            <a:r>
              <a:rPr lang="zh-CN" altLang="en-US" sz="1000" dirty="0"/>
              <a:t>图标库功能一键替换为图标</a:t>
            </a:r>
          </a:p>
        </p:txBody>
      </p:sp>
      <p:sp>
        <p:nvSpPr>
          <p:cNvPr id="18" name="ï$ľïdê">
            <a:extLst>
              <a:ext uri="{FF2B5EF4-FFF2-40B4-BE49-F238E27FC236}">
                <a16:creationId xmlns:a16="http://schemas.microsoft.com/office/drawing/2014/main" id="{4DB07F9F-9506-4746-BD8E-F69A1ED152BA}"/>
              </a:ext>
            </a:extLst>
          </p:cNvPr>
          <p:cNvSpPr txBox="1"/>
          <p:nvPr/>
        </p:nvSpPr>
        <p:spPr>
          <a:xfrm>
            <a:off x="695400" y="2564904"/>
            <a:ext cx="309634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sz="1400" b="1">
                <a:solidFill>
                  <a:schemeClr val="accent1"/>
                </a:solidFill>
              </a:defRPr>
            </a:lvl1pPr>
          </a:lstStyle>
          <a:p>
            <a:r>
              <a:rPr lang="zh-CN" altLang="en-US" dirty="0"/>
              <a:t>替换图示中的图标</a:t>
            </a:r>
          </a:p>
        </p:txBody>
      </p:sp>
      <p:sp>
        <p:nvSpPr>
          <p:cNvPr id="15" name="ïsľîḓè">
            <a:extLst>
              <a:ext uri="{FF2B5EF4-FFF2-40B4-BE49-F238E27FC236}">
                <a16:creationId xmlns:a16="http://schemas.microsoft.com/office/drawing/2014/main" id="{1A836361-0DC7-4EC0-8F7A-92627140DB7B}"/>
              </a:ext>
            </a:extLst>
          </p:cNvPr>
          <p:cNvSpPr txBox="1"/>
          <p:nvPr/>
        </p:nvSpPr>
        <p:spPr>
          <a:xfrm>
            <a:off x="8424144" y="2960511"/>
            <a:ext cx="3096344" cy="1754380"/>
          </a:xfrm>
          <a:prstGeom prst="rect">
            <a:avLst/>
          </a:prstGeom>
          <a:noFill/>
        </p:spPr>
        <p:txBody>
          <a:bodyPr wrap="square" lIns="90000" tIns="46800" rIns="90000" bIns="46800" rtlCol="0">
            <a:normAutofit/>
          </a:bodyPr>
          <a:lstStyle/>
          <a:p>
            <a:pPr algn="just">
              <a:lnSpc>
                <a:spcPct val="150000"/>
              </a:lnSpc>
            </a:pPr>
            <a:r>
              <a:rPr lang="en-US" altLang="zh-CN" sz="1000" dirty="0"/>
              <a:t>1.</a:t>
            </a:r>
            <a:r>
              <a:rPr lang="zh-CN" altLang="en-US" sz="1000" dirty="0"/>
              <a:t>选中</a:t>
            </a:r>
            <a:r>
              <a:rPr lang="en-US" altLang="zh-CN" sz="1000" dirty="0"/>
              <a:t>PPT</a:t>
            </a:r>
            <a:r>
              <a:rPr lang="zh-CN" altLang="en-US" sz="1000" dirty="0"/>
              <a:t>页面中图示里的图标（可按住</a:t>
            </a:r>
            <a:r>
              <a:rPr lang="en-US" altLang="zh-CN" sz="1000" dirty="0"/>
              <a:t>shift</a:t>
            </a:r>
            <a:r>
              <a:rPr lang="zh-CN" altLang="en-US" sz="1000" dirty="0"/>
              <a:t>键多选）</a:t>
            </a:r>
            <a:endParaRPr lang="en-US" altLang="zh-CN" sz="1000" dirty="0"/>
          </a:p>
          <a:p>
            <a:pPr algn="just">
              <a:lnSpc>
                <a:spcPct val="150000"/>
              </a:lnSpc>
            </a:pPr>
            <a:endParaRPr lang="en-US" altLang="zh-CN" sz="1000" dirty="0"/>
          </a:p>
          <a:p>
            <a:pPr algn="just">
              <a:lnSpc>
                <a:spcPct val="150000"/>
              </a:lnSpc>
            </a:pPr>
            <a:r>
              <a:rPr lang="en-US" altLang="zh-CN" sz="1000" dirty="0"/>
              <a:t>2.</a:t>
            </a:r>
            <a:r>
              <a:rPr lang="zh-CN" altLang="en-US" sz="1000" dirty="0"/>
              <a:t>在</a:t>
            </a:r>
            <a:r>
              <a:rPr lang="en-US" altLang="zh-CN" sz="1000" dirty="0" err="1"/>
              <a:t>iSlide</a:t>
            </a:r>
            <a:r>
              <a:rPr lang="zh-CN" altLang="en-US" sz="1000" dirty="0"/>
              <a:t>菜单面板打开“图标库”，单击左键即可进行替换操作；可以将</a:t>
            </a:r>
            <a:r>
              <a:rPr lang="en-US" altLang="zh-CN" sz="1000" dirty="0"/>
              <a:t>PPT</a:t>
            </a:r>
            <a:r>
              <a:rPr lang="zh-CN" altLang="en-US" sz="1000" dirty="0"/>
              <a:t>中绘制的任何形状替换为</a:t>
            </a:r>
            <a:r>
              <a:rPr lang="en-US" altLang="zh-CN" sz="1000" dirty="0" err="1"/>
              <a:t>iSlide</a:t>
            </a:r>
            <a:r>
              <a:rPr lang="zh-CN" altLang="en-US" sz="1000" dirty="0"/>
              <a:t>图标库中的图标；所有使用</a:t>
            </a:r>
            <a:r>
              <a:rPr lang="en-US" altLang="zh-CN" sz="1000" dirty="0" err="1"/>
              <a:t>iSlide</a:t>
            </a:r>
            <a:r>
              <a:rPr lang="zh-CN" altLang="en-US" sz="1000" dirty="0"/>
              <a:t>插入的图标均为矢量格式；所有单独的图标或图形（非组合）均可以使用</a:t>
            </a:r>
            <a:r>
              <a:rPr lang="en-US" altLang="zh-CN" sz="1000" dirty="0" err="1"/>
              <a:t>iSlide</a:t>
            </a:r>
            <a:r>
              <a:rPr lang="zh-CN" altLang="en-US" sz="1000" dirty="0"/>
              <a:t>图标库功能一键替换为图标</a:t>
            </a:r>
          </a:p>
        </p:txBody>
      </p:sp>
      <p:sp>
        <p:nvSpPr>
          <p:cNvPr id="16" name="íśľïḑê">
            <a:extLst>
              <a:ext uri="{FF2B5EF4-FFF2-40B4-BE49-F238E27FC236}">
                <a16:creationId xmlns:a16="http://schemas.microsoft.com/office/drawing/2014/main" id="{0982E3E0-D415-4DD0-9923-685C4C510F69}"/>
              </a:ext>
            </a:extLst>
          </p:cNvPr>
          <p:cNvSpPr txBox="1"/>
          <p:nvPr/>
        </p:nvSpPr>
        <p:spPr>
          <a:xfrm>
            <a:off x="8424144" y="2564904"/>
            <a:ext cx="309634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sz="1400" b="1">
                <a:solidFill>
                  <a:schemeClr val="accent1"/>
                </a:solidFill>
              </a:defRPr>
            </a:lvl1pPr>
          </a:lstStyle>
          <a:p>
            <a:r>
              <a:rPr lang="zh-CN" altLang="en-US" dirty="0">
                <a:solidFill>
                  <a:schemeClr val="accent3"/>
                </a:solidFill>
              </a:rPr>
              <a:t>替换图示中的图标</a:t>
            </a:r>
          </a:p>
        </p:txBody>
      </p:sp>
      <p:sp>
        <p:nvSpPr>
          <p:cNvPr id="13" name="íş1ídê">
            <a:extLst>
              <a:ext uri="{FF2B5EF4-FFF2-40B4-BE49-F238E27FC236}">
                <a16:creationId xmlns:a16="http://schemas.microsoft.com/office/drawing/2014/main" id="{DBADB7E8-8065-45B9-8311-EC78F3DFB71C}"/>
              </a:ext>
            </a:extLst>
          </p:cNvPr>
          <p:cNvSpPr>
            <a:spLocks/>
          </p:cNvSpPr>
          <p:nvPr/>
        </p:nvSpPr>
        <p:spPr bwMode="auto">
          <a:xfrm>
            <a:off x="6423644" y="1675558"/>
            <a:ext cx="2108063" cy="5573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zh-CN" altLang="en-US" sz="1000" dirty="0"/>
              <a:t>此部分内容作为文字排版占位显示</a:t>
            </a:r>
            <a:br>
              <a:rPr lang="en-US" altLang="zh-CN" sz="1000" dirty="0"/>
            </a:br>
            <a:r>
              <a:rPr lang="zh-CN" altLang="en-US" sz="1000" dirty="0"/>
              <a:t> （建议使用主题字体）</a:t>
            </a:r>
            <a:endParaRPr lang="en-US" altLang="zh-CN" sz="1000" dirty="0"/>
          </a:p>
        </p:txBody>
      </p:sp>
      <p:sp>
        <p:nvSpPr>
          <p:cNvPr id="14" name="îṣḷïḓé">
            <a:extLst>
              <a:ext uri="{FF2B5EF4-FFF2-40B4-BE49-F238E27FC236}">
                <a16:creationId xmlns:a16="http://schemas.microsoft.com/office/drawing/2014/main" id="{A426CC9D-6DBB-4FAC-A91F-B5F7B8B2EA15}"/>
              </a:ext>
            </a:extLst>
          </p:cNvPr>
          <p:cNvSpPr txBox="1">
            <a:spLocks/>
          </p:cNvSpPr>
          <p:nvPr/>
        </p:nvSpPr>
        <p:spPr bwMode="auto">
          <a:xfrm>
            <a:off x="6423644" y="1262678"/>
            <a:ext cx="2108063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1800" b="1" dirty="0"/>
              <a:t>标题文本预设</a:t>
            </a:r>
            <a:endParaRPr lang="en-US" altLang="zh-CN" sz="1800" b="1" dirty="0"/>
          </a:p>
        </p:txBody>
      </p:sp>
      <p:sp>
        <p:nvSpPr>
          <p:cNvPr id="11" name="ï$ḻiḓê">
            <a:extLst>
              <a:ext uri="{FF2B5EF4-FFF2-40B4-BE49-F238E27FC236}">
                <a16:creationId xmlns:a16="http://schemas.microsoft.com/office/drawing/2014/main" id="{6C979B86-E24C-476A-9118-B2F781257E61}"/>
              </a:ext>
            </a:extLst>
          </p:cNvPr>
          <p:cNvSpPr>
            <a:spLocks/>
          </p:cNvSpPr>
          <p:nvPr/>
        </p:nvSpPr>
        <p:spPr bwMode="auto">
          <a:xfrm>
            <a:off x="3647819" y="5407075"/>
            <a:ext cx="2108063" cy="5573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 eaLnBrk="1" hangingPunct="1"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zh-CN" altLang="en-US" sz="1000" dirty="0"/>
              <a:t>此部分内容作为文字排版占位显示</a:t>
            </a:r>
            <a:br>
              <a:rPr lang="en-US" altLang="zh-CN" sz="1000" dirty="0"/>
            </a:br>
            <a:r>
              <a:rPr lang="zh-CN" altLang="en-US" sz="1000" dirty="0"/>
              <a:t> （建议使用主题字体）</a:t>
            </a:r>
            <a:endParaRPr lang="en-US" altLang="zh-CN" sz="1000" dirty="0"/>
          </a:p>
        </p:txBody>
      </p:sp>
      <p:sp>
        <p:nvSpPr>
          <p:cNvPr id="12" name="iśḻîďé">
            <a:extLst>
              <a:ext uri="{FF2B5EF4-FFF2-40B4-BE49-F238E27FC236}">
                <a16:creationId xmlns:a16="http://schemas.microsoft.com/office/drawing/2014/main" id="{B75925FF-F392-412F-B9A5-3BCBF0886E5C}"/>
              </a:ext>
            </a:extLst>
          </p:cNvPr>
          <p:cNvSpPr txBox="1">
            <a:spLocks/>
          </p:cNvSpPr>
          <p:nvPr/>
        </p:nvSpPr>
        <p:spPr bwMode="auto">
          <a:xfrm>
            <a:off x="3647819" y="4994195"/>
            <a:ext cx="2108063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1800" b="1" dirty="0"/>
              <a:t>标题文本预设</a:t>
            </a:r>
            <a:endParaRPr lang="en-US" altLang="zh-CN" sz="1800" b="1" dirty="0"/>
          </a:p>
        </p:txBody>
      </p:sp>
    </p:spTree>
    <p:extLst>
      <p:ext uri="{BB962C8B-B14F-4D97-AF65-F5344CB8AC3E}">
        <p14:creationId xmlns:p14="http://schemas.microsoft.com/office/powerpoint/2010/main" val="185241228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2E0BC22-6A2E-44CA-B38B-29BE5F795B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885C253E-1CAB-4D1F-AF1A-205F608D85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20B3D29-972B-411E-A947-CCA9AD1179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3</a:t>
            </a:fld>
            <a:endParaRPr lang="zh-CN" altLang="en-US"/>
          </a:p>
        </p:txBody>
      </p:sp>
      <p:sp>
        <p:nvSpPr>
          <p:cNvPr id="6" name="îṡ1íḍé" title="LjXxPfK7a53MF99">
            <a:extLst>
              <a:ext uri="{FF2B5EF4-FFF2-40B4-BE49-F238E27FC236}">
                <a16:creationId xmlns:a16="http://schemas.microsoft.com/office/drawing/2014/main" id="{45514682-4880-4F28-98B5-7BE79FF88C90}"/>
              </a:ext>
            </a:extLst>
          </p:cNvPr>
          <p:cNvSpPr/>
          <p:nvPr/>
        </p:nvSpPr>
        <p:spPr bwMode="auto">
          <a:xfrm>
            <a:off x="708250" y="4147670"/>
            <a:ext cx="773420" cy="527768"/>
          </a:xfrm>
          <a:custGeom>
            <a:avLst/>
            <a:gdLst>
              <a:gd name="connsiteX0" fmla="*/ 20293 w 607639"/>
              <a:gd name="connsiteY0" fmla="*/ 364067 h 414642"/>
              <a:gd name="connsiteX1" fmla="*/ 20293 w 607639"/>
              <a:gd name="connsiteY1" fmla="*/ 384244 h 414642"/>
              <a:gd name="connsiteX2" fmla="*/ 30351 w 607639"/>
              <a:gd name="connsiteY2" fmla="*/ 394377 h 414642"/>
              <a:gd name="connsiteX3" fmla="*/ 577199 w 607639"/>
              <a:gd name="connsiteY3" fmla="*/ 394377 h 414642"/>
              <a:gd name="connsiteX4" fmla="*/ 587346 w 607639"/>
              <a:gd name="connsiteY4" fmla="*/ 384244 h 414642"/>
              <a:gd name="connsiteX5" fmla="*/ 587346 w 607639"/>
              <a:gd name="connsiteY5" fmla="*/ 364067 h 414642"/>
              <a:gd name="connsiteX6" fmla="*/ 556995 w 607639"/>
              <a:gd name="connsiteY6" fmla="*/ 364067 h 414642"/>
              <a:gd name="connsiteX7" fmla="*/ 394916 w 607639"/>
              <a:gd name="connsiteY7" fmla="*/ 364067 h 414642"/>
              <a:gd name="connsiteX8" fmla="*/ 394916 w 607639"/>
              <a:gd name="connsiteY8" fmla="*/ 374200 h 414642"/>
              <a:gd name="connsiteX9" fmla="*/ 384859 w 607639"/>
              <a:gd name="connsiteY9" fmla="*/ 384244 h 414642"/>
              <a:gd name="connsiteX10" fmla="*/ 222780 w 607639"/>
              <a:gd name="connsiteY10" fmla="*/ 384244 h 414642"/>
              <a:gd name="connsiteX11" fmla="*/ 212634 w 607639"/>
              <a:gd name="connsiteY11" fmla="*/ 374200 h 414642"/>
              <a:gd name="connsiteX12" fmla="*/ 212634 w 607639"/>
              <a:gd name="connsiteY12" fmla="*/ 364067 h 414642"/>
              <a:gd name="connsiteX13" fmla="*/ 50644 w 607639"/>
              <a:gd name="connsiteY13" fmla="*/ 364067 h 414642"/>
              <a:gd name="connsiteX14" fmla="*/ 141754 w 607639"/>
              <a:gd name="connsiteY14" fmla="*/ 232583 h 414642"/>
              <a:gd name="connsiteX15" fmla="*/ 161961 w 607639"/>
              <a:gd name="connsiteY15" fmla="*/ 232583 h 414642"/>
              <a:gd name="connsiteX16" fmla="*/ 172110 w 607639"/>
              <a:gd name="connsiteY16" fmla="*/ 242719 h 414642"/>
              <a:gd name="connsiteX17" fmla="*/ 161961 w 607639"/>
              <a:gd name="connsiteY17" fmla="*/ 252765 h 414642"/>
              <a:gd name="connsiteX18" fmla="*/ 141754 w 607639"/>
              <a:gd name="connsiteY18" fmla="*/ 252765 h 414642"/>
              <a:gd name="connsiteX19" fmla="*/ 131605 w 607639"/>
              <a:gd name="connsiteY19" fmla="*/ 242719 h 414642"/>
              <a:gd name="connsiteX20" fmla="*/ 141754 w 607639"/>
              <a:gd name="connsiteY20" fmla="*/ 232583 h 414642"/>
              <a:gd name="connsiteX21" fmla="*/ 141758 w 607639"/>
              <a:gd name="connsiteY21" fmla="*/ 192149 h 414642"/>
              <a:gd name="connsiteX22" fmla="*/ 182279 w 607639"/>
              <a:gd name="connsiteY22" fmla="*/ 192149 h 414642"/>
              <a:gd name="connsiteX23" fmla="*/ 192432 w 607639"/>
              <a:gd name="connsiteY23" fmla="*/ 202196 h 414642"/>
              <a:gd name="connsiteX24" fmla="*/ 182279 w 607639"/>
              <a:gd name="connsiteY24" fmla="*/ 212331 h 414642"/>
              <a:gd name="connsiteX25" fmla="*/ 141758 w 607639"/>
              <a:gd name="connsiteY25" fmla="*/ 212331 h 414642"/>
              <a:gd name="connsiteX26" fmla="*/ 131605 w 607639"/>
              <a:gd name="connsiteY26" fmla="*/ 202196 h 414642"/>
              <a:gd name="connsiteX27" fmla="*/ 141758 w 607639"/>
              <a:gd name="connsiteY27" fmla="*/ 192149 h 414642"/>
              <a:gd name="connsiteX28" fmla="*/ 141754 w 607639"/>
              <a:gd name="connsiteY28" fmla="*/ 151716 h 414642"/>
              <a:gd name="connsiteX29" fmla="*/ 161961 w 607639"/>
              <a:gd name="connsiteY29" fmla="*/ 151716 h 414642"/>
              <a:gd name="connsiteX30" fmla="*/ 172110 w 607639"/>
              <a:gd name="connsiteY30" fmla="*/ 161763 h 414642"/>
              <a:gd name="connsiteX31" fmla="*/ 161961 w 607639"/>
              <a:gd name="connsiteY31" fmla="*/ 171898 h 414642"/>
              <a:gd name="connsiteX32" fmla="*/ 141754 w 607639"/>
              <a:gd name="connsiteY32" fmla="*/ 171898 h 414642"/>
              <a:gd name="connsiteX33" fmla="*/ 131605 w 607639"/>
              <a:gd name="connsiteY33" fmla="*/ 161763 h 414642"/>
              <a:gd name="connsiteX34" fmla="*/ 141754 w 607639"/>
              <a:gd name="connsiteY34" fmla="*/ 151716 h 414642"/>
              <a:gd name="connsiteX35" fmla="*/ 141758 w 607639"/>
              <a:gd name="connsiteY35" fmla="*/ 111211 h 414642"/>
              <a:gd name="connsiteX36" fmla="*/ 182279 w 607639"/>
              <a:gd name="connsiteY36" fmla="*/ 111211 h 414642"/>
              <a:gd name="connsiteX37" fmla="*/ 192432 w 607639"/>
              <a:gd name="connsiteY37" fmla="*/ 121337 h 414642"/>
              <a:gd name="connsiteX38" fmla="*/ 182279 w 607639"/>
              <a:gd name="connsiteY38" fmla="*/ 131463 h 414642"/>
              <a:gd name="connsiteX39" fmla="*/ 141758 w 607639"/>
              <a:gd name="connsiteY39" fmla="*/ 131463 h 414642"/>
              <a:gd name="connsiteX40" fmla="*/ 131605 w 607639"/>
              <a:gd name="connsiteY40" fmla="*/ 121337 h 414642"/>
              <a:gd name="connsiteX41" fmla="*/ 141758 w 607639"/>
              <a:gd name="connsiteY41" fmla="*/ 111211 h 414642"/>
              <a:gd name="connsiteX42" fmla="*/ 425367 w 607639"/>
              <a:gd name="connsiteY42" fmla="*/ 101191 h 414642"/>
              <a:gd name="connsiteX43" fmla="*/ 496228 w 607639"/>
              <a:gd name="connsiteY43" fmla="*/ 101191 h 414642"/>
              <a:gd name="connsiteX44" fmla="*/ 506377 w 607639"/>
              <a:gd name="connsiteY44" fmla="*/ 111231 h 414642"/>
              <a:gd name="connsiteX45" fmla="*/ 506377 w 607639"/>
              <a:gd name="connsiteY45" fmla="*/ 182042 h 414642"/>
              <a:gd name="connsiteX46" fmla="*/ 496228 w 607639"/>
              <a:gd name="connsiteY46" fmla="*/ 192171 h 414642"/>
              <a:gd name="connsiteX47" fmla="*/ 486080 w 607639"/>
              <a:gd name="connsiteY47" fmla="*/ 182042 h 414642"/>
              <a:gd name="connsiteX48" fmla="*/ 486080 w 607639"/>
              <a:gd name="connsiteY48" fmla="*/ 135575 h 414642"/>
              <a:gd name="connsiteX49" fmla="*/ 402043 w 607639"/>
              <a:gd name="connsiteY49" fmla="*/ 219447 h 414642"/>
              <a:gd name="connsiteX50" fmla="*/ 394921 w 607639"/>
              <a:gd name="connsiteY50" fmla="*/ 222468 h 414642"/>
              <a:gd name="connsiteX51" fmla="*/ 387889 w 607639"/>
              <a:gd name="connsiteY51" fmla="*/ 219447 h 414642"/>
              <a:gd name="connsiteX52" fmla="*/ 344268 w 607639"/>
              <a:gd name="connsiteY52" fmla="*/ 176001 h 414642"/>
              <a:gd name="connsiteX53" fmla="*/ 270380 w 607639"/>
              <a:gd name="connsiteY53" fmla="*/ 249744 h 414642"/>
              <a:gd name="connsiteX54" fmla="*/ 263258 w 607639"/>
              <a:gd name="connsiteY54" fmla="*/ 252765 h 414642"/>
              <a:gd name="connsiteX55" fmla="*/ 256225 w 607639"/>
              <a:gd name="connsiteY55" fmla="*/ 249744 h 414642"/>
              <a:gd name="connsiteX56" fmla="*/ 256225 w 607639"/>
              <a:gd name="connsiteY56" fmla="*/ 235617 h 414642"/>
              <a:gd name="connsiteX57" fmla="*/ 337235 w 607639"/>
              <a:gd name="connsiteY57" fmla="*/ 154766 h 414642"/>
              <a:gd name="connsiteX58" fmla="*/ 338837 w 607639"/>
              <a:gd name="connsiteY58" fmla="*/ 153433 h 414642"/>
              <a:gd name="connsiteX59" fmla="*/ 340618 w 607639"/>
              <a:gd name="connsiteY59" fmla="*/ 152456 h 414642"/>
              <a:gd name="connsiteX60" fmla="*/ 341508 w 607639"/>
              <a:gd name="connsiteY60" fmla="*/ 152101 h 414642"/>
              <a:gd name="connsiteX61" fmla="*/ 343378 w 607639"/>
              <a:gd name="connsiteY61" fmla="*/ 151745 h 414642"/>
              <a:gd name="connsiteX62" fmla="*/ 344268 w 607639"/>
              <a:gd name="connsiteY62" fmla="*/ 151745 h 414642"/>
              <a:gd name="connsiteX63" fmla="*/ 346226 w 607639"/>
              <a:gd name="connsiteY63" fmla="*/ 151923 h 414642"/>
              <a:gd name="connsiteX64" fmla="*/ 351390 w 607639"/>
              <a:gd name="connsiteY64" fmla="*/ 154766 h 414642"/>
              <a:gd name="connsiteX65" fmla="*/ 394921 w 607639"/>
              <a:gd name="connsiteY65" fmla="*/ 198213 h 414642"/>
              <a:gd name="connsiteX66" fmla="*/ 471925 w 607639"/>
              <a:gd name="connsiteY66" fmla="*/ 121359 h 414642"/>
              <a:gd name="connsiteX67" fmla="*/ 425367 w 607639"/>
              <a:gd name="connsiteY67" fmla="*/ 121359 h 414642"/>
              <a:gd name="connsiteX68" fmla="*/ 415218 w 607639"/>
              <a:gd name="connsiteY68" fmla="*/ 111231 h 414642"/>
              <a:gd name="connsiteX69" fmla="*/ 425367 w 607639"/>
              <a:gd name="connsiteY69" fmla="*/ 101191 h 414642"/>
              <a:gd name="connsiteX70" fmla="*/ 101297 w 607639"/>
              <a:gd name="connsiteY70" fmla="*/ 91029 h 414642"/>
              <a:gd name="connsiteX71" fmla="*/ 111423 w 607639"/>
              <a:gd name="connsiteY71" fmla="*/ 101159 h 414642"/>
              <a:gd name="connsiteX72" fmla="*/ 111423 w 607639"/>
              <a:gd name="connsiteY72" fmla="*/ 262887 h 414642"/>
              <a:gd name="connsiteX73" fmla="*/ 101297 w 607639"/>
              <a:gd name="connsiteY73" fmla="*/ 273017 h 414642"/>
              <a:gd name="connsiteX74" fmla="*/ 91171 w 607639"/>
              <a:gd name="connsiteY74" fmla="*/ 262887 h 414642"/>
              <a:gd name="connsiteX75" fmla="*/ 91171 w 607639"/>
              <a:gd name="connsiteY75" fmla="*/ 101159 h 414642"/>
              <a:gd name="connsiteX76" fmla="*/ 101297 w 607639"/>
              <a:gd name="connsiteY76" fmla="*/ 91029 h 414642"/>
              <a:gd name="connsiteX77" fmla="*/ 70848 w 607639"/>
              <a:gd name="connsiteY77" fmla="*/ 20177 h 414642"/>
              <a:gd name="connsiteX78" fmla="*/ 60791 w 607639"/>
              <a:gd name="connsiteY78" fmla="*/ 30309 h 414642"/>
              <a:gd name="connsiteX79" fmla="*/ 60791 w 607639"/>
              <a:gd name="connsiteY79" fmla="*/ 343802 h 414642"/>
              <a:gd name="connsiteX80" fmla="*/ 222780 w 607639"/>
              <a:gd name="connsiteY80" fmla="*/ 343802 h 414642"/>
              <a:gd name="connsiteX81" fmla="*/ 232927 w 607639"/>
              <a:gd name="connsiteY81" fmla="*/ 353935 h 414642"/>
              <a:gd name="connsiteX82" fmla="*/ 232927 w 607639"/>
              <a:gd name="connsiteY82" fmla="*/ 364067 h 414642"/>
              <a:gd name="connsiteX83" fmla="*/ 374712 w 607639"/>
              <a:gd name="connsiteY83" fmla="*/ 364067 h 414642"/>
              <a:gd name="connsiteX84" fmla="*/ 374712 w 607639"/>
              <a:gd name="connsiteY84" fmla="*/ 353935 h 414642"/>
              <a:gd name="connsiteX85" fmla="*/ 384859 w 607639"/>
              <a:gd name="connsiteY85" fmla="*/ 343802 h 414642"/>
              <a:gd name="connsiteX86" fmla="*/ 546848 w 607639"/>
              <a:gd name="connsiteY86" fmla="*/ 343802 h 414642"/>
              <a:gd name="connsiteX87" fmla="*/ 546848 w 607639"/>
              <a:gd name="connsiteY87" fmla="*/ 30309 h 414642"/>
              <a:gd name="connsiteX88" fmla="*/ 536702 w 607639"/>
              <a:gd name="connsiteY88" fmla="*/ 20177 h 414642"/>
              <a:gd name="connsiteX89" fmla="*/ 70848 w 607639"/>
              <a:gd name="connsiteY89" fmla="*/ 0 h 414642"/>
              <a:gd name="connsiteX90" fmla="*/ 536702 w 607639"/>
              <a:gd name="connsiteY90" fmla="*/ 0 h 414642"/>
              <a:gd name="connsiteX91" fmla="*/ 567142 w 607639"/>
              <a:gd name="connsiteY91" fmla="*/ 30309 h 414642"/>
              <a:gd name="connsiteX92" fmla="*/ 567142 w 607639"/>
              <a:gd name="connsiteY92" fmla="*/ 343802 h 414642"/>
              <a:gd name="connsiteX93" fmla="*/ 597492 w 607639"/>
              <a:gd name="connsiteY93" fmla="*/ 343802 h 414642"/>
              <a:gd name="connsiteX94" fmla="*/ 607639 w 607639"/>
              <a:gd name="connsiteY94" fmla="*/ 353935 h 414642"/>
              <a:gd name="connsiteX95" fmla="*/ 607639 w 607639"/>
              <a:gd name="connsiteY95" fmla="*/ 384244 h 414642"/>
              <a:gd name="connsiteX96" fmla="*/ 577199 w 607639"/>
              <a:gd name="connsiteY96" fmla="*/ 414642 h 414642"/>
              <a:gd name="connsiteX97" fmla="*/ 30351 w 607639"/>
              <a:gd name="connsiteY97" fmla="*/ 414642 h 414642"/>
              <a:gd name="connsiteX98" fmla="*/ 0 w 607639"/>
              <a:gd name="connsiteY98" fmla="*/ 384244 h 414642"/>
              <a:gd name="connsiteX99" fmla="*/ 0 w 607639"/>
              <a:gd name="connsiteY99" fmla="*/ 353935 h 414642"/>
              <a:gd name="connsiteX100" fmla="*/ 10147 w 607639"/>
              <a:gd name="connsiteY100" fmla="*/ 343802 h 414642"/>
              <a:gd name="connsiteX101" fmla="*/ 40497 w 607639"/>
              <a:gd name="connsiteY101" fmla="*/ 343802 h 414642"/>
              <a:gd name="connsiteX102" fmla="*/ 40497 w 607639"/>
              <a:gd name="connsiteY102" fmla="*/ 30309 h 414642"/>
              <a:gd name="connsiteX103" fmla="*/ 70848 w 607639"/>
              <a:gd name="connsiteY103" fmla="*/ 0 h 4146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</a:cxnLst>
            <a:rect l="l" t="t" r="r" b="b"/>
            <a:pathLst>
              <a:path w="607639" h="414642">
                <a:moveTo>
                  <a:pt x="20293" y="364067"/>
                </a:moveTo>
                <a:lnTo>
                  <a:pt x="20293" y="384244"/>
                </a:lnTo>
                <a:cubicBezTo>
                  <a:pt x="20293" y="390377"/>
                  <a:pt x="24298" y="394377"/>
                  <a:pt x="30351" y="394377"/>
                </a:cubicBezTo>
                <a:lnTo>
                  <a:pt x="577199" y="394377"/>
                </a:lnTo>
                <a:cubicBezTo>
                  <a:pt x="583341" y="394377"/>
                  <a:pt x="587346" y="390377"/>
                  <a:pt x="587346" y="384244"/>
                </a:cubicBezTo>
                <a:lnTo>
                  <a:pt x="587346" y="364067"/>
                </a:lnTo>
                <a:lnTo>
                  <a:pt x="556995" y="364067"/>
                </a:lnTo>
                <a:lnTo>
                  <a:pt x="394916" y="364067"/>
                </a:lnTo>
                <a:lnTo>
                  <a:pt x="394916" y="374200"/>
                </a:lnTo>
                <a:cubicBezTo>
                  <a:pt x="394916" y="380244"/>
                  <a:pt x="390911" y="384244"/>
                  <a:pt x="384859" y="384244"/>
                </a:cubicBezTo>
                <a:lnTo>
                  <a:pt x="222780" y="384244"/>
                </a:lnTo>
                <a:cubicBezTo>
                  <a:pt x="216728" y="384244"/>
                  <a:pt x="212634" y="380244"/>
                  <a:pt x="212634" y="374200"/>
                </a:cubicBezTo>
                <a:lnTo>
                  <a:pt x="212634" y="364067"/>
                </a:lnTo>
                <a:lnTo>
                  <a:pt x="50644" y="364067"/>
                </a:lnTo>
                <a:close/>
                <a:moveTo>
                  <a:pt x="141754" y="232583"/>
                </a:moveTo>
                <a:lnTo>
                  <a:pt x="161961" y="232583"/>
                </a:lnTo>
                <a:cubicBezTo>
                  <a:pt x="168104" y="232583"/>
                  <a:pt x="172110" y="236584"/>
                  <a:pt x="172110" y="242719"/>
                </a:cubicBezTo>
                <a:cubicBezTo>
                  <a:pt x="172110" y="248764"/>
                  <a:pt x="168104" y="252765"/>
                  <a:pt x="161961" y="252765"/>
                </a:cubicBezTo>
                <a:lnTo>
                  <a:pt x="141754" y="252765"/>
                </a:lnTo>
                <a:cubicBezTo>
                  <a:pt x="135700" y="252765"/>
                  <a:pt x="131605" y="248764"/>
                  <a:pt x="131605" y="242719"/>
                </a:cubicBezTo>
                <a:cubicBezTo>
                  <a:pt x="131605" y="236584"/>
                  <a:pt x="135700" y="232583"/>
                  <a:pt x="141754" y="232583"/>
                </a:cubicBezTo>
                <a:close/>
                <a:moveTo>
                  <a:pt x="141758" y="192149"/>
                </a:moveTo>
                <a:lnTo>
                  <a:pt x="182279" y="192149"/>
                </a:lnTo>
                <a:cubicBezTo>
                  <a:pt x="188335" y="192149"/>
                  <a:pt x="192432" y="196150"/>
                  <a:pt x="192432" y="202196"/>
                </a:cubicBezTo>
                <a:cubicBezTo>
                  <a:pt x="192432" y="208330"/>
                  <a:pt x="188335" y="212331"/>
                  <a:pt x="182279" y="212331"/>
                </a:cubicBezTo>
                <a:lnTo>
                  <a:pt x="141758" y="212331"/>
                </a:lnTo>
                <a:cubicBezTo>
                  <a:pt x="135702" y="212331"/>
                  <a:pt x="131605" y="208330"/>
                  <a:pt x="131605" y="202196"/>
                </a:cubicBezTo>
                <a:cubicBezTo>
                  <a:pt x="131605" y="196150"/>
                  <a:pt x="135702" y="192149"/>
                  <a:pt x="141758" y="192149"/>
                </a:cubicBezTo>
                <a:close/>
                <a:moveTo>
                  <a:pt x="141754" y="151716"/>
                </a:moveTo>
                <a:lnTo>
                  <a:pt x="161961" y="151716"/>
                </a:lnTo>
                <a:cubicBezTo>
                  <a:pt x="168104" y="151716"/>
                  <a:pt x="172110" y="155717"/>
                  <a:pt x="172110" y="161763"/>
                </a:cubicBezTo>
                <a:cubicBezTo>
                  <a:pt x="172110" y="167897"/>
                  <a:pt x="168104" y="171898"/>
                  <a:pt x="161961" y="171898"/>
                </a:cubicBezTo>
                <a:lnTo>
                  <a:pt x="141754" y="171898"/>
                </a:lnTo>
                <a:cubicBezTo>
                  <a:pt x="135700" y="171898"/>
                  <a:pt x="131605" y="167897"/>
                  <a:pt x="131605" y="161763"/>
                </a:cubicBezTo>
                <a:cubicBezTo>
                  <a:pt x="131605" y="155717"/>
                  <a:pt x="135700" y="151716"/>
                  <a:pt x="141754" y="151716"/>
                </a:cubicBezTo>
                <a:close/>
                <a:moveTo>
                  <a:pt x="141758" y="111211"/>
                </a:moveTo>
                <a:lnTo>
                  <a:pt x="182279" y="111211"/>
                </a:lnTo>
                <a:cubicBezTo>
                  <a:pt x="188335" y="111211"/>
                  <a:pt x="192432" y="115297"/>
                  <a:pt x="192432" y="121337"/>
                </a:cubicBezTo>
                <a:cubicBezTo>
                  <a:pt x="192432" y="127377"/>
                  <a:pt x="188335" y="131463"/>
                  <a:pt x="182279" y="131463"/>
                </a:cubicBezTo>
                <a:lnTo>
                  <a:pt x="141758" y="131463"/>
                </a:lnTo>
                <a:cubicBezTo>
                  <a:pt x="135702" y="131463"/>
                  <a:pt x="131605" y="127377"/>
                  <a:pt x="131605" y="121337"/>
                </a:cubicBezTo>
                <a:cubicBezTo>
                  <a:pt x="131605" y="115297"/>
                  <a:pt x="135702" y="111211"/>
                  <a:pt x="141758" y="111211"/>
                </a:cubicBezTo>
                <a:close/>
                <a:moveTo>
                  <a:pt x="425367" y="101191"/>
                </a:moveTo>
                <a:lnTo>
                  <a:pt x="496228" y="101191"/>
                </a:lnTo>
                <a:cubicBezTo>
                  <a:pt x="502282" y="101191"/>
                  <a:pt x="506377" y="105189"/>
                  <a:pt x="506377" y="111231"/>
                </a:cubicBezTo>
                <a:lnTo>
                  <a:pt x="506377" y="182042"/>
                </a:lnTo>
                <a:cubicBezTo>
                  <a:pt x="506377" y="188084"/>
                  <a:pt x="502282" y="192171"/>
                  <a:pt x="496228" y="192171"/>
                </a:cubicBezTo>
                <a:cubicBezTo>
                  <a:pt x="490175" y="192171"/>
                  <a:pt x="486080" y="188084"/>
                  <a:pt x="486080" y="182042"/>
                </a:cubicBezTo>
                <a:lnTo>
                  <a:pt x="486080" y="135575"/>
                </a:lnTo>
                <a:lnTo>
                  <a:pt x="402043" y="219447"/>
                </a:lnTo>
                <a:cubicBezTo>
                  <a:pt x="399996" y="221491"/>
                  <a:pt x="397948" y="222468"/>
                  <a:pt x="394921" y="222468"/>
                </a:cubicBezTo>
                <a:cubicBezTo>
                  <a:pt x="391895" y="222468"/>
                  <a:pt x="389847" y="221491"/>
                  <a:pt x="387889" y="219447"/>
                </a:cubicBezTo>
                <a:lnTo>
                  <a:pt x="344268" y="176001"/>
                </a:lnTo>
                <a:lnTo>
                  <a:pt x="270380" y="249744"/>
                </a:lnTo>
                <a:cubicBezTo>
                  <a:pt x="268332" y="251788"/>
                  <a:pt x="266285" y="252765"/>
                  <a:pt x="263258" y="252765"/>
                </a:cubicBezTo>
                <a:cubicBezTo>
                  <a:pt x="260231" y="252765"/>
                  <a:pt x="258184" y="251788"/>
                  <a:pt x="256225" y="249744"/>
                </a:cubicBezTo>
                <a:cubicBezTo>
                  <a:pt x="252130" y="245746"/>
                  <a:pt x="252130" y="239616"/>
                  <a:pt x="256225" y="235617"/>
                </a:cubicBezTo>
                <a:lnTo>
                  <a:pt x="337235" y="154766"/>
                </a:lnTo>
                <a:cubicBezTo>
                  <a:pt x="337769" y="154233"/>
                  <a:pt x="338303" y="153789"/>
                  <a:pt x="338837" y="153433"/>
                </a:cubicBezTo>
                <a:cubicBezTo>
                  <a:pt x="339372" y="152989"/>
                  <a:pt x="339995" y="152723"/>
                  <a:pt x="340618" y="152456"/>
                </a:cubicBezTo>
                <a:cubicBezTo>
                  <a:pt x="340885" y="152367"/>
                  <a:pt x="341152" y="152190"/>
                  <a:pt x="341508" y="152101"/>
                </a:cubicBezTo>
                <a:cubicBezTo>
                  <a:pt x="342131" y="151923"/>
                  <a:pt x="342754" y="151834"/>
                  <a:pt x="343378" y="151745"/>
                </a:cubicBezTo>
                <a:cubicBezTo>
                  <a:pt x="343645" y="151745"/>
                  <a:pt x="344001" y="151745"/>
                  <a:pt x="344268" y="151745"/>
                </a:cubicBezTo>
                <a:cubicBezTo>
                  <a:pt x="344980" y="151745"/>
                  <a:pt x="345603" y="151745"/>
                  <a:pt x="346226" y="151923"/>
                </a:cubicBezTo>
                <a:cubicBezTo>
                  <a:pt x="348096" y="152278"/>
                  <a:pt x="349876" y="153256"/>
                  <a:pt x="351390" y="154766"/>
                </a:cubicBezTo>
                <a:lnTo>
                  <a:pt x="394921" y="198213"/>
                </a:lnTo>
                <a:lnTo>
                  <a:pt x="471925" y="121359"/>
                </a:lnTo>
                <a:lnTo>
                  <a:pt x="425367" y="121359"/>
                </a:lnTo>
                <a:cubicBezTo>
                  <a:pt x="419224" y="121359"/>
                  <a:pt x="415218" y="117361"/>
                  <a:pt x="415218" y="111231"/>
                </a:cubicBezTo>
                <a:cubicBezTo>
                  <a:pt x="415218" y="105189"/>
                  <a:pt x="419224" y="101191"/>
                  <a:pt x="425367" y="101191"/>
                </a:cubicBezTo>
                <a:close/>
                <a:moveTo>
                  <a:pt x="101297" y="91029"/>
                </a:moveTo>
                <a:cubicBezTo>
                  <a:pt x="107337" y="91029"/>
                  <a:pt x="111423" y="95028"/>
                  <a:pt x="111423" y="101159"/>
                </a:cubicBezTo>
                <a:lnTo>
                  <a:pt x="111423" y="262887"/>
                </a:lnTo>
                <a:cubicBezTo>
                  <a:pt x="111423" y="268929"/>
                  <a:pt x="107337" y="273017"/>
                  <a:pt x="101297" y="273017"/>
                </a:cubicBezTo>
                <a:cubicBezTo>
                  <a:pt x="95257" y="273017"/>
                  <a:pt x="91171" y="268929"/>
                  <a:pt x="91171" y="262887"/>
                </a:cubicBezTo>
                <a:lnTo>
                  <a:pt x="91171" y="101159"/>
                </a:lnTo>
                <a:cubicBezTo>
                  <a:pt x="91171" y="95028"/>
                  <a:pt x="95257" y="91029"/>
                  <a:pt x="101297" y="91029"/>
                </a:cubicBezTo>
                <a:close/>
                <a:moveTo>
                  <a:pt x="70848" y="20177"/>
                </a:moveTo>
                <a:cubicBezTo>
                  <a:pt x="64796" y="20177"/>
                  <a:pt x="60791" y="24265"/>
                  <a:pt x="60791" y="30309"/>
                </a:cubicBezTo>
                <a:lnTo>
                  <a:pt x="60791" y="343802"/>
                </a:lnTo>
                <a:lnTo>
                  <a:pt x="222780" y="343802"/>
                </a:lnTo>
                <a:cubicBezTo>
                  <a:pt x="228833" y="343802"/>
                  <a:pt x="232927" y="347890"/>
                  <a:pt x="232927" y="353935"/>
                </a:cubicBezTo>
                <a:lnTo>
                  <a:pt x="232927" y="364067"/>
                </a:lnTo>
                <a:lnTo>
                  <a:pt x="374712" y="364067"/>
                </a:lnTo>
                <a:lnTo>
                  <a:pt x="374712" y="353935"/>
                </a:lnTo>
                <a:cubicBezTo>
                  <a:pt x="374712" y="347890"/>
                  <a:pt x="378717" y="343802"/>
                  <a:pt x="384859" y="343802"/>
                </a:cubicBezTo>
                <a:lnTo>
                  <a:pt x="546848" y="343802"/>
                </a:lnTo>
                <a:lnTo>
                  <a:pt x="546848" y="30309"/>
                </a:lnTo>
                <a:cubicBezTo>
                  <a:pt x="546848" y="24265"/>
                  <a:pt x="542754" y="20177"/>
                  <a:pt x="536702" y="20177"/>
                </a:cubicBezTo>
                <a:close/>
                <a:moveTo>
                  <a:pt x="70848" y="0"/>
                </a:moveTo>
                <a:lnTo>
                  <a:pt x="536702" y="0"/>
                </a:lnTo>
                <a:cubicBezTo>
                  <a:pt x="553969" y="0"/>
                  <a:pt x="567142" y="13155"/>
                  <a:pt x="567142" y="30309"/>
                </a:cubicBezTo>
                <a:lnTo>
                  <a:pt x="567142" y="343802"/>
                </a:lnTo>
                <a:lnTo>
                  <a:pt x="597492" y="343802"/>
                </a:lnTo>
                <a:cubicBezTo>
                  <a:pt x="603545" y="343802"/>
                  <a:pt x="607639" y="347890"/>
                  <a:pt x="607639" y="353935"/>
                </a:cubicBezTo>
                <a:lnTo>
                  <a:pt x="607639" y="384244"/>
                </a:lnTo>
                <a:cubicBezTo>
                  <a:pt x="607639" y="401487"/>
                  <a:pt x="594466" y="414642"/>
                  <a:pt x="577199" y="414642"/>
                </a:cubicBezTo>
                <a:lnTo>
                  <a:pt x="30351" y="414642"/>
                </a:lnTo>
                <a:cubicBezTo>
                  <a:pt x="13173" y="414642"/>
                  <a:pt x="0" y="401487"/>
                  <a:pt x="0" y="384244"/>
                </a:cubicBezTo>
                <a:lnTo>
                  <a:pt x="0" y="353935"/>
                </a:lnTo>
                <a:cubicBezTo>
                  <a:pt x="0" y="347890"/>
                  <a:pt x="4094" y="343802"/>
                  <a:pt x="10147" y="343802"/>
                </a:cubicBezTo>
                <a:lnTo>
                  <a:pt x="40497" y="343802"/>
                </a:lnTo>
                <a:lnTo>
                  <a:pt x="40497" y="30309"/>
                </a:lnTo>
                <a:cubicBezTo>
                  <a:pt x="40497" y="13155"/>
                  <a:pt x="53670" y="0"/>
                  <a:pt x="70848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anchor="ctr"/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/>
          </a:p>
        </p:txBody>
      </p:sp>
      <p:sp>
        <p:nvSpPr>
          <p:cNvPr id="7" name="ïṥļîďè">
            <a:extLst>
              <a:ext uri="{FF2B5EF4-FFF2-40B4-BE49-F238E27FC236}">
                <a16:creationId xmlns:a16="http://schemas.microsoft.com/office/drawing/2014/main" id="{011CB847-FF85-49F3-AC12-1DDCB8C0B564}"/>
              </a:ext>
            </a:extLst>
          </p:cNvPr>
          <p:cNvSpPr/>
          <p:nvPr/>
        </p:nvSpPr>
        <p:spPr>
          <a:xfrm>
            <a:off x="6839968" y="5169934"/>
            <a:ext cx="4680520" cy="892503"/>
          </a:xfrm>
          <a:prstGeom prst="wedgeRectCallout">
            <a:avLst>
              <a:gd name="adj1" fmla="val -55809"/>
              <a:gd name="adj2" fmla="val -51955"/>
            </a:avLst>
          </a:prstGeom>
          <a:noFill/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rmAutofit/>
          </a:bodyPr>
          <a:lstStyle/>
          <a:p>
            <a:pPr algn="ctr"/>
            <a:endParaRPr lang="zh-CN" altLang="en-US" sz="2000" b="1" dirty="0"/>
          </a:p>
        </p:txBody>
      </p:sp>
      <p:sp>
        <p:nvSpPr>
          <p:cNvPr id="21" name="î$ḷíďé">
            <a:extLst>
              <a:ext uri="{FF2B5EF4-FFF2-40B4-BE49-F238E27FC236}">
                <a16:creationId xmlns:a16="http://schemas.microsoft.com/office/drawing/2014/main" id="{F01FDC16-17C5-4603-9B9B-1CA050AE6AEF}"/>
              </a:ext>
            </a:extLst>
          </p:cNvPr>
          <p:cNvSpPr/>
          <p:nvPr/>
        </p:nvSpPr>
        <p:spPr bwMode="auto">
          <a:xfrm>
            <a:off x="7106400" y="5333456"/>
            <a:ext cx="3691440" cy="6071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en-US" altLang="zh-CN" sz="900" dirty="0"/>
              <a:t>Supporting text here. </a:t>
            </a:r>
          </a:p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en-US" altLang="zh-CN" sz="900" dirty="0"/>
              <a:t>When you copy &amp; paste, choose "keep text only" option.</a:t>
            </a:r>
            <a:endParaRPr lang="zh-CN" altLang="en-US" sz="900" dirty="0"/>
          </a:p>
        </p:txBody>
      </p:sp>
      <p:sp>
        <p:nvSpPr>
          <p:cNvPr id="22" name="ïṡḻîḓê">
            <a:extLst>
              <a:ext uri="{FF2B5EF4-FFF2-40B4-BE49-F238E27FC236}">
                <a16:creationId xmlns:a16="http://schemas.microsoft.com/office/drawing/2014/main" id="{BE74D054-FDB7-47B5-9780-E8A122FCE98D}"/>
              </a:ext>
            </a:extLst>
          </p:cNvPr>
          <p:cNvSpPr txBox="1"/>
          <p:nvPr/>
        </p:nvSpPr>
        <p:spPr bwMode="auto">
          <a:xfrm>
            <a:off x="7106400" y="4966980"/>
            <a:ext cx="1190560" cy="369332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rIns="90000">
            <a:sp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1800" b="1" dirty="0">
                <a:solidFill>
                  <a:schemeClr val="accent3"/>
                </a:solidFill>
              </a:rPr>
              <a:t>Text here</a:t>
            </a:r>
          </a:p>
        </p:txBody>
      </p:sp>
      <p:sp>
        <p:nvSpPr>
          <p:cNvPr id="9" name="isḷîḑè">
            <a:extLst>
              <a:ext uri="{FF2B5EF4-FFF2-40B4-BE49-F238E27FC236}">
                <a16:creationId xmlns:a16="http://schemas.microsoft.com/office/drawing/2014/main" id="{FD1A9379-1EAA-4D2F-A3C5-EEB32168D3BD}"/>
              </a:ext>
            </a:extLst>
          </p:cNvPr>
          <p:cNvSpPr/>
          <p:nvPr/>
        </p:nvSpPr>
        <p:spPr>
          <a:xfrm>
            <a:off x="6839968" y="1444768"/>
            <a:ext cx="4680520" cy="892503"/>
          </a:xfrm>
          <a:prstGeom prst="wedgeRectCallout">
            <a:avLst>
              <a:gd name="adj1" fmla="val -62201"/>
              <a:gd name="adj2" fmla="val 75341"/>
            </a:avLst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rmAutofit/>
          </a:bodyPr>
          <a:lstStyle/>
          <a:p>
            <a:pPr algn="ctr"/>
            <a:endParaRPr lang="zh-CN" altLang="en-US" sz="2000" b="1" dirty="0"/>
          </a:p>
        </p:txBody>
      </p:sp>
      <p:sp>
        <p:nvSpPr>
          <p:cNvPr id="19" name="ïśḻïḑè">
            <a:extLst>
              <a:ext uri="{FF2B5EF4-FFF2-40B4-BE49-F238E27FC236}">
                <a16:creationId xmlns:a16="http://schemas.microsoft.com/office/drawing/2014/main" id="{E0C96EC4-928C-49A0-A1F2-9869EAF77971}"/>
              </a:ext>
            </a:extLst>
          </p:cNvPr>
          <p:cNvSpPr/>
          <p:nvPr/>
        </p:nvSpPr>
        <p:spPr bwMode="auto">
          <a:xfrm>
            <a:off x="7106400" y="1608290"/>
            <a:ext cx="3691440" cy="6071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en-US" altLang="zh-CN" sz="900" dirty="0"/>
              <a:t>Supporting text here. </a:t>
            </a:r>
          </a:p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en-US" altLang="zh-CN" sz="900" dirty="0"/>
              <a:t>When you copy &amp; paste, choose "keep text only" option.</a:t>
            </a:r>
            <a:endParaRPr lang="zh-CN" altLang="en-US" sz="900" dirty="0"/>
          </a:p>
        </p:txBody>
      </p:sp>
      <p:sp>
        <p:nvSpPr>
          <p:cNvPr id="20" name="íslîďe">
            <a:extLst>
              <a:ext uri="{FF2B5EF4-FFF2-40B4-BE49-F238E27FC236}">
                <a16:creationId xmlns:a16="http://schemas.microsoft.com/office/drawing/2014/main" id="{856FFC93-E1EB-43AE-9B2F-A0E6C2250C0F}"/>
              </a:ext>
            </a:extLst>
          </p:cNvPr>
          <p:cNvSpPr txBox="1"/>
          <p:nvPr/>
        </p:nvSpPr>
        <p:spPr bwMode="auto">
          <a:xfrm>
            <a:off x="7106400" y="1241814"/>
            <a:ext cx="1190560" cy="369332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rIns="90000">
            <a:sp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1800" b="1" dirty="0">
                <a:solidFill>
                  <a:schemeClr val="accent1"/>
                </a:solidFill>
              </a:rPr>
              <a:t>Text here</a:t>
            </a:r>
          </a:p>
        </p:txBody>
      </p:sp>
      <p:sp>
        <p:nvSpPr>
          <p:cNvPr id="11" name="íśḷiḑê" title="LjXxPfK7a53MF99">
            <a:extLst>
              <a:ext uri="{FF2B5EF4-FFF2-40B4-BE49-F238E27FC236}">
                <a16:creationId xmlns:a16="http://schemas.microsoft.com/office/drawing/2014/main" id="{234BF4AF-6190-4993-87E7-083627691417}"/>
              </a:ext>
            </a:extLst>
          </p:cNvPr>
          <p:cNvSpPr/>
          <p:nvPr/>
        </p:nvSpPr>
        <p:spPr bwMode="auto">
          <a:xfrm>
            <a:off x="708250" y="2032009"/>
            <a:ext cx="773420" cy="543486"/>
          </a:xfrm>
          <a:custGeom>
            <a:avLst/>
            <a:gdLst>
              <a:gd name="connsiteX0" fmla="*/ 450100 w 607639"/>
              <a:gd name="connsiteY0" fmla="*/ 313203 h 426991"/>
              <a:gd name="connsiteX1" fmla="*/ 450100 w 607639"/>
              <a:gd name="connsiteY1" fmla="*/ 403167 h 426991"/>
              <a:gd name="connsiteX2" fmla="*/ 585744 w 607639"/>
              <a:gd name="connsiteY2" fmla="*/ 403167 h 426991"/>
              <a:gd name="connsiteX3" fmla="*/ 586100 w 607639"/>
              <a:gd name="connsiteY3" fmla="*/ 313203 h 426991"/>
              <a:gd name="connsiteX4" fmla="*/ 530294 w 607639"/>
              <a:gd name="connsiteY4" fmla="*/ 313203 h 426991"/>
              <a:gd name="connsiteX5" fmla="*/ 530116 w 607639"/>
              <a:gd name="connsiteY5" fmla="*/ 313203 h 426991"/>
              <a:gd name="connsiteX6" fmla="*/ 529760 w 607639"/>
              <a:gd name="connsiteY6" fmla="*/ 313203 h 426991"/>
              <a:gd name="connsiteX7" fmla="*/ 450901 w 607639"/>
              <a:gd name="connsiteY7" fmla="*/ 313203 h 426991"/>
              <a:gd name="connsiteX8" fmla="*/ 236309 w 607639"/>
              <a:gd name="connsiteY8" fmla="*/ 313203 h 426991"/>
              <a:gd name="connsiteX9" fmla="*/ 236309 w 607639"/>
              <a:gd name="connsiteY9" fmla="*/ 403167 h 426991"/>
              <a:gd name="connsiteX10" fmla="*/ 371953 w 607639"/>
              <a:gd name="connsiteY10" fmla="*/ 403167 h 426991"/>
              <a:gd name="connsiteX11" fmla="*/ 372754 w 607639"/>
              <a:gd name="connsiteY11" fmla="*/ 313203 h 426991"/>
              <a:gd name="connsiteX12" fmla="*/ 237110 w 607639"/>
              <a:gd name="connsiteY12" fmla="*/ 313203 h 426991"/>
              <a:gd name="connsiteX13" fmla="*/ 22519 w 607639"/>
              <a:gd name="connsiteY13" fmla="*/ 313203 h 426991"/>
              <a:gd name="connsiteX14" fmla="*/ 22519 w 607639"/>
              <a:gd name="connsiteY14" fmla="*/ 403167 h 426991"/>
              <a:gd name="connsiteX15" fmla="*/ 158163 w 607639"/>
              <a:gd name="connsiteY15" fmla="*/ 403167 h 426991"/>
              <a:gd name="connsiteX16" fmla="*/ 158964 w 607639"/>
              <a:gd name="connsiteY16" fmla="*/ 313203 h 426991"/>
              <a:gd name="connsiteX17" fmla="*/ 91498 w 607639"/>
              <a:gd name="connsiteY17" fmla="*/ 313203 h 426991"/>
              <a:gd name="connsiteX18" fmla="*/ 91231 w 607639"/>
              <a:gd name="connsiteY18" fmla="*/ 313203 h 426991"/>
              <a:gd name="connsiteX19" fmla="*/ 90964 w 607639"/>
              <a:gd name="connsiteY19" fmla="*/ 313203 h 426991"/>
              <a:gd name="connsiteX20" fmla="*/ 23320 w 607639"/>
              <a:gd name="connsiteY20" fmla="*/ 313203 h 426991"/>
              <a:gd name="connsiteX21" fmla="*/ 91409 w 607639"/>
              <a:gd name="connsiteY21" fmla="*/ 224751 h 426991"/>
              <a:gd name="connsiteX22" fmla="*/ 530294 w 607639"/>
              <a:gd name="connsiteY22" fmla="*/ 224751 h 426991"/>
              <a:gd name="connsiteX23" fmla="*/ 540084 w 607639"/>
              <a:gd name="connsiteY23" fmla="*/ 234530 h 426991"/>
              <a:gd name="connsiteX24" fmla="*/ 540084 w 607639"/>
              <a:gd name="connsiteY24" fmla="*/ 292135 h 426991"/>
              <a:gd name="connsiteX25" fmla="*/ 586456 w 607639"/>
              <a:gd name="connsiteY25" fmla="*/ 292135 h 426991"/>
              <a:gd name="connsiteX26" fmla="*/ 607639 w 607639"/>
              <a:gd name="connsiteY26" fmla="*/ 313203 h 426991"/>
              <a:gd name="connsiteX27" fmla="*/ 607639 w 607639"/>
              <a:gd name="connsiteY27" fmla="*/ 403167 h 426991"/>
              <a:gd name="connsiteX28" fmla="*/ 586456 w 607639"/>
              <a:gd name="connsiteY28" fmla="*/ 426991 h 426991"/>
              <a:gd name="connsiteX29" fmla="*/ 451524 w 607639"/>
              <a:gd name="connsiteY29" fmla="*/ 426991 h 426991"/>
              <a:gd name="connsiteX30" fmla="*/ 427582 w 607639"/>
              <a:gd name="connsiteY30" fmla="*/ 403167 h 426991"/>
              <a:gd name="connsiteX31" fmla="*/ 427582 w 607639"/>
              <a:gd name="connsiteY31" fmla="*/ 313203 h 426991"/>
              <a:gd name="connsiteX32" fmla="*/ 451524 w 607639"/>
              <a:gd name="connsiteY32" fmla="*/ 292135 h 426991"/>
              <a:gd name="connsiteX33" fmla="*/ 517566 w 607639"/>
              <a:gd name="connsiteY33" fmla="*/ 292135 h 426991"/>
              <a:gd name="connsiteX34" fmla="*/ 517566 w 607639"/>
              <a:gd name="connsiteY34" fmla="*/ 247242 h 426991"/>
              <a:gd name="connsiteX35" fmla="*/ 315079 w 607639"/>
              <a:gd name="connsiteY35" fmla="*/ 247242 h 426991"/>
              <a:gd name="connsiteX36" fmla="*/ 315079 w 607639"/>
              <a:gd name="connsiteY36" fmla="*/ 292135 h 426991"/>
              <a:gd name="connsiteX37" fmla="*/ 372665 w 607639"/>
              <a:gd name="connsiteY37" fmla="*/ 292135 h 426991"/>
              <a:gd name="connsiteX38" fmla="*/ 393849 w 607639"/>
              <a:gd name="connsiteY38" fmla="*/ 313203 h 426991"/>
              <a:gd name="connsiteX39" fmla="*/ 393849 w 607639"/>
              <a:gd name="connsiteY39" fmla="*/ 403167 h 426991"/>
              <a:gd name="connsiteX40" fmla="*/ 372665 w 607639"/>
              <a:gd name="connsiteY40" fmla="*/ 426991 h 426991"/>
              <a:gd name="connsiteX41" fmla="*/ 237733 w 607639"/>
              <a:gd name="connsiteY41" fmla="*/ 426991 h 426991"/>
              <a:gd name="connsiteX42" fmla="*/ 213791 w 607639"/>
              <a:gd name="connsiteY42" fmla="*/ 403167 h 426991"/>
              <a:gd name="connsiteX43" fmla="*/ 213791 w 607639"/>
              <a:gd name="connsiteY43" fmla="*/ 313203 h 426991"/>
              <a:gd name="connsiteX44" fmla="*/ 237733 w 607639"/>
              <a:gd name="connsiteY44" fmla="*/ 292135 h 426991"/>
              <a:gd name="connsiteX45" fmla="*/ 292561 w 607639"/>
              <a:gd name="connsiteY45" fmla="*/ 292135 h 426991"/>
              <a:gd name="connsiteX46" fmla="*/ 292561 w 607639"/>
              <a:gd name="connsiteY46" fmla="*/ 247242 h 426991"/>
              <a:gd name="connsiteX47" fmla="*/ 101288 w 607639"/>
              <a:gd name="connsiteY47" fmla="*/ 247242 h 426991"/>
              <a:gd name="connsiteX48" fmla="*/ 101288 w 607639"/>
              <a:gd name="connsiteY48" fmla="*/ 292135 h 426991"/>
              <a:gd name="connsiteX49" fmla="*/ 158875 w 607639"/>
              <a:gd name="connsiteY49" fmla="*/ 292135 h 426991"/>
              <a:gd name="connsiteX50" fmla="*/ 180058 w 607639"/>
              <a:gd name="connsiteY50" fmla="*/ 313203 h 426991"/>
              <a:gd name="connsiteX51" fmla="*/ 180058 w 607639"/>
              <a:gd name="connsiteY51" fmla="*/ 403167 h 426991"/>
              <a:gd name="connsiteX52" fmla="*/ 158875 w 607639"/>
              <a:gd name="connsiteY52" fmla="*/ 426991 h 426991"/>
              <a:gd name="connsiteX53" fmla="*/ 24032 w 607639"/>
              <a:gd name="connsiteY53" fmla="*/ 426991 h 426991"/>
              <a:gd name="connsiteX54" fmla="*/ 0 w 607639"/>
              <a:gd name="connsiteY54" fmla="*/ 403167 h 426991"/>
              <a:gd name="connsiteX55" fmla="*/ 0 w 607639"/>
              <a:gd name="connsiteY55" fmla="*/ 313203 h 426991"/>
              <a:gd name="connsiteX56" fmla="*/ 24032 w 607639"/>
              <a:gd name="connsiteY56" fmla="*/ 292135 h 426991"/>
              <a:gd name="connsiteX57" fmla="*/ 78770 w 607639"/>
              <a:gd name="connsiteY57" fmla="*/ 292135 h 426991"/>
              <a:gd name="connsiteX58" fmla="*/ 78770 w 607639"/>
              <a:gd name="connsiteY58" fmla="*/ 234530 h 426991"/>
              <a:gd name="connsiteX59" fmla="*/ 91409 w 607639"/>
              <a:gd name="connsiteY59" fmla="*/ 224751 h 426991"/>
              <a:gd name="connsiteX60" fmla="*/ 236326 w 607639"/>
              <a:gd name="connsiteY60" fmla="*/ 21066 h 426991"/>
              <a:gd name="connsiteX61" fmla="*/ 236326 w 607639"/>
              <a:gd name="connsiteY61" fmla="*/ 111021 h 426991"/>
              <a:gd name="connsiteX62" fmla="*/ 371758 w 607639"/>
              <a:gd name="connsiteY62" fmla="*/ 111021 h 426991"/>
              <a:gd name="connsiteX63" fmla="*/ 372380 w 607639"/>
              <a:gd name="connsiteY63" fmla="*/ 21066 h 426991"/>
              <a:gd name="connsiteX64" fmla="*/ 237127 w 607639"/>
              <a:gd name="connsiteY64" fmla="*/ 21066 h 426991"/>
              <a:gd name="connsiteX65" fmla="*/ 237750 w 607639"/>
              <a:gd name="connsiteY65" fmla="*/ 0 h 426991"/>
              <a:gd name="connsiteX66" fmla="*/ 372647 w 607639"/>
              <a:gd name="connsiteY66" fmla="*/ 0 h 426991"/>
              <a:gd name="connsiteX67" fmla="*/ 393825 w 607639"/>
              <a:gd name="connsiteY67" fmla="*/ 21066 h 426991"/>
              <a:gd name="connsiteX68" fmla="*/ 393825 w 607639"/>
              <a:gd name="connsiteY68" fmla="*/ 111021 h 426991"/>
              <a:gd name="connsiteX69" fmla="*/ 372647 w 607639"/>
              <a:gd name="connsiteY69" fmla="*/ 134843 h 426991"/>
              <a:gd name="connsiteX70" fmla="*/ 315076 w 607639"/>
              <a:gd name="connsiteY70" fmla="*/ 134843 h 426991"/>
              <a:gd name="connsiteX71" fmla="*/ 315076 w 607639"/>
              <a:gd name="connsiteY71" fmla="*/ 191020 h 426991"/>
              <a:gd name="connsiteX72" fmla="*/ 292563 w 607639"/>
              <a:gd name="connsiteY72" fmla="*/ 191020 h 426991"/>
              <a:gd name="connsiteX73" fmla="*/ 292563 w 607639"/>
              <a:gd name="connsiteY73" fmla="*/ 134843 h 426991"/>
              <a:gd name="connsiteX74" fmla="*/ 237750 w 607639"/>
              <a:gd name="connsiteY74" fmla="*/ 134843 h 426991"/>
              <a:gd name="connsiteX75" fmla="*/ 213813 w 607639"/>
              <a:gd name="connsiteY75" fmla="*/ 111021 h 426991"/>
              <a:gd name="connsiteX76" fmla="*/ 213813 w 607639"/>
              <a:gd name="connsiteY76" fmla="*/ 21066 h 426991"/>
              <a:gd name="connsiteX77" fmla="*/ 237750 w 607639"/>
              <a:gd name="connsiteY77" fmla="*/ 0 h 4269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</a:cxnLst>
            <a:rect l="l" t="t" r="r" b="b"/>
            <a:pathLst>
              <a:path w="607639" h="426991">
                <a:moveTo>
                  <a:pt x="450100" y="313203"/>
                </a:moveTo>
                <a:lnTo>
                  <a:pt x="450100" y="403167"/>
                </a:lnTo>
                <a:lnTo>
                  <a:pt x="585744" y="403167"/>
                </a:lnTo>
                <a:lnTo>
                  <a:pt x="586100" y="313203"/>
                </a:lnTo>
                <a:lnTo>
                  <a:pt x="530294" y="313203"/>
                </a:lnTo>
                <a:cubicBezTo>
                  <a:pt x="530294" y="313203"/>
                  <a:pt x="530116" y="313203"/>
                  <a:pt x="530116" y="313203"/>
                </a:cubicBezTo>
                <a:cubicBezTo>
                  <a:pt x="530027" y="313203"/>
                  <a:pt x="529849" y="313203"/>
                  <a:pt x="529760" y="313203"/>
                </a:cubicBezTo>
                <a:lnTo>
                  <a:pt x="450901" y="313203"/>
                </a:lnTo>
                <a:close/>
                <a:moveTo>
                  <a:pt x="236309" y="313203"/>
                </a:moveTo>
                <a:lnTo>
                  <a:pt x="236309" y="403167"/>
                </a:lnTo>
                <a:lnTo>
                  <a:pt x="371953" y="403167"/>
                </a:lnTo>
                <a:lnTo>
                  <a:pt x="372754" y="313203"/>
                </a:lnTo>
                <a:lnTo>
                  <a:pt x="237110" y="313203"/>
                </a:lnTo>
                <a:close/>
                <a:moveTo>
                  <a:pt x="22519" y="313203"/>
                </a:moveTo>
                <a:lnTo>
                  <a:pt x="22519" y="403167"/>
                </a:lnTo>
                <a:lnTo>
                  <a:pt x="158163" y="403167"/>
                </a:lnTo>
                <a:lnTo>
                  <a:pt x="158964" y="313203"/>
                </a:lnTo>
                <a:lnTo>
                  <a:pt x="91498" y="313203"/>
                </a:lnTo>
                <a:cubicBezTo>
                  <a:pt x="91409" y="313203"/>
                  <a:pt x="91320" y="313203"/>
                  <a:pt x="91231" y="313203"/>
                </a:cubicBezTo>
                <a:cubicBezTo>
                  <a:pt x="91231" y="313203"/>
                  <a:pt x="90964" y="313203"/>
                  <a:pt x="90964" y="313203"/>
                </a:cubicBezTo>
                <a:lnTo>
                  <a:pt x="23320" y="313203"/>
                </a:lnTo>
                <a:close/>
                <a:moveTo>
                  <a:pt x="91409" y="224751"/>
                </a:moveTo>
                <a:lnTo>
                  <a:pt x="530294" y="224751"/>
                </a:lnTo>
                <a:cubicBezTo>
                  <a:pt x="536435" y="224751"/>
                  <a:pt x="540084" y="228396"/>
                  <a:pt x="540084" y="234530"/>
                </a:cubicBezTo>
                <a:lnTo>
                  <a:pt x="540084" y="292135"/>
                </a:lnTo>
                <a:lnTo>
                  <a:pt x="586456" y="292135"/>
                </a:lnTo>
                <a:cubicBezTo>
                  <a:pt x="598917" y="292135"/>
                  <a:pt x="607639" y="300847"/>
                  <a:pt x="607639" y="313203"/>
                </a:cubicBezTo>
                <a:lnTo>
                  <a:pt x="607639" y="403167"/>
                </a:lnTo>
                <a:cubicBezTo>
                  <a:pt x="607639" y="415524"/>
                  <a:pt x="598917" y="426991"/>
                  <a:pt x="586456" y="426991"/>
                </a:cubicBezTo>
                <a:lnTo>
                  <a:pt x="451524" y="426991"/>
                </a:lnTo>
                <a:cubicBezTo>
                  <a:pt x="439152" y="426991"/>
                  <a:pt x="427582" y="415524"/>
                  <a:pt x="427582" y="403167"/>
                </a:cubicBezTo>
                <a:lnTo>
                  <a:pt x="427582" y="313203"/>
                </a:lnTo>
                <a:cubicBezTo>
                  <a:pt x="427582" y="300847"/>
                  <a:pt x="439152" y="292135"/>
                  <a:pt x="451524" y="292135"/>
                </a:cubicBezTo>
                <a:lnTo>
                  <a:pt x="517566" y="292135"/>
                </a:lnTo>
                <a:lnTo>
                  <a:pt x="517566" y="247242"/>
                </a:lnTo>
                <a:lnTo>
                  <a:pt x="315079" y="247242"/>
                </a:lnTo>
                <a:lnTo>
                  <a:pt x="315079" y="292135"/>
                </a:lnTo>
                <a:lnTo>
                  <a:pt x="372665" y="292135"/>
                </a:lnTo>
                <a:cubicBezTo>
                  <a:pt x="385126" y="292135"/>
                  <a:pt x="393849" y="300847"/>
                  <a:pt x="393849" y="313203"/>
                </a:cubicBezTo>
                <a:lnTo>
                  <a:pt x="393849" y="403167"/>
                </a:lnTo>
                <a:cubicBezTo>
                  <a:pt x="393849" y="415524"/>
                  <a:pt x="385126" y="426991"/>
                  <a:pt x="372665" y="426991"/>
                </a:cubicBezTo>
                <a:lnTo>
                  <a:pt x="237733" y="426991"/>
                </a:lnTo>
                <a:cubicBezTo>
                  <a:pt x="225362" y="426991"/>
                  <a:pt x="213791" y="415524"/>
                  <a:pt x="213791" y="403167"/>
                </a:cubicBezTo>
                <a:lnTo>
                  <a:pt x="213791" y="313203"/>
                </a:lnTo>
                <a:cubicBezTo>
                  <a:pt x="213791" y="300847"/>
                  <a:pt x="225362" y="292135"/>
                  <a:pt x="237733" y="292135"/>
                </a:cubicBezTo>
                <a:lnTo>
                  <a:pt x="292561" y="292135"/>
                </a:lnTo>
                <a:lnTo>
                  <a:pt x="292561" y="247242"/>
                </a:lnTo>
                <a:lnTo>
                  <a:pt x="101288" y="247242"/>
                </a:lnTo>
                <a:lnTo>
                  <a:pt x="101288" y="292135"/>
                </a:lnTo>
                <a:lnTo>
                  <a:pt x="158875" y="292135"/>
                </a:lnTo>
                <a:cubicBezTo>
                  <a:pt x="171335" y="292135"/>
                  <a:pt x="180058" y="300847"/>
                  <a:pt x="180058" y="313203"/>
                </a:cubicBezTo>
                <a:lnTo>
                  <a:pt x="180058" y="403167"/>
                </a:lnTo>
                <a:cubicBezTo>
                  <a:pt x="180058" y="415524"/>
                  <a:pt x="171335" y="426991"/>
                  <a:pt x="158875" y="426991"/>
                </a:cubicBezTo>
                <a:lnTo>
                  <a:pt x="24032" y="426991"/>
                </a:lnTo>
                <a:cubicBezTo>
                  <a:pt x="11571" y="426991"/>
                  <a:pt x="0" y="415524"/>
                  <a:pt x="0" y="403167"/>
                </a:cubicBezTo>
                <a:lnTo>
                  <a:pt x="0" y="313203"/>
                </a:lnTo>
                <a:cubicBezTo>
                  <a:pt x="0" y="300847"/>
                  <a:pt x="11571" y="292135"/>
                  <a:pt x="24032" y="292135"/>
                </a:cubicBezTo>
                <a:lnTo>
                  <a:pt x="78770" y="292135"/>
                </a:lnTo>
                <a:lnTo>
                  <a:pt x="78770" y="234530"/>
                </a:lnTo>
                <a:cubicBezTo>
                  <a:pt x="78770" y="228396"/>
                  <a:pt x="85178" y="224751"/>
                  <a:pt x="91409" y="224751"/>
                </a:cubicBezTo>
                <a:close/>
                <a:moveTo>
                  <a:pt x="236326" y="21066"/>
                </a:moveTo>
                <a:lnTo>
                  <a:pt x="236326" y="111021"/>
                </a:lnTo>
                <a:lnTo>
                  <a:pt x="371758" y="111021"/>
                </a:lnTo>
                <a:lnTo>
                  <a:pt x="372380" y="21066"/>
                </a:lnTo>
                <a:lnTo>
                  <a:pt x="237127" y="21066"/>
                </a:lnTo>
                <a:close/>
                <a:moveTo>
                  <a:pt x="237750" y="0"/>
                </a:moveTo>
                <a:lnTo>
                  <a:pt x="372647" y="0"/>
                </a:lnTo>
                <a:cubicBezTo>
                  <a:pt x="385105" y="0"/>
                  <a:pt x="393825" y="8711"/>
                  <a:pt x="393825" y="21066"/>
                </a:cubicBezTo>
                <a:lnTo>
                  <a:pt x="393825" y="111021"/>
                </a:lnTo>
                <a:cubicBezTo>
                  <a:pt x="393825" y="123376"/>
                  <a:pt x="385105" y="134843"/>
                  <a:pt x="372647" y="134843"/>
                </a:cubicBezTo>
                <a:lnTo>
                  <a:pt x="315076" y="134843"/>
                </a:lnTo>
                <a:lnTo>
                  <a:pt x="315076" y="191020"/>
                </a:lnTo>
                <a:lnTo>
                  <a:pt x="292563" y="191020"/>
                </a:lnTo>
                <a:lnTo>
                  <a:pt x="292563" y="134843"/>
                </a:lnTo>
                <a:lnTo>
                  <a:pt x="237750" y="134843"/>
                </a:lnTo>
                <a:cubicBezTo>
                  <a:pt x="225381" y="134843"/>
                  <a:pt x="213813" y="123376"/>
                  <a:pt x="213813" y="111021"/>
                </a:cubicBezTo>
                <a:lnTo>
                  <a:pt x="213813" y="21066"/>
                </a:lnTo>
                <a:cubicBezTo>
                  <a:pt x="213813" y="8711"/>
                  <a:pt x="225381" y="0"/>
                  <a:pt x="237750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anchor="ctr"/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/>
          </a:p>
        </p:txBody>
      </p:sp>
      <p:cxnSp>
        <p:nvCxnSpPr>
          <p:cNvPr id="12" name="直接连接符 11">
            <a:extLst>
              <a:ext uri="{FF2B5EF4-FFF2-40B4-BE49-F238E27FC236}">
                <a16:creationId xmlns:a16="http://schemas.microsoft.com/office/drawing/2014/main" id="{83E505B3-1DFE-4C1E-A9A7-B1995DCB19F6}"/>
              </a:ext>
            </a:extLst>
          </p:cNvPr>
          <p:cNvCxnSpPr/>
          <p:nvPr/>
        </p:nvCxnSpPr>
        <p:spPr>
          <a:xfrm>
            <a:off x="708250" y="3474720"/>
            <a:ext cx="6018164" cy="0"/>
          </a:xfrm>
          <a:prstGeom prst="line">
            <a:avLst/>
          </a:prstGeom>
          <a:ln w="3175" cap="rnd">
            <a:solidFill>
              <a:schemeClr val="bg1">
                <a:lumMod val="8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ïṧ1ide">
            <a:extLst>
              <a:ext uri="{FF2B5EF4-FFF2-40B4-BE49-F238E27FC236}">
                <a16:creationId xmlns:a16="http://schemas.microsoft.com/office/drawing/2014/main" id="{D38224B9-F348-4642-AC12-77849FB0C292}"/>
              </a:ext>
            </a:extLst>
          </p:cNvPr>
          <p:cNvSpPr/>
          <p:nvPr/>
        </p:nvSpPr>
        <p:spPr>
          <a:xfrm>
            <a:off x="1523036" y="2140444"/>
            <a:ext cx="5583364" cy="11331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90000" anchor="t" anchorCtr="0">
            <a:normAutofit/>
          </a:bodyPr>
          <a:lstStyle/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/>
              <a:t>Unified fonts make reading more fluent.</a:t>
            </a:r>
          </a:p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/>
              <a:t>Theme color makes PPT more convenient to change.</a:t>
            </a:r>
          </a:p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/>
              <a:t>Adjust the spacing to adapt to Chinese typesetting, use the reference line in PPT.</a:t>
            </a:r>
          </a:p>
        </p:txBody>
      </p:sp>
      <p:sp>
        <p:nvSpPr>
          <p:cNvPr id="18" name="ïsļíḋè">
            <a:extLst>
              <a:ext uri="{FF2B5EF4-FFF2-40B4-BE49-F238E27FC236}">
                <a16:creationId xmlns:a16="http://schemas.microsoft.com/office/drawing/2014/main" id="{BE572776-73AA-4300-A5D8-248CB56C5A32}"/>
              </a:ext>
            </a:extLst>
          </p:cNvPr>
          <p:cNvSpPr txBox="1"/>
          <p:nvPr/>
        </p:nvSpPr>
        <p:spPr bwMode="auto">
          <a:xfrm>
            <a:off x="1523036" y="1698639"/>
            <a:ext cx="5583364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2000" b="1" dirty="0"/>
              <a:t>Text here</a:t>
            </a:r>
          </a:p>
        </p:txBody>
      </p:sp>
      <p:sp>
        <p:nvSpPr>
          <p:cNvPr id="15" name="i$ḻiḓé">
            <a:extLst>
              <a:ext uri="{FF2B5EF4-FFF2-40B4-BE49-F238E27FC236}">
                <a16:creationId xmlns:a16="http://schemas.microsoft.com/office/drawing/2014/main" id="{B3362B93-F470-49FC-BACD-E1F38893FEFD}"/>
              </a:ext>
            </a:extLst>
          </p:cNvPr>
          <p:cNvSpPr/>
          <p:nvPr/>
        </p:nvSpPr>
        <p:spPr>
          <a:xfrm>
            <a:off x="1523036" y="4200261"/>
            <a:ext cx="5583364" cy="11331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90000" anchor="t" anchorCtr="0">
            <a:normAutofit/>
          </a:bodyPr>
          <a:lstStyle/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/>
              <a:t>Unified fonts make reading more fluent.</a:t>
            </a:r>
          </a:p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/>
              <a:t>Theme color makes PPT more convenient to change.</a:t>
            </a:r>
          </a:p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/>
              <a:t>Adjust the spacing to adapt to Chinese typesetting, use the reference line in PPT.</a:t>
            </a:r>
          </a:p>
        </p:txBody>
      </p:sp>
      <p:sp>
        <p:nvSpPr>
          <p:cNvPr id="16" name="íṣļídê">
            <a:extLst>
              <a:ext uri="{FF2B5EF4-FFF2-40B4-BE49-F238E27FC236}">
                <a16:creationId xmlns:a16="http://schemas.microsoft.com/office/drawing/2014/main" id="{28FB6897-293D-4F91-9B85-401236EC3C34}"/>
              </a:ext>
            </a:extLst>
          </p:cNvPr>
          <p:cNvSpPr txBox="1"/>
          <p:nvPr/>
        </p:nvSpPr>
        <p:spPr bwMode="auto">
          <a:xfrm>
            <a:off x="1523036" y="3758456"/>
            <a:ext cx="5583364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2000" b="1" dirty="0"/>
              <a:t>Text here</a:t>
            </a:r>
          </a:p>
        </p:txBody>
      </p:sp>
    </p:spTree>
    <p:extLst>
      <p:ext uri="{BB962C8B-B14F-4D97-AF65-F5344CB8AC3E}">
        <p14:creationId xmlns:p14="http://schemas.microsoft.com/office/powerpoint/2010/main" val="177730566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研究成果与应用前景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 dirty="0"/>
              <a:t>Supporting text here.</a:t>
            </a:r>
          </a:p>
          <a:p>
            <a:pPr lvl="0"/>
            <a:r>
              <a:rPr lang="en-US" altLang="zh-CN" dirty="0"/>
              <a:t>When you copy &amp; paste, choose "keep text only" option.</a:t>
            </a:r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2549768" y="2031279"/>
            <a:ext cx="890213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4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535936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íṧļiḓé">
            <a:extLst>
              <a:ext uri="{FF2B5EF4-FFF2-40B4-BE49-F238E27FC236}">
                <a16:creationId xmlns:a16="http://schemas.microsoft.com/office/drawing/2014/main" id="{F69DDA6E-7104-4378-90B8-768FAAE6E0C4}"/>
              </a:ext>
            </a:extLst>
          </p:cNvPr>
          <p:cNvSpPr/>
          <p:nvPr/>
        </p:nvSpPr>
        <p:spPr>
          <a:xfrm>
            <a:off x="3685675" y="2245233"/>
            <a:ext cx="5533466" cy="3407108"/>
          </a:xfrm>
          <a:custGeom>
            <a:avLst/>
            <a:gdLst>
              <a:gd name="connsiteX0" fmla="*/ 0 w 4551452"/>
              <a:gd name="connsiteY0" fmla="*/ 0 h 4243227"/>
              <a:gd name="connsiteX1" fmla="*/ 0 w 4551452"/>
              <a:gd name="connsiteY1" fmla="*/ 4243227 h 4243227"/>
              <a:gd name="connsiteX2" fmla="*/ 4551452 w 4551452"/>
              <a:gd name="connsiteY2" fmla="*/ 4243227 h 42432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551452" h="4243227">
                <a:moveTo>
                  <a:pt x="0" y="0"/>
                </a:moveTo>
                <a:lnTo>
                  <a:pt x="0" y="4243227"/>
                </a:lnTo>
                <a:lnTo>
                  <a:pt x="4551452" y="4243227"/>
                </a:lnTo>
              </a:path>
            </a:pathLst>
          </a:custGeom>
          <a:noFill/>
          <a:ln w="28575">
            <a:solidFill>
              <a:schemeClr val="tx1">
                <a:lumMod val="40000"/>
                <a:lumOff val="60000"/>
              </a:schemeClr>
            </a:solidFill>
            <a:tailEnd type="stealth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/>
          </a:p>
        </p:txBody>
      </p:sp>
      <p:sp>
        <p:nvSpPr>
          <p:cNvPr id="7" name="í$ľîḓe">
            <a:extLst>
              <a:ext uri="{FF2B5EF4-FFF2-40B4-BE49-F238E27FC236}">
                <a16:creationId xmlns:a16="http://schemas.microsoft.com/office/drawing/2014/main" id="{955D5648-90A2-40C1-BD17-5ECD50CF8E1A}"/>
              </a:ext>
            </a:extLst>
          </p:cNvPr>
          <p:cNvSpPr/>
          <p:nvPr/>
        </p:nvSpPr>
        <p:spPr>
          <a:xfrm>
            <a:off x="3452531" y="2871464"/>
            <a:ext cx="475720" cy="475720"/>
          </a:xfrm>
          <a:prstGeom prst="roundRect">
            <a:avLst/>
          </a:prstGeom>
          <a:solidFill>
            <a:schemeClr val="accent1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anchor="ctr">
            <a:normAutofit/>
          </a:bodyPr>
          <a:lstStyle/>
          <a:p>
            <a:pPr algn="ctr"/>
            <a:r>
              <a:rPr lang="en-US" sz="2000" b="1">
                <a:solidFill>
                  <a:schemeClr val="bg1"/>
                </a:solidFill>
              </a:rPr>
              <a:t>01</a:t>
            </a:r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8" name="išḻïḑè">
            <a:extLst>
              <a:ext uri="{FF2B5EF4-FFF2-40B4-BE49-F238E27FC236}">
                <a16:creationId xmlns:a16="http://schemas.microsoft.com/office/drawing/2014/main" id="{4888ADA3-B532-40FB-8A25-EEBDA9927E84}"/>
              </a:ext>
            </a:extLst>
          </p:cNvPr>
          <p:cNvSpPr/>
          <p:nvPr/>
        </p:nvSpPr>
        <p:spPr>
          <a:xfrm>
            <a:off x="3452531" y="4673733"/>
            <a:ext cx="475720" cy="475720"/>
          </a:xfrm>
          <a:prstGeom prst="roundRect">
            <a:avLst/>
          </a:prstGeom>
          <a:solidFill>
            <a:schemeClr val="accent1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anchor="ctr">
            <a:normAutofit/>
          </a:bodyPr>
          <a:lstStyle/>
          <a:p>
            <a:pPr algn="ctr"/>
            <a:r>
              <a:rPr lang="en-US" sz="2000" b="1">
                <a:solidFill>
                  <a:schemeClr val="bg1"/>
                </a:solidFill>
              </a:rPr>
              <a:t>02</a:t>
            </a:r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9" name="íṥḻîḓê">
            <a:extLst>
              <a:ext uri="{FF2B5EF4-FFF2-40B4-BE49-F238E27FC236}">
                <a16:creationId xmlns:a16="http://schemas.microsoft.com/office/drawing/2014/main" id="{CB2FD292-50DD-40C0-89C4-E722DA9CFA3F}"/>
              </a:ext>
            </a:extLst>
          </p:cNvPr>
          <p:cNvSpPr/>
          <p:nvPr/>
        </p:nvSpPr>
        <p:spPr>
          <a:xfrm>
            <a:off x="4995330" y="5395690"/>
            <a:ext cx="475720" cy="475720"/>
          </a:xfrm>
          <a:prstGeom prst="roundRect">
            <a:avLst/>
          </a:prstGeom>
          <a:solidFill>
            <a:schemeClr val="accent1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anchor="ctr">
            <a:normAutofit/>
          </a:bodyPr>
          <a:lstStyle/>
          <a:p>
            <a:pPr algn="ctr"/>
            <a:r>
              <a:rPr lang="en-US" sz="2000" b="1">
                <a:solidFill>
                  <a:schemeClr val="bg1"/>
                </a:solidFill>
              </a:rPr>
              <a:t>03</a:t>
            </a:r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10" name="ïšlïḑé">
            <a:extLst>
              <a:ext uri="{FF2B5EF4-FFF2-40B4-BE49-F238E27FC236}">
                <a16:creationId xmlns:a16="http://schemas.microsoft.com/office/drawing/2014/main" id="{EAEDEB2F-2423-4F10-8B4E-C83ACE076869}"/>
              </a:ext>
            </a:extLst>
          </p:cNvPr>
          <p:cNvSpPr/>
          <p:nvPr/>
        </p:nvSpPr>
        <p:spPr>
          <a:xfrm>
            <a:off x="7730607" y="5395690"/>
            <a:ext cx="475720" cy="475720"/>
          </a:xfrm>
          <a:prstGeom prst="roundRect">
            <a:avLst/>
          </a:prstGeom>
          <a:solidFill>
            <a:schemeClr val="accent1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anchor="ctr">
            <a:normAutofit/>
          </a:bodyPr>
          <a:lstStyle/>
          <a:p>
            <a:pPr algn="ctr"/>
            <a:r>
              <a:rPr lang="en-US" sz="2000" b="1">
                <a:solidFill>
                  <a:schemeClr val="bg1"/>
                </a:solidFill>
              </a:rPr>
              <a:t>04</a:t>
            </a:r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29" name="î$ḷíďe">
            <a:extLst>
              <a:ext uri="{FF2B5EF4-FFF2-40B4-BE49-F238E27FC236}">
                <a16:creationId xmlns:a16="http://schemas.microsoft.com/office/drawing/2014/main" id="{BDB00968-BBE1-4550-AFAC-7333F0F2ED30}"/>
              </a:ext>
            </a:extLst>
          </p:cNvPr>
          <p:cNvSpPr txBox="1"/>
          <p:nvPr/>
        </p:nvSpPr>
        <p:spPr>
          <a:xfrm>
            <a:off x="845401" y="2907317"/>
            <a:ext cx="2327954" cy="725008"/>
          </a:xfrm>
          <a:prstGeom prst="rect">
            <a:avLst/>
          </a:prstGeom>
          <a:noFill/>
        </p:spPr>
        <p:txBody>
          <a:bodyPr wrap="square" lIns="90000" tIns="46800" rIns="90000" bIns="46800" anchor="t">
            <a:normAutofit/>
          </a:bodyPr>
          <a:lstStyle/>
          <a:p>
            <a:pPr algn="r" defTabSz="914378">
              <a:lnSpc>
                <a:spcPct val="120000"/>
              </a:lnSpc>
              <a:spcBef>
                <a:spcPct val="0"/>
              </a:spcBef>
              <a:defRPr/>
            </a:pPr>
            <a:r>
              <a:rPr lang="zh-CN" altLang="en-US" sz="1100"/>
              <a:t>此部分内容作为文字排版占位显示</a:t>
            </a:r>
            <a:br>
              <a:rPr lang="zh-CN" altLang="en-US" sz="1100"/>
            </a:br>
            <a:r>
              <a:rPr lang="zh-CN" altLang="en-US" sz="1100"/>
              <a:t>（建议使用主题字体）</a:t>
            </a:r>
            <a:endParaRPr lang="zh-CN" altLang="en-US" sz="1100" dirty="0"/>
          </a:p>
        </p:txBody>
      </p:sp>
      <p:sp>
        <p:nvSpPr>
          <p:cNvPr id="30" name="i$1íḑe">
            <a:extLst>
              <a:ext uri="{FF2B5EF4-FFF2-40B4-BE49-F238E27FC236}">
                <a16:creationId xmlns:a16="http://schemas.microsoft.com/office/drawing/2014/main" id="{72CA9A7A-A81E-4568-B2BC-12E7B7D3ED21}"/>
              </a:ext>
            </a:extLst>
          </p:cNvPr>
          <p:cNvSpPr/>
          <p:nvPr/>
        </p:nvSpPr>
        <p:spPr>
          <a:xfrm>
            <a:off x="845401" y="2586323"/>
            <a:ext cx="2327954" cy="320994"/>
          </a:xfrm>
          <a:prstGeom prst="rect">
            <a:avLst/>
          </a:prstGeom>
        </p:spPr>
        <p:txBody>
          <a:bodyPr wrap="none" lIns="90000" tIns="46800" rIns="90000" bIns="46800" anchor="b">
            <a:normAutofit lnSpcReduction="10000"/>
          </a:bodyPr>
          <a:lstStyle/>
          <a:p>
            <a:pPr lvl="0" algn="r" defTabSz="914378">
              <a:spcBef>
                <a:spcPct val="0"/>
              </a:spcBef>
              <a:defRPr/>
            </a:pPr>
            <a:r>
              <a:rPr lang="zh-CN" altLang="en-US" sz="1600" b="1"/>
              <a:t>标题文本预设</a:t>
            </a:r>
            <a:endParaRPr lang="zh-CN" altLang="en-US" sz="1600" b="1" dirty="0"/>
          </a:p>
        </p:txBody>
      </p:sp>
      <p:sp>
        <p:nvSpPr>
          <p:cNvPr id="27" name="î$ľïdé">
            <a:extLst>
              <a:ext uri="{FF2B5EF4-FFF2-40B4-BE49-F238E27FC236}">
                <a16:creationId xmlns:a16="http://schemas.microsoft.com/office/drawing/2014/main" id="{3784D49F-6932-42F0-90D6-FAD53452C21A}"/>
              </a:ext>
            </a:extLst>
          </p:cNvPr>
          <p:cNvSpPr txBox="1"/>
          <p:nvPr/>
        </p:nvSpPr>
        <p:spPr>
          <a:xfrm>
            <a:off x="845401" y="4709586"/>
            <a:ext cx="2327954" cy="725008"/>
          </a:xfrm>
          <a:prstGeom prst="rect">
            <a:avLst/>
          </a:prstGeom>
          <a:noFill/>
        </p:spPr>
        <p:txBody>
          <a:bodyPr wrap="square" lIns="90000" tIns="46800" rIns="90000" bIns="46800" anchor="t">
            <a:normAutofit/>
          </a:bodyPr>
          <a:lstStyle/>
          <a:p>
            <a:pPr algn="r" defTabSz="914378">
              <a:lnSpc>
                <a:spcPct val="120000"/>
              </a:lnSpc>
              <a:spcBef>
                <a:spcPct val="0"/>
              </a:spcBef>
              <a:defRPr/>
            </a:pPr>
            <a:r>
              <a:rPr lang="zh-CN" altLang="en-US" sz="1100"/>
              <a:t>此部分内容作为文字排版占位显示</a:t>
            </a:r>
            <a:br>
              <a:rPr lang="zh-CN" altLang="en-US" sz="1100"/>
            </a:br>
            <a:r>
              <a:rPr lang="zh-CN" altLang="en-US" sz="1100"/>
              <a:t>（建议使用主题字体）</a:t>
            </a:r>
            <a:endParaRPr lang="zh-CN" altLang="en-US" sz="1100" dirty="0"/>
          </a:p>
        </p:txBody>
      </p:sp>
      <p:sp>
        <p:nvSpPr>
          <p:cNvPr id="28" name="íş1îḓe">
            <a:extLst>
              <a:ext uri="{FF2B5EF4-FFF2-40B4-BE49-F238E27FC236}">
                <a16:creationId xmlns:a16="http://schemas.microsoft.com/office/drawing/2014/main" id="{4BC0F932-CB43-4A0D-A0B8-AA1F00B94428}"/>
              </a:ext>
            </a:extLst>
          </p:cNvPr>
          <p:cNvSpPr/>
          <p:nvPr/>
        </p:nvSpPr>
        <p:spPr>
          <a:xfrm>
            <a:off x="845401" y="4388592"/>
            <a:ext cx="2327954" cy="320994"/>
          </a:xfrm>
          <a:prstGeom prst="rect">
            <a:avLst/>
          </a:prstGeom>
        </p:spPr>
        <p:txBody>
          <a:bodyPr wrap="none" lIns="90000" tIns="46800" rIns="90000" bIns="46800" anchor="b">
            <a:normAutofit lnSpcReduction="10000"/>
          </a:bodyPr>
          <a:lstStyle/>
          <a:p>
            <a:pPr lvl="0" algn="r" defTabSz="914378">
              <a:spcBef>
                <a:spcPct val="0"/>
              </a:spcBef>
              <a:defRPr/>
            </a:pPr>
            <a:r>
              <a:rPr lang="zh-CN" altLang="en-US" sz="1600" b="1"/>
              <a:t>标题文本预设</a:t>
            </a:r>
            <a:endParaRPr lang="zh-CN" altLang="en-US" sz="1600" b="1" dirty="0"/>
          </a:p>
        </p:txBody>
      </p:sp>
      <p:sp>
        <p:nvSpPr>
          <p:cNvPr id="25" name="îṥ1îdê">
            <a:extLst>
              <a:ext uri="{FF2B5EF4-FFF2-40B4-BE49-F238E27FC236}">
                <a16:creationId xmlns:a16="http://schemas.microsoft.com/office/drawing/2014/main" id="{3B43CC94-24D4-429F-A55D-376E90EF1CC0}"/>
              </a:ext>
            </a:extLst>
          </p:cNvPr>
          <p:cNvSpPr txBox="1"/>
          <p:nvPr/>
        </p:nvSpPr>
        <p:spPr>
          <a:xfrm>
            <a:off x="4069213" y="4238034"/>
            <a:ext cx="2327954" cy="725008"/>
          </a:xfrm>
          <a:prstGeom prst="rect">
            <a:avLst/>
          </a:prstGeom>
          <a:noFill/>
        </p:spPr>
        <p:txBody>
          <a:bodyPr wrap="square" lIns="90000" tIns="46800" rIns="90000" bIns="46800" anchor="t">
            <a:normAutofit/>
          </a:bodyPr>
          <a:lstStyle/>
          <a:p>
            <a:pPr algn="ctr" defTabSz="914378">
              <a:lnSpc>
                <a:spcPct val="120000"/>
              </a:lnSpc>
              <a:spcBef>
                <a:spcPct val="0"/>
              </a:spcBef>
              <a:defRPr/>
            </a:pPr>
            <a:r>
              <a:rPr lang="zh-CN" altLang="en-US" sz="1100"/>
              <a:t>此部分内容作为文字排版占位显示</a:t>
            </a:r>
            <a:br>
              <a:rPr lang="zh-CN" altLang="en-US" sz="1100"/>
            </a:br>
            <a:r>
              <a:rPr lang="zh-CN" altLang="en-US" sz="1100"/>
              <a:t>（建议使用主题字体）</a:t>
            </a:r>
            <a:endParaRPr lang="zh-CN" altLang="en-US" sz="1100" dirty="0"/>
          </a:p>
        </p:txBody>
      </p:sp>
      <p:sp>
        <p:nvSpPr>
          <p:cNvPr id="26" name="îṥḷîdé">
            <a:extLst>
              <a:ext uri="{FF2B5EF4-FFF2-40B4-BE49-F238E27FC236}">
                <a16:creationId xmlns:a16="http://schemas.microsoft.com/office/drawing/2014/main" id="{A76A5D41-88C4-48DA-8E8F-B52ACBE1A23D}"/>
              </a:ext>
            </a:extLst>
          </p:cNvPr>
          <p:cNvSpPr/>
          <p:nvPr/>
        </p:nvSpPr>
        <p:spPr>
          <a:xfrm>
            <a:off x="4069213" y="3917040"/>
            <a:ext cx="2327954" cy="320994"/>
          </a:xfrm>
          <a:prstGeom prst="rect">
            <a:avLst/>
          </a:prstGeom>
        </p:spPr>
        <p:txBody>
          <a:bodyPr wrap="none" lIns="90000" tIns="46800" rIns="90000" bIns="46800" anchor="b">
            <a:normAutofit lnSpcReduction="10000"/>
          </a:bodyPr>
          <a:lstStyle/>
          <a:p>
            <a:pPr lvl="0" algn="ctr" defTabSz="914378">
              <a:spcBef>
                <a:spcPct val="0"/>
              </a:spcBef>
              <a:defRPr/>
            </a:pPr>
            <a:r>
              <a:rPr lang="zh-CN" altLang="en-US" sz="1600" b="1"/>
              <a:t>标题文本预设</a:t>
            </a:r>
            <a:endParaRPr lang="zh-CN" altLang="en-US" sz="1600" b="1" dirty="0"/>
          </a:p>
        </p:txBody>
      </p:sp>
      <p:sp>
        <p:nvSpPr>
          <p:cNvPr id="23" name="íṣḻîďè">
            <a:extLst>
              <a:ext uri="{FF2B5EF4-FFF2-40B4-BE49-F238E27FC236}">
                <a16:creationId xmlns:a16="http://schemas.microsoft.com/office/drawing/2014/main" id="{17D26470-D907-47A1-97CA-34BF67111882}"/>
              </a:ext>
            </a:extLst>
          </p:cNvPr>
          <p:cNvSpPr txBox="1"/>
          <p:nvPr/>
        </p:nvSpPr>
        <p:spPr>
          <a:xfrm>
            <a:off x="6725594" y="4238034"/>
            <a:ext cx="2327954" cy="725008"/>
          </a:xfrm>
          <a:prstGeom prst="rect">
            <a:avLst/>
          </a:prstGeom>
          <a:noFill/>
        </p:spPr>
        <p:txBody>
          <a:bodyPr wrap="square" lIns="90000" tIns="46800" rIns="90000" bIns="46800" anchor="t">
            <a:normAutofit/>
          </a:bodyPr>
          <a:lstStyle/>
          <a:p>
            <a:pPr algn="ctr" defTabSz="914378">
              <a:lnSpc>
                <a:spcPct val="120000"/>
              </a:lnSpc>
              <a:spcBef>
                <a:spcPct val="0"/>
              </a:spcBef>
              <a:defRPr/>
            </a:pPr>
            <a:r>
              <a:rPr lang="zh-CN" altLang="en-US" sz="1100"/>
              <a:t>此部分内容作为文字排版占位显示</a:t>
            </a:r>
            <a:br>
              <a:rPr lang="zh-CN" altLang="en-US" sz="1100"/>
            </a:br>
            <a:r>
              <a:rPr lang="zh-CN" altLang="en-US" sz="1100"/>
              <a:t>（建议使用主题字体）</a:t>
            </a:r>
            <a:endParaRPr lang="zh-CN" altLang="en-US" sz="1100" dirty="0"/>
          </a:p>
        </p:txBody>
      </p:sp>
      <p:sp>
        <p:nvSpPr>
          <p:cNvPr id="24" name="işḻïdè">
            <a:extLst>
              <a:ext uri="{FF2B5EF4-FFF2-40B4-BE49-F238E27FC236}">
                <a16:creationId xmlns:a16="http://schemas.microsoft.com/office/drawing/2014/main" id="{23511C18-DD67-4EE8-A116-169AF4F8C9B1}"/>
              </a:ext>
            </a:extLst>
          </p:cNvPr>
          <p:cNvSpPr/>
          <p:nvPr/>
        </p:nvSpPr>
        <p:spPr>
          <a:xfrm>
            <a:off x="6725594" y="3917040"/>
            <a:ext cx="2327954" cy="320994"/>
          </a:xfrm>
          <a:prstGeom prst="rect">
            <a:avLst/>
          </a:prstGeom>
        </p:spPr>
        <p:txBody>
          <a:bodyPr wrap="none" lIns="90000" tIns="46800" rIns="90000" bIns="46800" anchor="b">
            <a:normAutofit lnSpcReduction="10000"/>
          </a:bodyPr>
          <a:lstStyle/>
          <a:p>
            <a:pPr lvl="0" algn="ctr" defTabSz="914378">
              <a:spcBef>
                <a:spcPct val="0"/>
              </a:spcBef>
              <a:defRPr/>
            </a:pPr>
            <a:r>
              <a:rPr lang="zh-CN" altLang="en-US" sz="1600" b="1"/>
              <a:t>标题文本预设</a:t>
            </a:r>
            <a:endParaRPr lang="zh-CN" altLang="en-US" sz="1600" b="1" dirty="0"/>
          </a:p>
        </p:txBody>
      </p:sp>
      <p:sp>
        <p:nvSpPr>
          <p:cNvPr id="15" name="í$ḷîḍé">
            <a:extLst>
              <a:ext uri="{FF2B5EF4-FFF2-40B4-BE49-F238E27FC236}">
                <a16:creationId xmlns:a16="http://schemas.microsoft.com/office/drawing/2014/main" id="{694CB529-45F4-4F2C-AE56-A0E827B8F9A1}"/>
              </a:ext>
            </a:extLst>
          </p:cNvPr>
          <p:cNvSpPr/>
          <p:nvPr/>
        </p:nvSpPr>
        <p:spPr>
          <a:xfrm>
            <a:off x="-1" y="-46315"/>
            <a:ext cx="12192001" cy="2485131"/>
          </a:xfrm>
          <a:prstGeom prst="rect">
            <a:avLst/>
          </a:prstGeom>
          <a:blipFill>
            <a:blip r:embed="rId3"/>
            <a:srcRect/>
            <a:stretch>
              <a:fillRect t="-109253" b="-108123"/>
            </a:stretch>
          </a:blip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/>
          </a:p>
        </p:txBody>
      </p:sp>
      <p:sp>
        <p:nvSpPr>
          <p:cNvPr id="16" name="îSļîḑè">
            <a:extLst>
              <a:ext uri="{FF2B5EF4-FFF2-40B4-BE49-F238E27FC236}">
                <a16:creationId xmlns:a16="http://schemas.microsoft.com/office/drawing/2014/main" id="{732A81FA-EDD7-4551-B4E8-3267ACD854D6}"/>
              </a:ext>
            </a:extLst>
          </p:cNvPr>
          <p:cNvSpPr/>
          <p:nvPr/>
        </p:nvSpPr>
        <p:spPr>
          <a:xfrm>
            <a:off x="7031162" y="-46315"/>
            <a:ext cx="5160838" cy="3238347"/>
          </a:xfrm>
          <a:prstGeom prst="rect">
            <a:avLst/>
          </a:prstGeom>
          <a:solidFill>
            <a:schemeClr val="tx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/>
          </a:p>
        </p:txBody>
      </p:sp>
      <p:sp>
        <p:nvSpPr>
          <p:cNvPr id="21" name="iṡ1íḓe">
            <a:extLst>
              <a:ext uri="{FF2B5EF4-FFF2-40B4-BE49-F238E27FC236}">
                <a16:creationId xmlns:a16="http://schemas.microsoft.com/office/drawing/2014/main" id="{EF0C8CCD-01E0-47AF-8FC5-FA67097B4087}"/>
              </a:ext>
            </a:extLst>
          </p:cNvPr>
          <p:cNvSpPr/>
          <p:nvPr/>
        </p:nvSpPr>
        <p:spPr>
          <a:xfrm>
            <a:off x="7392144" y="1123950"/>
            <a:ext cx="3895114" cy="761742"/>
          </a:xfrm>
          <a:prstGeom prst="rect">
            <a:avLst/>
          </a:prstGeom>
        </p:spPr>
        <p:txBody>
          <a:bodyPr wrap="square" lIns="90000" tIns="46800" rIns="90000" bIns="46800" anchor="ctr">
            <a:normAutofit fontScale="92500"/>
          </a:bodyPr>
          <a:lstStyle/>
          <a:p>
            <a:pPr>
              <a:lnSpc>
                <a:spcPct val="120000"/>
              </a:lnSpc>
            </a:pPr>
            <a:r>
              <a:rPr lang="zh-CN" altLang="en-US" sz="2000" b="1">
                <a:solidFill>
                  <a:schemeClr val="bg1"/>
                </a:solidFill>
              </a:rPr>
              <a:t>此部分内容作为文字排版占位显示</a:t>
            </a:r>
            <a:br>
              <a:rPr lang="zh-CN" altLang="en-US" sz="2000" b="1">
                <a:solidFill>
                  <a:schemeClr val="bg1"/>
                </a:solidFill>
              </a:rPr>
            </a:br>
            <a:r>
              <a:rPr lang="zh-CN" altLang="en-US" sz="2000" b="1">
                <a:solidFill>
                  <a:schemeClr val="bg1"/>
                </a:solidFill>
              </a:rPr>
              <a:t>（建议使用主题字体）</a:t>
            </a:r>
            <a:endParaRPr lang="zh-CN" altLang="en-US" sz="2000" b="1" dirty="0">
              <a:solidFill>
                <a:schemeClr val="bg1"/>
              </a:solidFill>
            </a:endParaRPr>
          </a:p>
        </p:txBody>
      </p:sp>
      <p:sp>
        <p:nvSpPr>
          <p:cNvPr id="22" name="íšlïḍè">
            <a:extLst>
              <a:ext uri="{FF2B5EF4-FFF2-40B4-BE49-F238E27FC236}">
                <a16:creationId xmlns:a16="http://schemas.microsoft.com/office/drawing/2014/main" id="{0909A080-BACF-47BA-B9BD-8F2F502BE495}"/>
              </a:ext>
            </a:extLst>
          </p:cNvPr>
          <p:cNvSpPr/>
          <p:nvPr/>
        </p:nvSpPr>
        <p:spPr>
          <a:xfrm>
            <a:off x="7392144" y="1885693"/>
            <a:ext cx="3895114" cy="426655"/>
          </a:xfrm>
          <a:prstGeom prst="rect">
            <a:avLst/>
          </a:prstGeom>
        </p:spPr>
        <p:txBody>
          <a:bodyPr wrap="square" lIns="90000" tIns="46800" rIns="90000" bIns="46800" anchor="ctr">
            <a:normAutofit lnSpcReduction="10000"/>
          </a:bodyPr>
          <a:lstStyle/>
          <a:p>
            <a:pPr>
              <a:lnSpc>
                <a:spcPct val="120000"/>
              </a:lnSpc>
            </a:pPr>
            <a:r>
              <a:rPr lang="zh-CN" altLang="en-US" sz="1000">
                <a:solidFill>
                  <a:schemeClr val="bg1"/>
                </a:solidFill>
              </a:rPr>
              <a:t>此部分内容作为文字排版占位显示（建议使用主题字体）如需更改请在（设置形状格式）菜单下（文本选项）中调整</a:t>
            </a:r>
            <a:endParaRPr lang="zh-CN" altLang="en-US" sz="1000" dirty="0">
              <a:solidFill>
                <a:schemeClr val="bg1"/>
              </a:solidFill>
            </a:endParaRPr>
          </a:p>
        </p:txBody>
      </p:sp>
      <p:sp>
        <p:nvSpPr>
          <p:cNvPr id="19" name="îṣ1ïḍé">
            <a:extLst>
              <a:ext uri="{FF2B5EF4-FFF2-40B4-BE49-F238E27FC236}">
                <a16:creationId xmlns:a16="http://schemas.microsoft.com/office/drawing/2014/main" id="{CABEA95C-A32E-408F-B440-6A94D293C43B}"/>
              </a:ext>
            </a:extLst>
          </p:cNvPr>
          <p:cNvSpPr txBox="1"/>
          <p:nvPr/>
        </p:nvSpPr>
        <p:spPr>
          <a:xfrm>
            <a:off x="9572478" y="5254522"/>
            <a:ext cx="1744887" cy="740748"/>
          </a:xfrm>
          <a:prstGeom prst="rect">
            <a:avLst/>
          </a:prstGeom>
          <a:noFill/>
        </p:spPr>
        <p:txBody>
          <a:bodyPr wrap="square" lIns="0" tIns="0" rIns="0" bIns="0">
            <a:normAutofit/>
          </a:bodyPr>
          <a:lstStyle/>
          <a:p>
            <a:pPr algn="ctr"/>
            <a:r>
              <a:rPr lang="zh-CN" altLang="en-US" sz="1000"/>
              <a:t>选中</a:t>
            </a:r>
            <a:r>
              <a:rPr lang="en-US" altLang="zh-CN" sz="1000"/>
              <a:t>PPT</a:t>
            </a:r>
            <a:r>
              <a:rPr lang="zh-CN" altLang="en-US" sz="1000"/>
              <a:t>页面中图示里的图标（可按住</a:t>
            </a:r>
            <a:r>
              <a:rPr lang="en-US" altLang="zh-CN" sz="1000"/>
              <a:t>shift</a:t>
            </a:r>
            <a:r>
              <a:rPr lang="zh-CN" altLang="en-US" sz="1000"/>
              <a:t>键多选）在</a:t>
            </a:r>
            <a:r>
              <a:rPr lang="en-US" altLang="zh-CN" sz="1000"/>
              <a:t>iSlide</a:t>
            </a:r>
            <a:r>
              <a:rPr lang="zh-CN" altLang="en-US" sz="1000"/>
              <a:t>菜单面板打开“图标库”</a:t>
            </a:r>
            <a:endParaRPr lang="zh-CN" altLang="en-US" sz="1000" dirty="0"/>
          </a:p>
        </p:txBody>
      </p:sp>
      <p:sp>
        <p:nvSpPr>
          <p:cNvPr id="20" name="işľîḋê">
            <a:extLst>
              <a:ext uri="{FF2B5EF4-FFF2-40B4-BE49-F238E27FC236}">
                <a16:creationId xmlns:a16="http://schemas.microsoft.com/office/drawing/2014/main" id="{7310F2CA-B8E6-4B68-9C69-F911C155165F}"/>
              </a:ext>
            </a:extLst>
          </p:cNvPr>
          <p:cNvSpPr txBox="1"/>
          <p:nvPr/>
        </p:nvSpPr>
        <p:spPr>
          <a:xfrm>
            <a:off x="9572477" y="4963042"/>
            <a:ext cx="1744888" cy="291480"/>
          </a:xfrm>
          <a:prstGeom prst="rect">
            <a:avLst/>
          </a:prstGeom>
          <a:noFill/>
        </p:spPr>
        <p:txBody>
          <a:bodyPr wrap="square" lIns="0" tIns="0" rIns="0" bIns="0">
            <a:normAutofit/>
          </a:bodyPr>
          <a:lstStyle/>
          <a:p>
            <a:pPr algn="ctr"/>
            <a:r>
              <a:rPr lang="zh-CN" altLang="en-US" sz="1400" b="1"/>
              <a:t>替换图示中的图标</a:t>
            </a:r>
            <a:endParaRPr lang="zh-CN" altLang="en-US" sz="1400" b="1" dirty="0"/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ACE20B55-3244-4B7E-8067-EABF40543E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258C57D2-850D-4EB7-8E1C-33AC1799BD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916820F6-6469-4F1D-96EF-037957D920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7150721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208F589-9CAA-4AD7-A882-5FD32E38C6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F35BCEC4-E130-4CDE-AF11-D6E86BDE04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E3F3F990-B6AD-452B-81EB-EC3188EF93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6</a:t>
            </a:fld>
            <a:endParaRPr lang="zh-CN" altLang="en-US"/>
          </a:p>
        </p:txBody>
      </p:sp>
      <p:sp>
        <p:nvSpPr>
          <p:cNvPr id="6" name="ïsļïďè">
            <a:extLst>
              <a:ext uri="{FF2B5EF4-FFF2-40B4-BE49-F238E27FC236}">
                <a16:creationId xmlns:a16="http://schemas.microsoft.com/office/drawing/2014/main" id="{5028889C-8E78-4AA3-B6BB-A77E229B5148}"/>
              </a:ext>
            </a:extLst>
          </p:cNvPr>
          <p:cNvSpPr/>
          <p:nvPr/>
        </p:nvSpPr>
        <p:spPr>
          <a:xfrm>
            <a:off x="7055330" y="1028700"/>
            <a:ext cx="4419600" cy="2722880"/>
          </a:xfrm>
          <a:prstGeom prst="rect">
            <a:avLst/>
          </a:prstGeom>
          <a:blipFill>
            <a:blip r:embed="rId3"/>
            <a:srcRect/>
            <a:stretch>
              <a:fillRect l="459" t="-2337" r="-459" b="-2667"/>
            </a:stretch>
          </a:blip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/>
          </a:p>
        </p:txBody>
      </p:sp>
      <p:sp>
        <p:nvSpPr>
          <p:cNvPr id="7" name="íś1ïḍê">
            <a:extLst>
              <a:ext uri="{FF2B5EF4-FFF2-40B4-BE49-F238E27FC236}">
                <a16:creationId xmlns:a16="http://schemas.microsoft.com/office/drawing/2014/main" id="{03BD3912-279F-4207-8C9B-C30435F3B014}"/>
              </a:ext>
            </a:extLst>
          </p:cNvPr>
          <p:cNvSpPr/>
          <p:nvPr/>
        </p:nvSpPr>
        <p:spPr>
          <a:xfrm rot="16200000" flipH="1">
            <a:off x="4400003" y="1998652"/>
            <a:ext cx="3630043" cy="1690141"/>
          </a:xfrm>
          <a:custGeom>
            <a:avLst/>
            <a:gdLst>
              <a:gd name="connsiteX0" fmla="*/ 0 w 3622166"/>
              <a:gd name="connsiteY0" fmla="*/ 1548784 h 1548784"/>
              <a:gd name="connsiteX1" fmla="*/ 910437 w 3622166"/>
              <a:gd name="connsiteY1" fmla="*/ 0 h 1548784"/>
              <a:gd name="connsiteX2" fmla="*/ 3622166 w 3622166"/>
              <a:gd name="connsiteY2" fmla="*/ 0 h 1548784"/>
              <a:gd name="connsiteX3" fmla="*/ 2711729 w 3622166"/>
              <a:gd name="connsiteY3" fmla="*/ 1548784 h 1548784"/>
              <a:gd name="connsiteX4" fmla="*/ 0 w 3622166"/>
              <a:gd name="connsiteY4" fmla="*/ 1548784 h 1548784"/>
              <a:gd name="connsiteX0" fmla="*/ 0 w 3622166"/>
              <a:gd name="connsiteY0" fmla="*/ 1548784 h 1548784"/>
              <a:gd name="connsiteX1" fmla="*/ 811377 w 3622166"/>
              <a:gd name="connsiteY1" fmla="*/ 7620 h 1548784"/>
              <a:gd name="connsiteX2" fmla="*/ 3622166 w 3622166"/>
              <a:gd name="connsiteY2" fmla="*/ 0 h 1548784"/>
              <a:gd name="connsiteX3" fmla="*/ 2711729 w 3622166"/>
              <a:gd name="connsiteY3" fmla="*/ 1548784 h 1548784"/>
              <a:gd name="connsiteX4" fmla="*/ 0 w 3622166"/>
              <a:gd name="connsiteY4" fmla="*/ 1548784 h 1548784"/>
              <a:gd name="connsiteX0" fmla="*/ 0 w 3622166"/>
              <a:gd name="connsiteY0" fmla="*/ 1553874 h 1553874"/>
              <a:gd name="connsiteX1" fmla="*/ 762611 w 3622166"/>
              <a:gd name="connsiteY1" fmla="*/ 0 h 1553874"/>
              <a:gd name="connsiteX2" fmla="*/ 3622166 w 3622166"/>
              <a:gd name="connsiteY2" fmla="*/ 5090 h 1553874"/>
              <a:gd name="connsiteX3" fmla="*/ 2711729 w 3622166"/>
              <a:gd name="connsiteY3" fmla="*/ 1553874 h 1553874"/>
              <a:gd name="connsiteX4" fmla="*/ 0 w 3622166"/>
              <a:gd name="connsiteY4" fmla="*/ 1553874 h 15538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22166" h="1553874">
                <a:moveTo>
                  <a:pt x="0" y="1553874"/>
                </a:moveTo>
                <a:lnTo>
                  <a:pt x="762611" y="0"/>
                </a:lnTo>
                <a:lnTo>
                  <a:pt x="3622166" y="5090"/>
                </a:lnTo>
                <a:lnTo>
                  <a:pt x="2711729" y="1553874"/>
                </a:lnTo>
                <a:lnTo>
                  <a:pt x="0" y="1553874"/>
                </a:lnTo>
                <a:close/>
              </a:path>
            </a:pathLst>
          </a:custGeom>
          <a:solidFill>
            <a:schemeClr val="tx1">
              <a:lumMod val="20000"/>
              <a:lumOff val="80000"/>
              <a:alpha val="71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/>
          </a:p>
        </p:txBody>
      </p:sp>
      <p:sp>
        <p:nvSpPr>
          <p:cNvPr id="8" name="ïšľîdê">
            <a:extLst>
              <a:ext uri="{FF2B5EF4-FFF2-40B4-BE49-F238E27FC236}">
                <a16:creationId xmlns:a16="http://schemas.microsoft.com/office/drawing/2014/main" id="{5413CC31-4304-406C-960B-700395D0059F}"/>
              </a:ext>
            </a:extLst>
          </p:cNvPr>
          <p:cNvSpPr txBox="1">
            <a:spLocks/>
          </p:cNvSpPr>
          <p:nvPr/>
        </p:nvSpPr>
        <p:spPr>
          <a:xfrm>
            <a:off x="7055330" y="3332957"/>
            <a:ext cx="4419600" cy="418622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91440" tIns="45720" rIns="91440" bIns="45720" anchor="ctr" anchorCtr="0" forceAA="0" compatLnSpc="1">
            <a:prstTxWarp prst="textNoShape">
              <a:avLst/>
            </a:prstTxWarp>
            <a:normAutofit/>
          </a:bodyPr>
          <a:lstStyle/>
          <a:p>
            <a:pPr algn="l"/>
            <a:r>
              <a:rPr lang="zh-CN" altLang="en-US" sz="1600" b="1" dirty="0"/>
              <a:t>请在形状中填充图片</a:t>
            </a:r>
          </a:p>
        </p:txBody>
      </p:sp>
      <p:sp>
        <p:nvSpPr>
          <p:cNvPr id="21" name="íŝ1ïďè">
            <a:extLst>
              <a:ext uri="{FF2B5EF4-FFF2-40B4-BE49-F238E27FC236}">
                <a16:creationId xmlns:a16="http://schemas.microsoft.com/office/drawing/2014/main" id="{9AA4E7E5-30CF-46EF-AD59-11A32E8C0815}"/>
              </a:ext>
            </a:extLst>
          </p:cNvPr>
          <p:cNvSpPr/>
          <p:nvPr/>
        </p:nvSpPr>
        <p:spPr>
          <a:xfrm flipV="1">
            <a:off x="191344" y="4861962"/>
            <a:ext cx="5859098" cy="23975"/>
          </a:xfrm>
          <a:prstGeom prst="trapezoid">
            <a:avLst>
              <a:gd name="adj" fmla="val 814192"/>
            </a:avLst>
          </a:prstGeom>
          <a:solidFill>
            <a:srgbClr val="80808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/>
          </a:p>
        </p:txBody>
      </p:sp>
      <p:sp>
        <p:nvSpPr>
          <p:cNvPr id="22" name="iśļîďè">
            <a:extLst>
              <a:ext uri="{FF2B5EF4-FFF2-40B4-BE49-F238E27FC236}">
                <a16:creationId xmlns:a16="http://schemas.microsoft.com/office/drawing/2014/main" id="{A105719A-D35F-4FE4-AF0E-6224261D63D6}"/>
              </a:ext>
            </a:extLst>
          </p:cNvPr>
          <p:cNvSpPr/>
          <p:nvPr/>
        </p:nvSpPr>
        <p:spPr>
          <a:xfrm>
            <a:off x="191344" y="4763018"/>
            <a:ext cx="5859098" cy="99037"/>
          </a:xfrm>
          <a:prstGeom prst="rect">
            <a:avLst/>
          </a:prstGeom>
          <a:solidFill>
            <a:srgbClr val="DDDDD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/>
          </a:p>
        </p:txBody>
      </p:sp>
      <p:sp>
        <p:nvSpPr>
          <p:cNvPr id="19" name="îṧľíḋè">
            <a:extLst>
              <a:ext uri="{FF2B5EF4-FFF2-40B4-BE49-F238E27FC236}">
                <a16:creationId xmlns:a16="http://schemas.microsoft.com/office/drawing/2014/main" id="{48D76D23-29E7-4895-899F-2AB8BF154A2E}"/>
              </a:ext>
            </a:extLst>
          </p:cNvPr>
          <p:cNvSpPr/>
          <p:nvPr/>
        </p:nvSpPr>
        <p:spPr>
          <a:xfrm>
            <a:off x="701872" y="1659686"/>
            <a:ext cx="4838041" cy="3053864"/>
          </a:xfrm>
          <a:custGeom>
            <a:avLst/>
            <a:gdLst>
              <a:gd name="connsiteX0" fmla="*/ 252028 w 7380820"/>
              <a:gd name="connsiteY0" fmla="*/ 295230 h 4658912"/>
              <a:gd name="connsiteX1" fmla="*/ 252028 w 7380820"/>
              <a:gd name="connsiteY1" fmla="*/ 4363682 h 4658912"/>
              <a:gd name="connsiteX2" fmla="*/ 7128792 w 7380820"/>
              <a:gd name="connsiteY2" fmla="*/ 4363682 h 4658912"/>
              <a:gd name="connsiteX3" fmla="*/ 7128792 w 7380820"/>
              <a:gd name="connsiteY3" fmla="*/ 295230 h 4658912"/>
              <a:gd name="connsiteX4" fmla="*/ 264533 w 7380820"/>
              <a:gd name="connsiteY4" fmla="*/ 0 h 4658912"/>
              <a:gd name="connsiteX5" fmla="*/ 7116287 w 7380820"/>
              <a:gd name="connsiteY5" fmla="*/ 0 h 4658912"/>
              <a:gd name="connsiteX6" fmla="*/ 7380820 w 7380820"/>
              <a:gd name="connsiteY6" fmla="*/ 264533 h 4658912"/>
              <a:gd name="connsiteX7" fmla="*/ 7380820 w 7380820"/>
              <a:gd name="connsiteY7" fmla="*/ 4394379 h 4658912"/>
              <a:gd name="connsiteX8" fmla="*/ 7116287 w 7380820"/>
              <a:gd name="connsiteY8" fmla="*/ 4658912 h 4658912"/>
              <a:gd name="connsiteX9" fmla="*/ 264533 w 7380820"/>
              <a:gd name="connsiteY9" fmla="*/ 4658912 h 4658912"/>
              <a:gd name="connsiteX10" fmla="*/ 0 w 7380820"/>
              <a:gd name="connsiteY10" fmla="*/ 4394379 h 4658912"/>
              <a:gd name="connsiteX11" fmla="*/ 0 w 7380820"/>
              <a:gd name="connsiteY11" fmla="*/ 264533 h 4658912"/>
              <a:gd name="connsiteX12" fmla="*/ 264533 w 7380820"/>
              <a:gd name="connsiteY12" fmla="*/ 0 h 46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380820" h="4658912">
                <a:moveTo>
                  <a:pt x="252028" y="295230"/>
                </a:moveTo>
                <a:lnTo>
                  <a:pt x="252028" y="4363682"/>
                </a:lnTo>
                <a:lnTo>
                  <a:pt x="7128792" y="4363682"/>
                </a:lnTo>
                <a:lnTo>
                  <a:pt x="7128792" y="295230"/>
                </a:lnTo>
                <a:close/>
                <a:moveTo>
                  <a:pt x="264533" y="0"/>
                </a:moveTo>
                <a:lnTo>
                  <a:pt x="7116287" y="0"/>
                </a:lnTo>
                <a:cubicBezTo>
                  <a:pt x="7262385" y="0"/>
                  <a:pt x="7380820" y="118435"/>
                  <a:pt x="7380820" y="264533"/>
                </a:cubicBezTo>
                <a:lnTo>
                  <a:pt x="7380820" y="4394379"/>
                </a:lnTo>
                <a:cubicBezTo>
                  <a:pt x="7380820" y="4540477"/>
                  <a:pt x="7262385" y="4658912"/>
                  <a:pt x="7116287" y="4658912"/>
                </a:cubicBezTo>
                <a:lnTo>
                  <a:pt x="264533" y="4658912"/>
                </a:lnTo>
                <a:cubicBezTo>
                  <a:pt x="118435" y="4658912"/>
                  <a:pt x="0" y="4540477"/>
                  <a:pt x="0" y="4394379"/>
                </a:cubicBezTo>
                <a:lnTo>
                  <a:pt x="0" y="264533"/>
                </a:lnTo>
                <a:cubicBezTo>
                  <a:pt x="0" y="118435"/>
                  <a:pt x="118435" y="0"/>
                  <a:pt x="264533" y="0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/>
          </a:p>
        </p:txBody>
      </p:sp>
      <p:sp>
        <p:nvSpPr>
          <p:cNvPr id="20" name="íṩḻïḍê">
            <a:extLst>
              <a:ext uri="{FF2B5EF4-FFF2-40B4-BE49-F238E27FC236}">
                <a16:creationId xmlns:a16="http://schemas.microsoft.com/office/drawing/2014/main" id="{530E636D-C1D1-479D-B728-B6E54134E094}"/>
              </a:ext>
            </a:extLst>
          </p:cNvPr>
          <p:cNvSpPr/>
          <p:nvPr/>
        </p:nvSpPr>
        <p:spPr>
          <a:xfrm>
            <a:off x="3892588" y="1646214"/>
            <a:ext cx="1658785" cy="3080807"/>
          </a:xfrm>
          <a:custGeom>
            <a:avLst/>
            <a:gdLst>
              <a:gd name="connsiteX0" fmla="*/ 0 w 2530610"/>
              <a:gd name="connsiteY0" fmla="*/ 0 h 4700016"/>
              <a:gd name="connsiteX1" fmla="*/ 2263743 w 2530610"/>
              <a:gd name="connsiteY1" fmla="*/ 0 h 4700016"/>
              <a:gd name="connsiteX2" fmla="*/ 2530610 w 2530610"/>
              <a:gd name="connsiteY2" fmla="*/ 266867 h 4700016"/>
              <a:gd name="connsiteX3" fmla="*/ 2530610 w 2530610"/>
              <a:gd name="connsiteY3" fmla="*/ 4433149 h 4700016"/>
              <a:gd name="connsiteX4" fmla="*/ 2263743 w 2530610"/>
              <a:gd name="connsiteY4" fmla="*/ 4700016 h 4700016"/>
              <a:gd name="connsiteX5" fmla="*/ 1961175 w 2530610"/>
              <a:gd name="connsiteY5" fmla="*/ 4700016 h 47000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30610" h="4700016">
                <a:moveTo>
                  <a:pt x="0" y="0"/>
                </a:moveTo>
                <a:lnTo>
                  <a:pt x="2263743" y="0"/>
                </a:lnTo>
                <a:cubicBezTo>
                  <a:pt x="2411130" y="0"/>
                  <a:pt x="2530610" y="119480"/>
                  <a:pt x="2530610" y="266867"/>
                </a:cubicBezTo>
                <a:lnTo>
                  <a:pt x="2530610" y="4433149"/>
                </a:lnTo>
                <a:cubicBezTo>
                  <a:pt x="2530610" y="4580536"/>
                  <a:pt x="2411130" y="4700016"/>
                  <a:pt x="2263743" y="4700016"/>
                </a:cubicBezTo>
                <a:lnTo>
                  <a:pt x="1961175" y="4700016"/>
                </a:lnTo>
                <a:close/>
              </a:path>
            </a:pathLst>
          </a:custGeom>
          <a:gradFill>
            <a:gsLst>
              <a:gs pos="0">
                <a:srgbClr val="FFFFFF">
                  <a:alpha val="30000"/>
                </a:srgbClr>
              </a:gs>
              <a:gs pos="100000">
                <a:srgbClr val="FFFFFF">
                  <a:alpha val="0"/>
                </a:srgbClr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/>
          </a:p>
        </p:txBody>
      </p:sp>
      <p:sp>
        <p:nvSpPr>
          <p:cNvPr id="18" name="íšliḋe">
            <a:extLst>
              <a:ext uri="{FF2B5EF4-FFF2-40B4-BE49-F238E27FC236}">
                <a16:creationId xmlns:a16="http://schemas.microsoft.com/office/drawing/2014/main" id="{5826E5EA-E1C7-4A1A-B4B1-D4E7EE4B4D1A}"/>
              </a:ext>
            </a:extLst>
          </p:cNvPr>
          <p:cNvSpPr/>
          <p:nvPr/>
        </p:nvSpPr>
        <p:spPr>
          <a:xfrm>
            <a:off x="3073692" y="1712762"/>
            <a:ext cx="94401" cy="94401"/>
          </a:xfrm>
          <a:prstGeom prst="ellipse">
            <a:avLst/>
          </a:prstGeom>
          <a:gradFill flip="none" rotWithShape="1">
            <a:gsLst>
              <a:gs pos="17000">
                <a:schemeClr val="tx1"/>
              </a:gs>
              <a:gs pos="34000">
                <a:srgbClr val="000000">
                  <a:lumMod val="84000"/>
                  <a:lumOff val="16000"/>
                </a:srgbClr>
              </a:gs>
              <a:gs pos="100000">
                <a:schemeClr val="bg1">
                  <a:lumMod val="50000"/>
                  <a:lumOff val="5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/>
          </a:p>
        </p:txBody>
      </p:sp>
      <p:sp>
        <p:nvSpPr>
          <p:cNvPr id="16" name="îṣļîḋé">
            <a:extLst>
              <a:ext uri="{FF2B5EF4-FFF2-40B4-BE49-F238E27FC236}">
                <a16:creationId xmlns:a16="http://schemas.microsoft.com/office/drawing/2014/main" id="{A3C4A764-A904-4BEB-AB23-B1DE80EACC13}"/>
              </a:ext>
            </a:extLst>
          </p:cNvPr>
          <p:cNvSpPr/>
          <p:nvPr/>
        </p:nvSpPr>
        <p:spPr>
          <a:xfrm>
            <a:off x="854078" y="1826715"/>
            <a:ext cx="4515875" cy="2699819"/>
          </a:xfrm>
          <a:prstGeom prst="rect">
            <a:avLst/>
          </a:prstGeom>
          <a:blipFill>
            <a:blip r:embed="rId4"/>
            <a:srcRect/>
            <a:stretch>
              <a:fillRect l="53" t="-3805" r="-53" b="-4403"/>
            </a:stretch>
          </a:blipFill>
          <a:ln w="6350" cap="flat" cmpd="sng" algn="ctr">
            <a:solidFill>
              <a:schemeClr val="tx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/>
          </a:p>
        </p:txBody>
      </p:sp>
      <p:sp>
        <p:nvSpPr>
          <p:cNvPr id="10" name="íşliďé">
            <a:extLst>
              <a:ext uri="{FF2B5EF4-FFF2-40B4-BE49-F238E27FC236}">
                <a16:creationId xmlns:a16="http://schemas.microsoft.com/office/drawing/2014/main" id="{A1C781BE-8D8D-4CFA-B92B-E331D03289E1}"/>
              </a:ext>
            </a:extLst>
          </p:cNvPr>
          <p:cNvSpPr txBox="1"/>
          <p:nvPr/>
        </p:nvSpPr>
        <p:spPr>
          <a:xfrm>
            <a:off x="7063763" y="3858318"/>
            <a:ext cx="4411167" cy="1550148"/>
          </a:xfrm>
          <a:prstGeom prst="rect">
            <a:avLst/>
          </a:prstGeom>
          <a:noFill/>
        </p:spPr>
        <p:txBody>
          <a:bodyPr wrap="square">
            <a:normAutofit/>
          </a:bodyPr>
          <a:lstStyle/>
          <a:p>
            <a:pPr marL="171442" indent="-171442" algn="just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zh-CN" altLang="en-US" sz="1000" dirty="0"/>
              <a:t>单击要填充的形状</a:t>
            </a:r>
          </a:p>
          <a:p>
            <a:pPr marL="171442" indent="-171442" algn="just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zh-CN" altLang="en-US" sz="1000" dirty="0"/>
              <a:t>在“格式”选项卡上的“形状样式”组中，单击“形状填充”旁边的箭头，然后单击「图片或纹理填充」</a:t>
            </a:r>
          </a:p>
          <a:p>
            <a:pPr marL="171442" indent="-171442" algn="just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zh-CN" altLang="en-US" sz="1000" dirty="0"/>
              <a:t>找到包含需要使用的图片的文件夹，单击该图片，然后单击“插入” </a:t>
            </a:r>
          </a:p>
          <a:p>
            <a:pPr marL="171442" indent="-171442" algn="just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zh-CN" altLang="en-US" sz="1000" dirty="0"/>
              <a:t>使用图片工具“裁剪”下拉菜单中的「填充」可对图片进行调整</a:t>
            </a:r>
          </a:p>
        </p:txBody>
      </p:sp>
      <p:sp>
        <p:nvSpPr>
          <p:cNvPr id="12" name="ïṣľïdé">
            <a:extLst>
              <a:ext uri="{FF2B5EF4-FFF2-40B4-BE49-F238E27FC236}">
                <a16:creationId xmlns:a16="http://schemas.microsoft.com/office/drawing/2014/main" id="{940BD790-4E7D-4041-A679-E671C2CCC425}"/>
              </a:ext>
            </a:extLst>
          </p:cNvPr>
          <p:cNvSpPr>
            <a:spLocks/>
          </p:cNvSpPr>
          <p:nvPr/>
        </p:nvSpPr>
        <p:spPr bwMode="auto">
          <a:xfrm>
            <a:off x="2066862" y="5418226"/>
            <a:ext cx="2108063" cy="5573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/>
          <a:p>
            <a:pPr algn="ctr" eaLnBrk="1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zh-CN" altLang="en-US" sz="1000" dirty="0"/>
              <a:t>此部分内容作为文字排版占位显示</a:t>
            </a:r>
            <a:br>
              <a:rPr lang="en-US" altLang="zh-CN" sz="1000" dirty="0"/>
            </a:br>
            <a:r>
              <a:rPr lang="zh-CN" altLang="en-US" sz="1000" dirty="0"/>
              <a:t> （建议使用主题字体）</a:t>
            </a:r>
          </a:p>
        </p:txBody>
      </p:sp>
      <p:sp>
        <p:nvSpPr>
          <p:cNvPr id="13" name="íṡḷiḋé">
            <a:extLst>
              <a:ext uri="{FF2B5EF4-FFF2-40B4-BE49-F238E27FC236}">
                <a16:creationId xmlns:a16="http://schemas.microsoft.com/office/drawing/2014/main" id="{E06ECE3B-FA17-49D3-A96A-7209BA71B79C}"/>
              </a:ext>
            </a:extLst>
          </p:cNvPr>
          <p:cNvSpPr txBox="1">
            <a:spLocks/>
          </p:cNvSpPr>
          <p:nvPr/>
        </p:nvSpPr>
        <p:spPr bwMode="auto">
          <a:xfrm>
            <a:off x="2066862" y="5005346"/>
            <a:ext cx="2108063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rmAutofit/>
          </a:bodyPr>
          <a:lstStyle/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zh-CN" altLang="en-US" sz="1800" b="1" dirty="0">
                <a:solidFill>
                  <a:schemeClr val="accent1"/>
                </a:solidFill>
              </a:rPr>
              <a:t>标题文本预设</a:t>
            </a:r>
          </a:p>
        </p:txBody>
      </p:sp>
    </p:spTree>
    <p:extLst>
      <p:ext uri="{BB962C8B-B14F-4D97-AF65-F5344CB8AC3E}">
        <p14:creationId xmlns:p14="http://schemas.microsoft.com/office/powerpoint/2010/main" val="359966007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2048AEE-1BA7-4DB8-A803-E403C5E32B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EB125610-044B-458F-9F72-F2653A7C7E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6F631B68-65EE-4111-8B02-883BE792F3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7</a:t>
            </a:fld>
            <a:endParaRPr lang="zh-CN" altLang="en-US"/>
          </a:p>
        </p:txBody>
      </p:sp>
      <p:sp>
        <p:nvSpPr>
          <p:cNvPr id="6" name="iṩlïḋê">
            <a:extLst>
              <a:ext uri="{FF2B5EF4-FFF2-40B4-BE49-F238E27FC236}">
                <a16:creationId xmlns:a16="http://schemas.microsoft.com/office/drawing/2014/main" id="{FAE000DE-539B-42BD-8B21-416E5B0C22B0}"/>
              </a:ext>
            </a:extLst>
          </p:cNvPr>
          <p:cNvSpPr/>
          <p:nvPr/>
        </p:nvSpPr>
        <p:spPr>
          <a:xfrm rot="1800000">
            <a:off x="640448" y="4129382"/>
            <a:ext cx="1252939" cy="1080120"/>
          </a:xfrm>
          <a:prstGeom prst="hexagon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/>
          </a:p>
        </p:txBody>
      </p:sp>
      <p:cxnSp>
        <p:nvCxnSpPr>
          <p:cNvPr id="7" name="直接连接符 6">
            <a:extLst>
              <a:ext uri="{FF2B5EF4-FFF2-40B4-BE49-F238E27FC236}">
                <a16:creationId xmlns:a16="http://schemas.microsoft.com/office/drawing/2014/main" id="{DB77E803-80CB-46C2-9F5F-7C3BC8727568}"/>
              </a:ext>
            </a:extLst>
          </p:cNvPr>
          <p:cNvCxnSpPr>
            <a:cxnSpLocks/>
          </p:cNvCxnSpPr>
          <p:nvPr/>
        </p:nvCxnSpPr>
        <p:spPr>
          <a:xfrm flipH="1">
            <a:off x="0" y="5137146"/>
            <a:ext cx="996886" cy="1726658"/>
          </a:xfrm>
          <a:prstGeom prst="line">
            <a:avLst/>
          </a:prstGeom>
          <a:ln w="285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iSḷïdé">
            <a:extLst>
              <a:ext uri="{FF2B5EF4-FFF2-40B4-BE49-F238E27FC236}">
                <a16:creationId xmlns:a16="http://schemas.microsoft.com/office/drawing/2014/main" id="{91047A42-E948-4C0A-9D47-62F55A193A1E}"/>
              </a:ext>
            </a:extLst>
          </p:cNvPr>
          <p:cNvSpPr>
            <a:spLocks noChangeAspect="1"/>
          </p:cNvSpPr>
          <p:nvPr/>
        </p:nvSpPr>
        <p:spPr bwMode="auto">
          <a:xfrm rot="1800000">
            <a:off x="962075" y="4427540"/>
            <a:ext cx="609685" cy="483804"/>
          </a:xfrm>
          <a:custGeom>
            <a:avLst/>
            <a:gdLst>
              <a:gd name="T0" fmla="*/ 2641 w 3160"/>
              <a:gd name="T1" fmla="*/ 0 h 2511"/>
              <a:gd name="T2" fmla="*/ 1167 w 3160"/>
              <a:gd name="T3" fmla="*/ 1474 h 2511"/>
              <a:gd name="T4" fmla="*/ 519 w 3160"/>
              <a:gd name="T5" fmla="*/ 826 h 2511"/>
              <a:gd name="T6" fmla="*/ 0 w 3160"/>
              <a:gd name="T7" fmla="*/ 1344 h 2511"/>
              <a:gd name="T8" fmla="*/ 1167 w 3160"/>
              <a:gd name="T9" fmla="*/ 2511 h 2511"/>
              <a:gd name="T10" fmla="*/ 3160 w 3160"/>
              <a:gd name="T11" fmla="*/ 519 h 2511"/>
              <a:gd name="T12" fmla="*/ 2641 w 3160"/>
              <a:gd name="T13" fmla="*/ 0 h 25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160" h="2511">
                <a:moveTo>
                  <a:pt x="2641" y="0"/>
                </a:moveTo>
                <a:lnTo>
                  <a:pt x="1167" y="1474"/>
                </a:lnTo>
                <a:lnTo>
                  <a:pt x="519" y="826"/>
                </a:lnTo>
                <a:lnTo>
                  <a:pt x="0" y="1344"/>
                </a:lnTo>
                <a:lnTo>
                  <a:pt x="1167" y="2511"/>
                </a:lnTo>
                <a:lnTo>
                  <a:pt x="3160" y="519"/>
                </a:lnTo>
                <a:lnTo>
                  <a:pt x="2641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/>
          <a:lstStyle/>
          <a:p>
            <a:endParaRPr lang="zh-CN" altLang="en-US"/>
          </a:p>
        </p:txBody>
      </p:sp>
      <p:cxnSp>
        <p:nvCxnSpPr>
          <p:cNvPr id="9" name="直接连接符 8">
            <a:extLst>
              <a:ext uri="{FF2B5EF4-FFF2-40B4-BE49-F238E27FC236}">
                <a16:creationId xmlns:a16="http://schemas.microsoft.com/office/drawing/2014/main" id="{EC49A9D8-523C-4014-9267-A26708AAA466}"/>
              </a:ext>
            </a:extLst>
          </p:cNvPr>
          <p:cNvCxnSpPr>
            <a:cxnSpLocks/>
          </p:cNvCxnSpPr>
          <p:nvPr/>
        </p:nvCxnSpPr>
        <p:spPr>
          <a:xfrm>
            <a:off x="6096000" y="2260121"/>
            <a:ext cx="0" cy="3856517"/>
          </a:xfrm>
          <a:prstGeom prst="line">
            <a:avLst/>
          </a:prstGeom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ïSliḍe">
            <a:extLst>
              <a:ext uri="{FF2B5EF4-FFF2-40B4-BE49-F238E27FC236}">
                <a16:creationId xmlns:a16="http://schemas.microsoft.com/office/drawing/2014/main" id="{D4643468-39E4-4BB6-A4A8-D6F8ECA5A3AC}"/>
              </a:ext>
            </a:extLst>
          </p:cNvPr>
          <p:cNvSpPr/>
          <p:nvPr/>
        </p:nvSpPr>
        <p:spPr>
          <a:xfrm rot="19800000" flipH="1">
            <a:off x="10301964" y="4178254"/>
            <a:ext cx="1252939" cy="1080120"/>
          </a:xfrm>
          <a:prstGeom prst="hexagon">
            <a:avLst/>
          </a:prstGeom>
          <a:solidFill>
            <a:schemeClr val="tx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/>
          </a:p>
        </p:txBody>
      </p:sp>
      <p:cxnSp>
        <p:nvCxnSpPr>
          <p:cNvPr id="11" name="直接连接符 10">
            <a:extLst>
              <a:ext uri="{FF2B5EF4-FFF2-40B4-BE49-F238E27FC236}">
                <a16:creationId xmlns:a16="http://schemas.microsoft.com/office/drawing/2014/main" id="{678BCEF5-532F-4E50-9236-C12D0093011D}"/>
              </a:ext>
            </a:extLst>
          </p:cNvPr>
          <p:cNvCxnSpPr>
            <a:cxnSpLocks/>
          </p:cNvCxnSpPr>
          <p:nvPr/>
        </p:nvCxnSpPr>
        <p:spPr>
          <a:xfrm>
            <a:off x="11198463" y="5186021"/>
            <a:ext cx="983845" cy="1704068"/>
          </a:xfrm>
          <a:prstGeom prst="line">
            <a:avLst/>
          </a:prstGeom>
          <a:ln w="285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îŝ1ídè">
            <a:extLst>
              <a:ext uri="{FF2B5EF4-FFF2-40B4-BE49-F238E27FC236}">
                <a16:creationId xmlns:a16="http://schemas.microsoft.com/office/drawing/2014/main" id="{C754CD4B-ED14-4BF0-AA22-F6E46C65A41E}"/>
              </a:ext>
            </a:extLst>
          </p:cNvPr>
          <p:cNvSpPr>
            <a:spLocks noChangeAspect="1"/>
          </p:cNvSpPr>
          <p:nvPr/>
        </p:nvSpPr>
        <p:spPr bwMode="auto">
          <a:xfrm rot="19800000">
            <a:off x="10623591" y="4413928"/>
            <a:ext cx="609685" cy="608772"/>
          </a:xfrm>
          <a:custGeom>
            <a:avLst/>
            <a:gdLst>
              <a:gd name="T0" fmla="*/ 3930 w 3987"/>
              <a:gd name="T1" fmla="*/ 2941 h 3987"/>
              <a:gd name="T2" fmla="*/ 2983 w 3987"/>
              <a:gd name="T3" fmla="*/ 1994 h 3987"/>
              <a:gd name="T4" fmla="*/ 3930 w 3987"/>
              <a:gd name="T5" fmla="*/ 1047 h 3987"/>
              <a:gd name="T6" fmla="*/ 3930 w 3987"/>
              <a:gd name="T7" fmla="*/ 841 h 3987"/>
              <a:gd name="T8" fmla="*/ 3145 w 3987"/>
              <a:gd name="T9" fmla="*/ 57 h 3987"/>
              <a:gd name="T10" fmla="*/ 3042 w 3987"/>
              <a:gd name="T11" fmla="*/ 14 h 3987"/>
              <a:gd name="T12" fmla="*/ 2940 w 3987"/>
              <a:gd name="T13" fmla="*/ 57 h 3987"/>
              <a:gd name="T14" fmla="*/ 1993 w 3987"/>
              <a:gd name="T15" fmla="*/ 1004 h 3987"/>
              <a:gd name="T16" fmla="*/ 1046 w 3987"/>
              <a:gd name="T17" fmla="*/ 57 h 3987"/>
              <a:gd name="T18" fmla="*/ 840 w 3987"/>
              <a:gd name="T19" fmla="*/ 57 h 3987"/>
              <a:gd name="T20" fmla="*/ 56 w 3987"/>
              <a:gd name="T21" fmla="*/ 842 h 3987"/>
              <a:gd name="T22" fmla="*/ 13 w 3987"/>
              <a:gd name="T23" fmla="*/ 945 h 3987"/>
              <a:gd name="T24" fmla="*/ 56 w 3987"/>
              <a:gd name="T25" fmla="*/ 1047 h 3987"/>
              <a:gd name="T26" fmla="*/ 1003 w 3987"/>
              <a:gd name="T27" fmla="*/ 1994 h 3987"/>
              <a:gd name="T28" fmla="*/ 56 w 3987"/>
              <a:gd name="T29" fmla="*/ 2941 h 3987"/>
              <a:gd name="T30" fmla="*/ 56 w 3987"/>
              <a:gd name="T31" fmla="*/ 3147 h 3987"/>
              <a:gd name="T32" fmla="*/ 841 w 3987"/>
              <a:gd name="T33" fmla="*/ 3931 h 3987"/>
              <a:gd name="T34" fmla="*/ 944 w 3987"/>
              <a:gd name="T35" fmla="*/ 3974 h 3987"/>
              <a:gd name="T36" fmla="*/ 944 w 3987"/>
              <a:gd name="T37" fmla="*/ 3974 h 3987"/>
              <a:gd name="T38" fmla="*/ 1046 w 3987"/>
              <a:gd name="T39" fmla="*/ 3931 h 3987"/>
              <a:gd name="T40" fmla="*/ 1993 w 3987"/>
              <a:gd name="T41" fmla="*/ 2984 h 3987"/>
              <a:gd name="T42" fmla="*/ 2940 w 3987"/>
              <a:gd name="T43" fmla="*/ 3931 h 3987"/>
              <a:gd name="T44" fmla="*/ 3146 w 3987"/>
              <a:gd name="T45" fmla="*/ 3931 h 3987"/>
              <a:gd name="T46" fmla="*/ 3930 w 3987"/>
              <a:gd name="T47" fmla="*/ 3146 h 3987"/>
              <a:gd name="T48" fmla="*/ 3973 w 3987"/>
              <a:gd name="T49" fmla="*/ 3043 h 3987"/>
              <a:gd name="T50" fmla="*/ 3930 w 3987"/>
              <a:gd name="T51" fmla="*/ 2941 h 39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3987" h="3987">
                <a:moveTo>
                  <a:pt x="3930" y="2941"/>
                </a:moveTo>
                <a:lnTo>
                  <a:pt x="2983" y="1994"/>
                </a:lnTo>
                <a:lnTo>
                  <a:pt x="3930" y="1047"/>
                </a:lnTo>
                <a:cubicBezTo>
                  <a:pt x="3987" y="990"/>
                  <a:pt x="3987" y="898"/>
                  <a:pt x="3930" y="841"/>
                </a:cubicBezTo>
                <a:lnTo>
                  <a:pt x="3145" y="57"/>
                </a:lnTo>
                <a:cubicBezTo>
                  <a:pt x="3118" y="29"/>
                  <a:pt x="3081" y="14"/>
                  <a:pt x="3042" y="14"/>
                </a:cubicBezTo>
                <a:cubicBezTo>
                  <a:pt x="3004" y="14"/>
                  <a:pt x="2967" y="29"/>
                  <a:pt x="2940" y="57"/>
                </a:cubicBezTo>
                <a:lnTo>
                  <a:pt x="1993" y="1004"/>
                </a:lnTo>
                <a:lnTo>
                  <a:pt x="1046" y="57"/>
                </a:lnTo>
                <a:cubicBezTo>
                  <a:pt x="989" y="0"/>
                  <a:pt x="897" y="0"/>
                  <a:pt x="840" y="57"/>
                </a:cubicBezTo>
                <a:lnTo>
                  <a:pt x="56" y="842"/>
                </a:lnTo>
                <a:cubicBezTo>
                  <a:pt x="28" y="869"/>
                  <a:pt x="13" y="906"/>
                  <a:pt x="13" y="945"/>
                </a:cubicBezTo>
                <a:cubicBezTo>
                  <a:pt x="13" y="983"/>
                  <a:pt x="28" y="1020"/>
                  <a:pt x="56" y="1047"/>
                </a:cubicBezTo>
                <a:lnTo>
                  <a:pt x="1003" y="1994"/>
                </a:lnTo>
                <a:lnTo>
                  <a:pt x="56" y="2941"/>
                </a:lnTo>
                <a:cubicBezTo>
                  <a:pt x="0" y="2998"/>
                  <a:pt x="0" y="3090"/>
                  <a:pt x="56" y="3147"/>
                </a:cubicBezTo>
                <a:lnTo>
                  <a:pt x="841" y="3931"/>
                </a:lnTo>
                <a:cubicBezTo>
                  <a:pt x="868" y="3959"/>
                  <a:pt x="905" y="3974"/>
                  <a:pt x="944" y="3974"/>
                </a:cubicBezTo>
                <a:lnTo>
                  <a:pt x="944" y="3974"/>
                </a:lnTo>
                <a:cubicBezTo>
                  <a:pt x="982" y="3974"/>
                  <a:pt x="1019" y="3959"/>
                  <a:pt x="1046" y="3931"/>
                </a:cubicBezTo>
                <a:lnTo>
                  <a:pt x="1993" y="2984"/>
                </a:lnTo>
                <a:lnTo>
                  <a:pt x="2940" y="3931"/>
                </a:lnTo>
                <a:cubicBezTo>
                  <a:pt x="2997" y="3987"/>
                  <a:pt x="3089" y="3987"/>
                  <a:pt x="3146" y="3931"/>
                </a:cubicBezTo>
                <a:lnTo>
                  <a:pt x="3930" y="3146"/>
                </a:lnTo>
                <a:cubicBezTo>
                  <a:pt x="3958" y="3119"/>
                  <a:pt x="3973" y="3082"/>
                  <a:pt x="3973" y="3043"/>
                </a:cubicBezTo>
                <a:cubicBezTo>
                  <a:pt x="3973" y="3005"/>
                  <a:pt x="3958" y="2968"/>
                  <a:pt x="3930" y="294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48" name="ís1iďè">
            <a:extLst>
              <a:ext uri="{FF2B5EF4-FFF2-40B4-BE49-F238E27FC236}">
                <a16:creationId xmlns:a16="http://schemas.microsoft.com/office/drawing/2014/main" id="{62FF6F99-F491-4A8A-8E87-39E9F3E0CFE5}"/>
              </a:ext>
            </a:extLst>
          </p:cNvPr>
          <p:cNvSpPr txBox="1"/>
          <p:nvPr/>
        </p:nvSpPr>
        <p:spPr>
          <a:xfrm>
            <a:off x="2320608" y="4978080"/>
            <a:ext cx="2287553" cy="725008"/>
          </a:xfrm>
          <a:prstGeom prst="rect">
            <a:avLst/>
          </a:prstGeom>
          <a:noFill/>
        </p:spPr>
        <p:txBody>
          <a:bodyPr wrap="square" lIns="90000" tIns="46800" rIns="90000" bIns="46800" anchor="t">
            <a:normAutofit/>
          </a:bodyPr>
          <a:lstStyle/>
          <a:p>
            <a:pPr algn="r" defTabSz="914378">
              <a:lnSpc>
                <a:spcPct val="120000"/>
              </a:lnSpc>
              <a:spcBef>
                <a:spcPct val="0"/>
              </a:spcBef>
              <a:defRPr/>
            </a:pPr>
            <a:r>
              <a:rPr lang="zh-CN" altLang="en-US" sz="1100"/>
              <a:t>此部分内容作为文字排版占位显示</a:t>
            </a:r>
            <a:br>
              <a:rPr lang="zh-CN" altLang="en-US" sz="1100"/>
            </a:br>
            <a:r>
              <a:rPr lang="zh-CN" altLang="en-US" sz="1100"/>
              <a:t>（建议使用主题字体）</a:t>
            </a:r>
            <a:endParaRPr lang="zh-CN" altLang="en-US" sz="1100" dirty="0"/>
          </a:p>
        </p:txBody>
      </p:sp>
      <p:sp>
        <p:nvSpPr>
          <p:cNvPr id="49" name="iṩlíḑè">
            <a:extLst>
              <a:ext uri="{FF2B5EF4-FFF2-40B4-BE49-F238E27FC236}">
                <a16:creationId xmlns:a16="http://schemas.microsoft.com/office/drawing/2014/main" id="{D5D3AC40-2547-4CC6-9FBA-8F3A49ACD910}"/>
              </a:ext>
            </a:extLst>
          </p:cNvPr>
          <p:cNvSpPr/>
          <p:nvPr/>
        </p:nvSpPr>
        <p:spPr>
          <a:xfrm>
            <a:off x="2320608" y="4657086"/>
            <a:ext cx="2287553" cy="320994"/>
          </a:xfrm>
          <a:prstGeom prst="rect">
            <a:avLst/>
          </a:prstGeom>
        </p:spPr>
        <p:txBody>
          <a:bodyPr wrap="none" lIns="90000" tIns="46800" rIns="90000" bIns="46800" anchor="b">
            <a:normAutofit lnSpcReduction="10000"/>
          </a:bodyPr>
          <a:lstStyle/>
          <a:p>
            <a:pPr lvl="0" algn="r" defTabSz="914378">
              <a:spcBef>
                <a:spcPct val="0"/>
              </a:spcBef>
              <a:defRPr/>
            </a:pPr>
            <a:r>
              <a:rPr lang="zh-CN" altLang="en-US" sz="1600" b="1">
                <a:solidFill>
                  <a:schemeClr val="accent1"/>
                </a:solidFill>
              </a:rPr>
              <a:t>标题文本预设</a:t>
            </a:r>
            <a:endParaRPr lang="zh-CN" altLang="en-US" sz="1600" b="1" dirty="0">
              <a:solidFill>
                <a:schemeClr val="accent1"/>
              </a:solidFill>
            </a:endParaRPr>
          </a:p>
        </p:txBody>
      </p:sp>
      <p:sp>
        <p:nvSpPr>
          <p:cNvPr id="46" name="íṥļiḋè">
            <a:extLst>
              <a:ext uri="{FF2B5EF4-FFF2-40B4-BE49-F238E27FC236}">
                <a16:creationId xmlns:a16="http://schemas.microsoft.com/office/drawing/2014/main" id="{7FBB4677-0183-4742-89CE-4C7219653FFC}"/>
              </a:ext>
            </a:extLst>
          </p:cNvPr>
          <p:cNvSpPr txBox="1"/>
          <p:nvPr/>
        </p:nvSpPr>
        <p:spPr>
          <a:xfrm>
            <a:off x="7539476" y="2487968"/>
            <a:ext cx="2331916" cy="725008"/>
          </a:xfrm>
          <a:prstGeom prst="rect">
            <a:avLst/>
          </a:prstGeom>
          <a:noFill/>
        </p:spPr>
        <p:txBody>
          <a:bodyPr wrap="square" lIns="90000" tIns="46800" rIns="90000" bIns="46800" anchor="t">
            <a:normAutofit/>
          </a:bodyPr>
          <a:lstStyle/>
          <a:p>
            <a:pPr defTabSz="914378">
              <a:lnSpc>
                <a:spcPct val="120000"/>
              </a:lnSpc>
              <a:spcBef>
                <a:spcPct val="0"/>
              </a:spcBef>
              <a:defRPr/>
            </a:pPr>
            <a:r>
              <a:rPr lang="zh-CN" altLang="en-US" sz="1100"/>
              <a:t>此部分内容作为文字排版占位显示</a:t>
            </a:r>
            <a:br>
              <a:rPr lang="zh-CN" altLang="en-US" sz="1100"/>
            </a:br>
            <a:r>
              <a:rPr lang="zh-CN" altLang="en-US" sz="1100"/>
              <a:t>（建议使用主题字体）</a:t>
            </a:r>
            <a:endParaRPr lang="zh-CN" altLang="en-US" sz="1100" dirty="0"/>
          </a:p>
        </p:txBody>
      </p:sp>
      <p:sp>
        <p:nvSpPr>
          <p:cNvPr id="47" name="iṣḻîďè">
            <a:extLst>
              <a:ext uri="{FF2B5EF4-FFF2-40B4-BE49-F238E27FC236}">
                <a16:creationId xmlns:a16="http://schemas.microsoft.com/office/drawing/2014/main" id="{64E4E81D-195F-4759-9334-0FA6EFDBD250}"/>
              </a:ext>
            </a:extLst>
          </p:cNvPr>
          <p:cNvSpPr/>
          <p:nvPr/>
        </p:nvSpPr>
        <p:spPr>
          <a:xfrm>
            <a:off x="7539476" y="2166974"/>
            <a:ext cx="2331916" cy="320994"/>
          </a:xfrm>
          <a:prstGeom prst="rect">
            <a:avLst/>
          </a:prstGeom>
        </p:spPr>
        <p:txBody>
          <a:bodyPr wrap="none" lIns="90000" tIns="46800" rIns="90000" bIns="46800" anchor="b">
            <a:normAutofit lnSpcReduction="10000"/>
          </a:bodyPr>
          <a:lstStyle/>
          <a:p>
            <a:pPr lvl="0" defTabSz="914378">
              <a:spcBef>
                <a:spcPct val="0"/>
              </a:spcBef>
              <a:defRPr/>
            </a:pPr>
            <a:r>
              <a:rPr lang="zh-CN" altLang="en-US" sz="1600" b="1"/>
              <a:t>标题文本预设</a:t>
            </a:r>
            <a:endParaRPr lang="zh-CN" altLang="en-US" sz="1600" b="1" dirty="0"/>
          </a:p>
        </p:txBody>
      </p:sp>
      <p:sp>
        <p:nvSpPr>
          <p:cNvPr id="44" name="îśḻïďé">
            <a:extLst>
              <a:ext uri="{FF2B5EF4-FFF2-40B4-BE49-F238E27FC236}">
                <a16:creationId xmlns:a16="http://schemas.microsoft.com/office/drawing/2014/main" id="{5A7E9F33-5357-494B-99A5-6F5301E7B359}"/>
              </a:ext>
            </a:extLst>
          </p:cNvPr>
          <p:cNvSpPr txBox="1"/>
          <p:nvPr/>
        </p:nvSpPr>
        <p:spPr>
          <a:xfrm>
            <a:off x="2320608" y="3399534"/>
            <a:ext cx="2287553" cy="725008"/>
          </a:xfrm>
          <a:prstGeom prst="rect">
            <a:avLst/>
          </a:prstGeom>
          <a:noFill/>
        </p:spPr>
        <p:txBody>
          <a:bodyPr wrap="square" lIns="90000" tIns="46800" rIns="90000" bIns="46800" anchor="t">
            <a:normAutofit/>
          </a:bodyPr>
          <a:lstStyle/>
          <a:p>
            <a:pPr algn="r" defTabSz="914378">
              <a:lnSpc>
                <a:spcPct val="120000"/>
              </a:lnSpc>
              <a:spcBef>
                <a:spcPct val="0"/>
              </a:spcBef>
              <a:defRPr/>
            </a:pPr>
            <a:r>
              <a:rPr lang="zh-CN" altLang="en-US" sz="1100"/>
              <a:t>此部分内容作为文字排版占位显示</a:t>
            </a:r>
            <a:br>
              <a:rPr lang="zh-CN" altLang="en-US" sz="1100"/>
            </a:br>
            <a:r>
              <a:rPr lang="zh-CN" altLang="en-US" sz="1100"/>
              <a:t>（建议使用主题字体）</a:t>
            </a:r>
            <a:endParaRPr lang="zh-CN" altLang="en-US" sz="1100" dirty="0"/>
          </a:p>
        </p:txBody>
      </p:sp>
      <p:sp>
        <p:nvSpPr>
          <p:cNvPr id="45" name="ïṧlïḑe">
            <a:extLst>
              <a:ext uri="{FF2B5EF4-FFF2-40B4-BE49-F238E27FC236}">
                <a16:creationId xmlns:a16="http://schemas.microsoft.com/office/drawing/2014/main" id="{06419D07-E34D-48EE-A1D0-F23891A9D0DF}"/>
              </a:ext>
            </a:extLst>
          </p:cNvPr>
          <p:cNvSpPr/>
          <p:nvPr/>
        </p:nvSpPr>
        <p:spPr>
          <a:xfrm>
            <a:off x="2320608" y="3078540"/>
            <a:ext cx="2287553" cy="320994"/>
          </a:xfrm>
          <a:prstGeom prst="rect">
            <a:avLst/>
          </a:prstGeom>
        </p:spPr>
        <p:txBody>
          <a:bodyPr wrap="none" lIns="90000" tIns="46800" rIns="90000" bIns="46800" anchor="b">
            <a:normAutofit lnSpcReduction="10000"/>
          </a:bodyPr>
          <a:lstStyle/>
          <a:p>
            <a:pPr lvl="0" algn="r" defTabSz="914378">
              <a:spcBef>
                <a:spcPct val="0"/>
              </a:spcBef>
              <a:defRPr/>
            </a:pPr>
            <a:r>
              <a:rPr lang="zh-CN" altLang="en-US" sz="1600" b="1">
                <a:solidFill>
                  <a:schemeClr val="accent1"/>
                </a:solidFill>
              </a:rPr>
              <a:t>标题文本预设</a:t>
            </a:r>
            <a:endParaRPr lang="zh-CN" altLang="en-US" sz="1600" b="1" dirty="0">
              <a:solidFill>
                <a:schemeClr val="accent1"/>
              </a:solidFill>
            </a:endParaRPr>
          </a:p>
        </p:txBody>
      </p:sp>
      <p:sp>
        <p:nvSpPr>
          <p:cNvPr id="42" name="îS1íḓé">
            <a:extLst>
              <a:ext uri="{FF2B5EF4-FFF2-40B4-BE49-F238E27FC236}">
                <a16:creationId xmlns:a16="http://schemas.microsoft.com/office/drawing/2014/main" id="{40CBE898-55B4-4973-A462-CCBBD8DD7149}"/>
              </a:ext>
            </a:extLst>
          </p:cNvPr>
          <p:cNvSpPr txBox="1"/>
          <p:nvPr/>
        </p:nvSpPr>
        <p:spPr>
          <a:xfrm>
            <a:off x="7539476" y="3896174"/>
            <a:ext cx="2331916" cy="725008"/>
          </a:xfrm>
          <a:prstGeom prst="rect">
            <a:avLst/>
          </a:prstGeom>
          <a:noFill/>
        </p:spPr>
        <p:txBody>
          <a:bodyPr wrap="square" lIns="90000" tIns="46800" rIns="90000" bIns="46800" anchor="t">
            <a:normAutofit/>
          </a:bodyPr>
          <a:lstStyle/>
          <a:p>
            <a:pPr defTabSz="914378">
              <a:lnSpc>
                <a:spcPct val="120000"/>
              </a:lnSpc>
              <a:spcBef>
                <a:spcPct val="0"/>
              </a:spcBef>
              <a:defRPr/>
            </a:pPr>
            <a:r>
              <a:rPr lang="zh-CN" altLang="en-US" sz="1100"/>
              <a:t>此部分内容作为文字排版占位显示</a:t>
            </a:r>
            <a:br>
              <a:rPr lang="zh-CN" altLang="en-US" sz="1100"/>
            </a:br>
            <a:r>
              <a:rPr lang="zh-CN" altLang="en-US" sz="1100"/>
              <a:t>（建议使用主题字体）</a:t>
            </a:r>
            <a:endParaRPr lang="zh-CN" altLang="en-US" sz="1100" dirty="0"/>
          </a:p>
        </p:txBody>
      </p:sp>
      <p:sp>
        <p:nvSpPr>
          <p:cNvPr id="43" name="íṩľïďê">
            <a:extLst>
              <a:ext uri="{FF2B5EF4-FFF2-40B4-BE49-F238E27FC236}">
                <a16:creationId xmlns:a16="http://schemas.microsoft.com/office/drawing/2014/main" id="{E8A57C7A-D0E2-414F-A6D3-49BD5F10D1B7}"/>
              </a:ext>
            </a:extLst>
          </p:cNvPr>
          <p:cNvSpPr/>
          <p:nvPr/>
        </p:nvSpPr>
        <p:spPr>
          <a:xfrm>
            <a:off x="7539476" y="3575180"/>
            <a:ext cx="2331916" cy="320994"/>
          </a:xfrm>
          <a:prstGeom prst="rect">
            <a:avLst/>
          </a:prstGeom>
        </p:spPr>
        <p:txBody>
          <a:bodyPr wrap="none" lIns="90000" tIns="46800" rIns="90000" bIns="46800" anchor="b">
            <a:normAutofit lnSpcReduction="10000"/>
          </a:bodyPr>
          <a:lstStyle/>
          <a:p>
            <a:pPr lvl="0" defTabSz="914378">
              <a:spcBef>
                <a:spcPct val="0"/>
              </a:spcBef>
              <a:defRPr/>
            </a:pPr>
            <a:r>
              <a:rPr lang="zh-CN" altLang="en-US" sz="1600" b="1"/>
              <a:t>标题文本预设</a:t>
            </a:r>
            <a:endParaRPr lang="zh-CN" altLang="en-US" sz="1600" b="1" dirty="0"/>
          </a:p>
        </p:txBody>
      </p:sp>
      <p:sp>
        <p:nvSpPr>
          <p:cNvPr id="40" name="îṣľîdè">
            <a:extLst>
              <a:ext uri="{FF2B5EF4-FFF2-40B4-BE49-F238E27FC236}">
                <a16:creationId xmlns:a16="http://schemas.microsoft.com/office/drawing/2014/main" id="{D7EF6053-ADBF-47EA-93E9-4279CAD3C859}"/>
              </a:ext>
            </a:extLst>
          </p:cNvPr>
          <p:cNvSpPr txBox="1"/>
          <p:nvPr/>
        </p:nvSpPr>
        <p:spPr>
          <a:xfrm>
            <a:off x="7539476" y="5304380"/>
            <a:ext cx="2331916" cy="725008"/>
          </a:xfrm>
          <a:prstGeom prst="rect">
            <a:avLst/>
          </a:prstGeom>
          <a:noFill/>
        </p:spPr>
        <p:txBody>
          <a:bodyPr wrap="square" lIns="90000" tIns="46800" rIns="90000" bIns="46800" anchor="t">
            <a:normAutofit/>
          </a:bodyPr>
          <a:lstStyle/>
          <a:p>
            <a:pPr defTabSz="914378">
              <a:lnSpc>
                <a:spcPct val="120000"/>
              </a:lnSpc>
              <a:spcBef>
                <a:spcPct val="0"/>
              </a:spcBef>
              <a:defRPr/>
            </a:pPr>
            <a:r>
              <a:rPr lang="zh-CN" altLang="en-US" sz="1100"/>
              <a:t>此部分内容作为文字排版占位显示</a:t>
            </a:r>
            <a:br>
              <a:rPr lang="zh-CN" altLang="en-US" sz="1100"/>
            </a:br>
            <a:r>
              <a:rPr lang="zh-CN" altLang="en-US" sz="1100"/>
              <a:t>（建议使用主题字体）</a:t>
            </a:r>
            <a:endParaRPr lang="zh-CN" altLang="en-US" sz="1100" dirty="0"/>
          </a:p>
        </p:txBody>
      </p:sp>
      <p:sp>
        <p:nvSpPr>
          <p:cNvPr id="41" name="íṥlîḍé">
            <a:extLst>
              <a:ext uri="{FF2B5EF4-FFF2-40B4-BE49-F238E27FC236}">
                <a16:creationId xmlns:a16="http://schemas.microsoft.com/office/drawing/2014/main" id="{4401B16F-EE63-4FDA-B335-7ABB4EC83B9C}"/>
              </a:ext>
            </a:extLst>
          </p:cNvPr>
          <p:cNvSpPr/>
          <p:nvPr/>
        </p:nvSpPr>
        <p:spPr>
          <a:xfrm>
            <a:off x="7539476" y="4983386"/>
            <a:ext cx="2331916" cy="320994"/>
          </a:xfrm>
          <a:prstGeom prst="rect">
            <a:avLst/>
          </a:prstGeom>
        </p:spPr>
        <p:txBody>
          <a:bodyPr wrap="none" lIns="90000" tIns="46800" rIns="90000" bIns="46800" anchor="b">
            <a:normAutofit lnSpcReduction="10000"/>
          </a:bodyPr>
          <a:lstStyle/>
          <a:p>
            <a:pPr lvl="0" defTabSz="914378">
              <a:spcBef>
                <a:spcPct val="0"/>
              </a:spcBef>
              <a:defRPr/>
            </a:pPr>
            <a:r>
              <a:rPr lang="zh-CN" altLang="en-US" sz="1600" b="1"/>
              <a:t>标题文本预设</a:t>
            </a:r>
            <a:endParaRPr lang="zh-CN" altLang="en-US" sz="1600" b="1" dirty="0"/>
          </a:p>
        </p:txBody>
      </p:sp>
      <p:cxnSp>
        <p:nvCxnSpPr>
          <p:cNvPr id="18" name="直接连接符 17">
            <a:extLst>
              <a:ext uri="{FF2B5EF4-FFF2-40B4-BE49-F238E27FC236}">
                <a16:creationId xmlns:a16="http://schemas.microsoft.com/office/drawing/2014/main" id="{711B0474-1595-412A-9A65-CDD0CD030D52}"/>
              </a:ext>
            </a:extLst>
          </p:cNvPr>
          <p:cNvCxnSpPr>
            <a:cxnSpLocks/>
          </p:cNvCxnSpPr>
          <p:nvPr/>
        </p:nvCxnSpPr>
        <p:spPr>
          <a:xfrm>
            <a:off x="6902764" y="2166974"/>
            <a:ext cx="0" cy="3708270"/>
          </a:xfrm>
          <a:prstGeom prst="line">
            <a:avLst/>
          </a:prstGeom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直接连接符 18">
            <a:extLst>
              <a:ext uri="{FF2B5EF4-FFF2-40B4-BE49-F238E27FC236}">
                <a16:creationId xmlns:a16="http://schemas.microsoft.com/office/drawing/2014/main" id="{00ADF0D8-DB7C-49BE-8AE7-36C209D32EAA}"/>
              </a:ext>
            </a:extLst>
          </p:cNvPr>
          <p:cNvCxnSpPr>
            <a:cxnSpLocks/>
          </p:cNvCxnSpPr>
          <p:nvPr/>
        </p:nvCxnSpPr>
        <p:spPr>
          <a:xfrm>
            <a:off x="5289236" y="3078540"/>
            <a:ext cx="0" cy="2729896"/>
          </a:xfrm>
          <a:prstGeom prst="line">
            <a:avLst/>
          </a:prstGeom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îśļîḑê">
            <a:extLst>
              <a:ext uri="{FF2B5EF4-FFF2-40B4-BE49-F238E27FC236}">
                <a16:creationId xmlns:a16="http://schemas.microsoft.com/office/drawing/2014/main" id="{A3048571-ACFF-4BA6-B57C-CE248A369A35}"/>
              </a:ext>
            </a:extLst>
          </p:cNvPr>
          <p:cNvSpPr/>
          <p:nvPr/>
        </p:nvSpPr>
        <p:spPr>
          <a:xfrm>
            <a:off x="6704686" y="2491897"/>
            <a:ext cx="396156" cy="396156"/>
          </a:xfrm>
          <a:prstGeom prst="ellipse">
            <a:avLst/>
          </a:prstGeom>
          <a:solidFill>
            <a:schemeClr val="tx1">
              <a:lumMod val="60000"/>
              <a:lumOff val="40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/>
          </a:p>
        </p:txBody>
      </p:sp>
      <p:sp>
        <p:nvSpPr>
          <p:cNvPr id="39" name="iṡ1îḍe">
            <a:extLst>
              <a:ext uri="{FF2B5EF4-FFF2-40B4-BE49-F238E27FC236}">
                <a16:creationId xmlns:a16="http://schemas.microsoft.com/office/drawing/2014/main" id="{C3806C13-868B-46E1-B9D1-82DE59593463}"/>
              </a:ext>
            </a:extLst>
          </p:cNvPr>
          <p:cNvSpPr>
            <a:spLocks/>
          </p:cNvSpPr>
          <p:nvPr/>
        </p:nvSpPr>
        <p:spPr bwMode="auto">
          <a:xfrm>
            <a:off x="6786531" y="2578021"/>
            <a:ext cx="232467" cy="223908"/>
          </a:xfrm>
          <a:custGeom>
            <a:avLst/>
            <a:gdLst>
              <a:gd name="connsiteX0" fmla="*/ 297615 w 597921"/>
              <a:gd name="connsiteY0" fmla="*/ 96957 h 598324"/>
              <a:gd name="connsiteX1" fmla="*/ 323434 w 597921"/>
              <a:gd name="connsiteY1" fmla="*/ 122740 h 598324"/>
              <a:gd name="connsiteX2" fmla="*/ 323434 w 597921"/>
              <a:gd name="connsiteY2" fmla="*/ 289852 h 598324"/>
              <a:gd name="connsiteX3" fmla="*/ 462572 w 597921"/>
              <a:gd name="connsiteY3" fmla="*/ 289852 h 598324"/>
              <a:gd name="connsiteX4" fmla="*/ 487913 w 597921"/>
              <a:gd name="connsiteY4" fmla="*/ 315157 h 598324"/>
              <a:gd name="connsiteX5" fmla="*/ 462572 w 597921"/>
              <a:gd name="connsiteY5" fmla="*/ 340463 h 598324"/>
              <a:gd name="connsiteX6" fmla="*/ 297615 w 597921"/>
              <a:gd name="connsiteY6" fmla="*/ 340463 h 598324"/>
              <a:gd name="connsiteX7" fmla="*/ 272274 w 597921"/>
              <a:gd name="connsiteY7" fmla="*/ 315157 h 598324"/>
              <a:gd name="connsiteX8" fmla="*/ 272274 w 597921"/>
              <a:gd name="connsiteY8" fmla="*/ 122740 h 598324"/>
              <a:gd name="connsiteX9" fmla="*/ 297615 w 597921"/>
              <a:gd name="connsiteY9" fmla="*/ 96957 h 598324"/>
              <a:gd name="connsiteX10" fmla="*/ 298127 w 597921"/>
              <a:gd name="connsiteY10" fmla="*/ 0 h 598324"/>
              <a:gd name="connsiteX11" fmla="*/ 597921 w 597921"/>
              <a:gd name="connsiteY11" fmla="*/ 299401 h 598324"/>
              <a:gd name="connsiteX12" fmla="*/ 298127 w 597921"/>
              <a:gd name="connsiteY12" fmla="*/ 598324 h 598324"/>
              <a:gd name="connsiteX13" fmla="*/ 35150 w 597921"/>
              <a:gd name="connsiteY13" fmla="*/ 442177 h 598324"/>
              <a:gd name="connsiteX14" fmla="*/ 34194 w 597921"/>
              <a:gd name="connsiteY14" fmla="*/ 432149 h 598324"/>
              <a:gd name="connsiteX15" fmla="*/ 40410 w 597921"/>
              <a:gd name="connsiteY15" fmla="*/ 424509 h 598324"/>
              <a:gd name="connsiteX16" fmla="*/ 74836 w 597921"/>
              <a:gd name="connsiteY16" fmla="*/ 407796 h 598324"/>
              <a:gd name="connsiteX17" fmla="*/ 91571 w 597921"/>
              <a:gd name="connsiteY17" fmla="*/ 413049 h 598324"/>
              <a:gd name="connsiteX18" fmla="*/ 298127 w 597921"/>
              <a:gd name="connsiteY18" fmla="*/ 534815 h 598324"/>
              <a:gd name="connsiteX19" fmla="*/ 534328 w 597921"/>
              <a:gd name="connsiteY19" fmla="*/ 299401 h 598324"/>
              <a:gd name="connsiteX20" fmla="*/ 298127 w 597921"/>
              <a:gd name="connsiteY20" fmla="*/ 63509 h 598324"/>
              <a:gd name="connsiteX21" fmla="*/ 145123 w 597921"/>
              <a:gd name="connsiteY21" fmla="*/ 120333 h 598324"/>
              <a:gd name="connsiteX22" fmla="*/ 200587 w 597921"/>
              <a:gd name="connsiteY22" fmla="*/ 142299 h 598324"/>
              <a:gd name="connsiteX23" fmla="*/ 208237 w 597921"/>
              <a:gd name="connsiteY23" fmla="*/ 152327 h 598324"/>
              <a:gd name="connsiteX24" fmla="*/ 203456 w 597921"/>
              <a:gd name="connsiteY24" fmla="*/ 164265 h 598324"/>
              <a:gd name="connsiteX25" fmla="*/ 48060 w 597921"/>
              <a:gd name="connsiteY25" fmla="*/ 285553 h 598324"/>
              <a:gd name="connsiteX26" fmla="*/ 35150 w 597921"/>
              <a:gd name="connsiteY26" fmla="*/ 287463 h 598324"/>
              <a:gd name="connsiteX27" fmla="*/ 27500 w 597921"/>
              <a:gd name="connsiteY27" fmla="*/ 277435 h 598324"/>
              <a:gd name="connsiteX28" fmla="*/ 246 w 597921"/>
              <a:gd name="connsiteY28" fmla="*/ 82132 h 598324"/>
              <a:gd name="connsiteX29" fmla="*/ 4550 w 597921"/>
              <a:gd name="connsiteY29" fmla="*/ 70194 h 598324"/>
              <a:gd name="connsiteX30" fmla="*/ 17459 w 597921"/>
              <a:gd name="connsiteY30" fmla="*/ 68762 h 598324"/>
              <a:gd name="connsiteX31" fmla="*/ 80574 w 597921"/>
              <a:gd name="connsiteY31" fmla="*/ 94070 h 598324"/>
              <a:gd name="connsiteX32" fmla="*/ 298127 w 597921"/>
              <a:gd name="connsiteY32" fmla="*/ 0 h 5983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597921" h="598324">
                <a:moveTo>
                  <a:pt x="297615" y="96957"/>
                </a:moveTo>
                <a:cubicBezTo>
                  <a:pt x="311959" y="96957"/>
                  <a:pt x="323434" y="108416"/>
                  <a:pt x="323434" y="122740"/>
                </a:cubicBezTo>
                <a:lnTo>
                  <a:pt x="323434" y="289852"/>
                </a:lnTo>
                <a:lnTo>
                  <a:pt x="462572" y="289852"/>
                </a:lnTo>
                <a:cubicBezTo>
                  <a:pt x="476438" y="289852"/>
                  <a:pt x="487913" y="301311"/>
                  <a:pt x="487913" y="315157"/>
                </a:cubicBezTo>
                <a:cubicBezTo>
                  <a:pt x="487913" y="329004"/>
                  <a:pt x="476438" y="340463"/>
                  <a:pt x="462572" y="340463"/>
                </a:cubicBezTo>
                <a:lnTo>
                  <a:pt x="297615" y="340463"/>
                </a:lnTo>
                <a:cubicBezTo>
                  <a:pt x="283749" y="340463"/>
                  <a:pt x="272274" y="329004"/>
                  <a:pt x="272274" y="315157"/>
                </a:cubicBezTo>
                <a:lnTo>
                  <a:pt x="272274" y="122740"/>
                </a:lnTo>
                <a:cubicBezTo>
                  <a:pt x="272274" y="108416"/>
                  <a:pt x="283749" y="96957"/>
                  <a:pt x="297615" y="96957"/>
                </a:cubicBezTo>
                <a:close/>
                <a:moveTo>
                  <a:pt x="298127" y="0"/>
                </a:moveTo>
                <a:cubicBezTo>
                  <a:pt x="463564" y="0"/>
                  <a:pt x="597921" y="134181"/>
                  <a:pt x="597921" y="299401"/>
                </a:cubicBezTo>
                <a:cubicBezTo>
                  <a:pt x="597921" y="464143"/>
                  <a:pt x="463564" y="598324"/>
                  <a:pt x="298127" y="598324"/>
                </a:cubicBezTo>
                <a:cubicBezTo>
                  <a:pt x="188155" y="598324"/>
                  <a:pt x="87268" y="538635"/>
                  <a:pt x="35150" y="442177"/>
                </a:cubicBezTo>
                <a:cubicBezTo>
                  <a:pt x="33238" y="438835"/>
                  <a:pt x="32760" y="435492"/>
                  <a:pt x="34194" y="432149"/>
                </a:cubicBezTo>
                <a:cubicBezTo>
                  <a:pt x="35150" y="428807"/>
                  <a:pt x="37541" y="425942"/>
                  <a:pt x="40410" y="424509"/>
                </a:cubicBezTo>
                <a:lnTo>
                  <a:pt x="74836" y="407796"/>
                </a:lnTo>
                <a:cubicBezTo>
                  <a:pt x="81052" y="404931"/>
                  <a:pt x="88702" y="407319"/>
                  <a:pt x="91571" y="413049"/>
                </a:cubicBezTo>
                <a:cubicBezTo>
                  <a:pt x="133169" y="488018"/>
                  <a:pt x="212540" y="534815"/>
                  <a:pt x="298127" y="534815"/>
                </a:cubicBezTo>
                <a:cubicBezTo>
                  <a:pt x="428181" y="534815"/>
                  <a:pt x="534328" y="429284"/>
                  <a:pt x="534328" y="299401"/>
                </a:cubicBezTo>
                <a:cubicBezTo>
                  <a:pt x="534328" y="169517"/>
                  <a:pt x="428181" y="63509"/>
                  <a:pt x="298127" y="63509"/>
                </a:cubicBezTo>
                <a:cubicBezTo>
                  <a:pt x="242185" y="63509"/>
                  <a:pt x="187677" y="83565"/>
                  <a:pt x="145123" y="120333"/>
                </a:cubicBezTo>
                <a:lnTo>
                  <a:pt x="200587" y="142299"/>
                </a:lnTo>
                <a:cubicBezTo>
                  <a:pt x="204890" y="144209"/>
                  <a:pt x="207759" y="148029"/>
                  <a:pt x="208237" y="152327"/>
                </a:cubicBezTo>
                <a:cubicBezTo>
                  <a:pt x="208715" y="157102"/>
                  <a:pt x="207281" y="161399"/>
                  <a:pt x="203456" y="164265"/>
                </a:cubicBezTo>
                <a:lnTo>
                  <a:pt x="48060" y="285553"/>
                </a:lnTo>
                <a:cubicBezTo>
                  <a:pt x="44235" y="288418"/>
                  <a:pt x="39454" y="289373"/>
                  <a:pt x="35150" y="287463"/>
                </a:cubicBezTo>
                <a:cubicBezTo>
                  <a:pt x="31325" y="285553"/>
                  <a:pt x="27978" y="281733"/>
                  <a:pt x="27500" y="277435"/>
                </a:cubicBezTo>
                <a:lnTo>
                  <a:pt x="246" y="82132"/>
                </a:lnTo>
                <a:cubicBezTo>
                  <a:pt x="-710" y="77835"/>
                  <a:pt x="1203" y="73060"/>
                  <a:pt x="4550" y="70194"/>
                </a:cubicBezTo>
                <a:cubicBezTo>
                  <a:pt x="8375" y="67807"/>
                  <a:pt x="13156" y="66852"/>
                  <a:pt x="17459" y="68762"/>
                </a:cubicBezTo>
                <a:lnTo>
                  <a:pt x="80574" y="94070"/>
                </a:lnTo>
                <a:cubicBezTo>
                  <a:pt x="137472" y="33426"/>
                  <a:pt x="214931" y="0"/>
                  <a:pt x="298127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36" name="íšḻíḋè">
            <a:extLst>
              <a:ext uri="{FF2B5EF4-FFF2-40B4-BE49-F238E27FC236}">
                <a16:creationId xmlns:a16="http://schemas.microsoft.com/office/drawing/2014/main" id="{ADCB723A-EF02-44AC-8455-D73D6E0DC173}"/>
              </a:ext>
            </a:extLst>
          </p:cNvPr>
          <p:cNvSpPr/>
          <p:nvPr/>
        </p:nvSpPr>
        <p:spPr>
          <a:xfrm>
            <a:off x="5091158" y="3403463"/>
            <a:ext cx="396156" cy="396156"/>
          </a:xfrm>
          <a:prstGeom prst="ellipse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/>
          </a:p>
        </p:txBody>
      </p:sp>
      <p:sp>
        <p:nvSpPr>
          <p:cNvPr id="37" name="ïšľïḋè">
            <a:extLst>
              <a:ext uri="{FF2B5EF4-FFF2-40B4-BE49-F238E27FC236}">
                <a16:creationId xmlns:a16="http://schemas.microsoft.com/office/drawing/2014/main" id="{B70A74DA-1117-429F-A8B7-720A9AF7EC96}"/>
              </a:ext>
            </a:extLst>
          </p:cNvPr>
          <p:cNvSpPr>
            <a:spLocks/>
          </p:cNvSpPr>
          <p:nvPr/>
        </p:nvSpPr>
        <p:spPr bwMode="auto">
          <a:xfrm>
            <a:off x="5173003" y="3489587"/>
            <a:ext cx="232467" cy="223908"/>
          </a:xfrm>
          <a:custGeom>
            <a:avLst/>
            <a:gdLst>
              <a:gd name="T0" fmla="*/ 4096 w 6827"/>
              <a:gd name="T1" fmla="*/ 4551 h 6827"/>
              <a:gd name="T2" fmla="*/ 6258 w 6827"/>
              <a:gd name="T3" fmla="*/ 4096 h 6827"/>
              <a:gd name="T4" fmla="*/ 2348 w 6827"/>
              <a:gd name="T5" fmla="*/ 4911 h 6827"/>
              <a:gd name="T6" fmla="*/ 569 w 6827"/>
              <a:gd name="T7" fmla="*/ 4551 h 6827"/>
              <a:gd name="T8" fmla="*/ 569 w 6827"/>
              <a:gd name="T9" fmla="*/ 3982 h 6827"/>
              <a:gd name="T10" fmla="*/ 1707 w 6827"/>
              <a:gd name="T11" fmla="*/ 2503 h 6827"/>
              <a:gd name="T12" fmla="*/ 3868 w 6827"/>
              <a:gd name="T13" fmla="*/ 2731 h 6827"/>
              <a:gd name="T14" fmla="*/ 5827 w 6827"/>
              <a:gd name="T15" fmla="*/ 2004 h 6827"/>
              <a:gd name="T16" fmla="*/ 6258 w 6827"/>
              <a:gd name="T17" fmla="*/ 1820 h 6827"/>
              <a:gd name="T18" fmla="*/ 4779 w 6827"/>
              <a:gd name="T19" fmla="*/ 0 h 6827"/>
              <a:gd name="T20" fmla="*/ 2854 w 6827"/>
              <a:gd name="T21" fmla="*/ 2381 h 6827"/>
              <a:gd name="T22" fmla="*/ 1239 w 6827"/>
              <a:gd name="T23" fmla="*/ 2257 h 6827"/>
              <a:gd name="T24" fmla="*/ 569 w 6827"/>
              <a:gd name="T25" fmla="*/ 2844 h 6827"/>
              <a:gd name="T26" fmla="*/ 569 w 6827"/>
              <a:gd name="T27" fmla="*/ 2276 h 6827"/>
              <a:gd name="T28" fmla="*/ 569 w 6827"/>
              <a:gd name="T29" fmla="*/ 1707 h 6827"/>
              <a:gd name="T30" fmla="*/ 569 w 6827"/>
              <a:gd name="T31" fmla="*/ 1138 h 6827"/>
              <a:gd name="T32" fmla="*/ 569 w 6827"/>
              <a:gd name="T33" fmla="*/ 569 h 6827"/>
              <a:gd name="T34" fmla="*/ 341 w 6827"/>
              <a:gd name="T35" fmla="*/ 0 h 6827"/>
              <a:gd name="T36" fmla="*/ 114 w 6827"/>
              <a:gd name="T37" fmla="*/ 569 h 6827"/>
              <a:gd name="T38" fmla="*/ 114 w 6827"/>
              <a:gd name="T39" fmla="*/ 1138 h 6827"/>
              <a:gd name="T40" fmla="*/ 114 w 6827"/>
              <a:gd name="T41" fmla="*/ 1707 h 6827"/>
              <a:gd name="T42" fmla="*/ 114 w 6827"/>
              <a:gd name="T43" fmla="*/ 2276 h 6827"/>
              <a:gd name="T44" fmla="*/ 114 w 6827"/>
              <a:gd name="T45" fmla="*/ 2844 h 6827"/>
              <a:gd name="T46" fmla="*/ 114 w 6827"/>
              <a:gd name="T47" fmla="*/ 3413 h 6827"/>
              <a:gd name="T48" fmla="*/ 114 w 6827"/>
              <a:gd name="T49" fmla="*/ 3982 h 6827"/>
              <a:gd name="T50" fmla="*/ 114 w 6827"/>
              <a:gd name="T51" fmla="*/ 4551 h 6827"/>
              <a:gd name="T52" fmla="*/ 114 w 6827"/>
              <a:gd name="T53" fmla="*/ 5120 h 6827"/>
              <a:gd name="T54" fmla="*/ 114 w 6827"/>
              <a:gd name="T55" fmla="*/ 5689 h 6827"/>
              <a:gd name="T56" fmla="*/ 114 w 6827"/>
              <a:gd name="T57" fmla="*/ 6258 h 6827"/>
              <a:gd name="T58" fmla="*/ 683 w 6827"/>
              <a:gd name="T59" fmla="*/ 6713 h 6827"/>
              <a:gd name="T60" fmla="*/ 1252 w 6827"/>
              <a:gd name="T61" fmla="*/ 6713 h 6827"/>
              <a:gd name="T62" fmla="*/ 1820 w 6827"/>
              <a:gd name="T63" fmla="*/ 6713 h 6827"/>
              <a:gd name="T64" fmla="*/ 2389 w 6827"/>
              <a:gd name="T65" fmla="*/ 6713 h 6827"/>
              <a:gd name="T66" fmla="*/ 2958 w 6827"/>
              <a:gd name="T67" fmla="*/ 6713 h 6827"/>
              <a:gd name="T68" fmla="*/ 3527 w 6827"/>
              <a:gd name="T69" fmla="*/ 6713 h 6827"/>
              <a:gd name="T70" fmla="*/ 4096 w 6827"/>
              <a:gd name="T71" fmla="*/ 6713 h 6827"/>
              <a:gd name="T72" fmla="*/ 4665 w 6827"/>
              <a:gd name="T73" fmla="*/ 6713 h 6827"/>
              <a:gd name="T74" fmla="*/ 5234 w 6827"/>
              <a:gd name="T75" fmla="*/ 6713 h 6827"/>
              <a:gd name="T76" fmla="*/ 5803 w 6827"/>
              <a:gd name="T77" fmla="*/ 6713 h 6827"/>
              <a:gd name="T78" fmla="*/ 6371 w 6827"/>
              <a:gd name="T79" fmla="*/ 6713 h 6827"/>
              <a:gd name="T80" fmla="*/ 6827 w 6827"/>
              <a:gd name="T81" fmla="*/ 6485 h 6827"/>
              <a:gd name="T82" fmla="*/ 6371 w 6827"/>
              <a:gd name="T83" fmla="*/ 6258 h 6827"/>
              <a:gd name="T84" fmla="*/ 5803 w 6827"/>
              <a:gd name="T85" fmla="*/ 6258 h 6827"/>
              <a:gd name="T86" fmla="*/ 5234 w 6827"/>
              <a:gd name="T87" fmla="*/ 6258 h 6827"/>
              <a:gd name="T88" fmla="*/ 4665 w 6827"/>
              <a:gd name="T89" fmla="*/ 6258 h 6827"/>
              <a:gd name="T90" fmla="*/ 4096 w 6827"/>
              <a:gd name="T91" fmla="*/ 6258 h 6827"/>
              <a:gd name="T92" fmla="*/ 3527 w 6827"/>
              <a:gd name="T93" fmla="*/ 6258 h 6827"/>
              <a:gd name="T94" fmla="*/ 2958 w 6827"/>
              <a:gd name="T95" fmla="*/ 6258 h 6827"/>
              <a:gd name="T96" fmla="*/ 2389 w 6827"/>
              <a:gd name="T97" fmla="*/ 6258 h 6827"/>
              <a:gd name="T98" fmla="*/ 1820 w 6827"/>
              <a:gd name="T99" fmla="*/ 6258 h 6827"/>
              <a:gd name="T100" fmla="*/ 1252 w 6827"/>
              <a:gd name="T101" fmla="*/ 6258 h 6827"/>
              <a:gd name="T102" fmla="*/ 683 w 6827"/>
              <a:gd name="T103" fmla="*/ 6258 h 68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6827" h="6827">
                <a:moveTo>
                  <a:pt x="1263" y="5234"/>
                </a:moveTo>
                <a:cubicBezTo>
                  <a:pt x="1316" y="5493"/>
                  <a:pt x="1546" y="5689"/>
                  <a:pt x="1820" y="5689"/>
                </a:cubicBezTo>
                <a:cubicBezTo>
                  <a:pt x="2114" y="5689"/>
                  <a:pt x="2354" y="5464"/>
                  <a:pt x="2383" y="5178"/>
                </a:cubicBezTo>
                <a:lnTo>
                  <a:pt x="3568" y="4191"/>
                </a:lnTo>
                <a:cubicBezTo>
                  <a:pt x="3652" y="4401"/>
                  <a:pt x="3856" y="4551"/>
                  <a:pt x="4096" y="4551"/>
                </a:cubicBezTo>
                <a:cubicBezTo>
                  <a:pt x="4348" y="4551"/>
                  <a:pt x="4560" y="4385"/>
                  <a:pt x="4635" y="4157"/>
                </a:cubicBezTo>
                <a:lnTo>
                  <a:pt x="5696" y="4736"/>
                </a:lnTo>
                <a:cubicBezTo>
                  <a:pt x="5732" y="5016"/>
                  <a:pt x="5969" y="5234"/>
                  <a:pt x="6258" y="5234"/>
                </a:cubicBezTo>
                <a:cubicBezTo>
                  <a:pt x="6571" y="5234"/>
                  <a:pt x="6827" y="4979"/>
                  <a:pt x="6827" y="4665"/>
                </a:cubicBezTo>
                <a:cubicBezTo>
                  <a:pt x="6827" y="4351"/>
                  <a:pt x="6571" y="4096"/>
                  <a:pt x="6258" y="4096"/>
                </a:cubicBezTo>
                <a:cubicBezTo>
                  <a:pt x="6006" y="4096"/>
                  <a:pt x="5794" y="4262"/>
                  <a:pt x="5719" y="4490"/>
                </a:cubicBezTo>
                <a:lnTo>
                  <a:pt x="4658" y="3911"/>
                </a:lnTo>
                <a:cubicBezTo>
                  <a:pt x="4622" y="3631"/>
                  <a:pt x="4385" y="3413"/>
                  <a:pt x="4096" y="3413"/>
                </a:cubicBezTo>
                <a:cubicBezTo>
                  <a:pt x="3802" y="3413"/>
                  <a:pt x="3563" y="3638"/>
                  <a:pt x="3533" y="3924"/>
                </a:cubicBezTo>
                <a:lnTo>
                  <a:pt x="2348" y="4911"/>
                </a:lnTo>
                <a:cubicBezTo>
                  <a:pt x="2265" y="4701"/>
                  <a:pt x="2060" y="4551"/>
                  <a:pt x="1820" y="4551"/>
                </a:cubicBezTo>
                <a:cubicBezTo>
                  <a:pt x="1546" y="4551"/>
                  <a:pt x="1316" y="4747"/>
                  <a:pt x="1263" y="5006"/>
                </a:cubicBezTo>
                <a:lnTo>
                  <a:pt x="455" y="5006"/>
                </a:lnTo>
                <a:lnTo>
                  <a:pt x="455" y="4551"/>
                </a:lnTo>
                <a:lnTo>
                  <a:pt x="569" y="4551"/>
                </a:lnTo>
                <a:cubicBezTo>
                  <a:pt x="632" y="4551"/>
                  <a:pt x="683" y="4500"/>
                  <a:pt x="683" y="4437"/>
                </a:cubicBezTo>
                <a:cubicBezTo>
                  <a:pt x="683" y="4374"/>
                  <a:pt x="632" y="4324"/>
                  <a:pt x="569" y="4324"/>
                </a:cubicBezTo>
                <a:lnTo>
                  <a:pt x="455" y="4324"/>
                </a:lnTo>
                <a:lnTo>
                  <a:pt x="455" y="3982"/>
                </a:lnTo>
                <a:lnTo>
                  <a:pt x="569" y="3982"/>
                </a:lnTo>
                <a:cubicBezTo>
                  <a:pt x="632" y="3982"/>
                  <a:pt x="683" y="3931"/>
                  <a:pt x="683" y="3868"/>
                </a:cubicBezTo>
                <a:cubicBezTo>
                  <a:pt x="683" y="3806"/>
                  <a:pt x="632" y="3755"/>
                  <a:pt x="569" y="3755"/>
                </a:cubicBezTo>
                <a:lnTo>
                  <a:pt x="480" y="3755"/>
                </a:lnTo>
                <a:lnTo>
                  <a:pt x="1407" y="2416"/>
                </a:lnTo>
                <a:cubicBezTo>
                  <a:pt x="1494" y="2470"/>
                  <a:pt x="1596" y="2503"/>
                  <a:pt x="1707" y="2503"/>
                </a:cubicBezTo>
                <a:cubicBezTo>
                  <a:pt x="1888" y="2503"/>
                  <a:pt x="2048" y="2416"/>
                  <a:pt x="2152" y="2284"/>
                </a:cubicBezTo>
                <a:lnTo>
                  <a:pt x="2752" y="2584"/>
                </a:lnTo>
                <a:cubicBezTo>
                  <a:pt x="2740" y="2631"/>
                  <a:pt x="2731" y="2680"/>
                  <a:pt x="2731" y="2731"/>
                </a:cubicBezTo>
                <a:cubicBezTo>
                  <a:pt x="2731" y="3044"/>
                  <a:pt x="2986" y="3300"/>
                  <a:pt x="3300" y="3300"/>
                </a:cubicBezTo>
                <a:cubicBezTo>
                  <a:pt x="3613" y="3300"/>
                  <a:pt x="3868" y="3044"/>
                  <a:pt x="3868" y="2731"/>
                </a:cubicBezTo>
                <a:cubicBezTo>
                  <a:pt x="3868" y="2608"/>
                  <a:pt x="3829" y="2496"/>
                  <a:pt x="3763" y="2403"/>
                </a:cubicBezTo>
                <a:lnTo>
                  <a:pt x="4488" y="1055"/>
                </a:lnTo>
                <a:cubicBezTo>
                  <a:pt x="4574" y="1107"/>
                  <a:pt x="4672" y="1138"/>
                  <a:pt x="4779" y="1138"/>
                </a:cubicBezTo>
                <a:cubicBezTo>
                  <a:pt x="4891" y="1138"/>
                  <a:pt x="4995" y="1104"/>
                  <a:pt x="5083" y="1048"/>
                </a:cubicBezTo>
                <a:lnTo>
                  <a:pt x="5827" y="2004"/>
                </a:lnTo>
                <a:cubicBezTo>
                  <a:pt x="5829" y="2007"/>
                  <a:pt x="5833" y="2009"/>
                  <a:pt x="5836" y="2011"/>
                </a:cubicBezTo>
                <a:cubicBezTo>
                  <a:pt x="5745" y="2112"/>
                  <a:pt x="5689" y="2244"/>
                  <a:pt x="5689" y="2389"/>
                </a:cubicBezTo>
                <a:cubicBezTo>
                  <a:pt x="5689" y="2703"/>
                  <a:pt x="5944" y="2958"/>
                  <a:pt x="6258" y="2958"/>
                </a:cubicBezTo>
                <a:cubicBezTo>
                  <a:pt x="6571" y="2958"/>
                  <a:pt x="6827" y="2703"/>
                  <a:pt x="6827" y="2389"/>
                </a:cubicBezTo>
                <a:cubicBezTo>
                  <a:pt x="6827" y="2076"/>
                  <a:pt x="6571" y="1820"/>
                  <a:pt x="6258" y="1820"/>
                </a:cubicBezTo>
                <a:cubicBezTo>
                  <a:pt x="6170" y="1820"/>
                  <a:pt x="6087" y="1842"/>
                  <a:pt x="6013" y="1878"/>
                </a:cubicBezTo>
                <a:cubicBezTo>
                  <a:pt x="6010" y="1874"/>
                  <a:pt x="6010" y="1869"/>
                  <a:pt x="6006" y="1864"/>
                </a:cubicBezTo>
                <a:lnTo>
                  <a:pt x="5248" y="890"/>
                </a:lnTo>
                <a:cubicBezTo>
                  <a:pt x="5311" y="798"/>
                  <a:pt x="5348" y="688"/>
                  <a:pt x="5348" y="569"/>
                </a:cubicBezTo>
                <a:cubicBezTo>
                  <a:pt x="5348" y="255"/>
                  <a:pt x="5092" y="0"/>
                  <a:pt x="4779" y="0"/>
                </a:cubicBezTo>
                <a:cubicBezTo>
                  <a:pt x="4465" y="0"/>
                  <a:pt x="4210" y="255"/>
                  <a:pt x="4210" y="569"/>
                </a:cubicBezTo>
                <a:cubicBezTo>
                  <a:pt x="4210" y="691"/>
                  <a:pt x="4249" y="804"/>
                  <a:pt x="4315" y="897"/>
                </a:cubicBezTo>
                <a:lnTo>
                  <a:pt x="3590" y="2244"/>
                </a:lnTo>
                <a:cubicBezTo>
                  <a:pt x="3505" y="2193"/>
                  <a:pt x="3406" y="2162"/>
                  <a:pt x="3300" y="2162"/>
                </a:cubicBezTo>
                <a:cubicBezTo>
                  <a:pt x="3118" y="2162"/>
                  <a:pt x="2959" y="2248"/>
                  <a:pt x="2854" y="2381"/>
                </a:cubicBezTo>
                <a:lnTo>
                  <a:pt x="2254" y="2081"/>
                </a:lnTo>
                <a:cubicBezTo>
                  <a:pt x="2267" y="2034"/>
                  <a:pt x="2276" y="1985"/>
                  <a:pt x="2276" y="1934"/>
                </a:cubicBezTo>
                <a:cubicBezTo>
                  <a:pt x="2276" y="1621"/>
                  <a:pt x="2020" y="1365"/>
                  <a:pt x="1707" y="1365"/>
                </a:cubicBezTo>
                <a:cubicBezTo>
                  <a:pt x="1393" y="1365"/>
                  <a:pt x="1138" y="1621"/>
                  <a:pt x="1138" y="1934"/>
                </a:cubicBezTo>
                <a:cubicBezTo>
                  <a:pt x="1138" y="2054"/>
                  <a:pt x="1176" y="2166"/>
                  <a:pt x="1239" y="2257"/>
                </a:cubicBezTo>
                <a:lnTo>
                  <a:pt x="593" y="3191"/>
                </a:lnTo>
                <a:cubicBezTo>
                  <a:pt x="585" y="3189"/>
                  <a:pt x="578" y="3186"/>
                  <a:pt x="569" y="3186"/>
                </a:cubicBezTo>
                <a:lnTo>
                  <a:pt x="455" y="3186"/>
                </a:lnTo>
                <a:lnTo>
                  <a:pt x="455" y="2844"/>
                </a:lnTo>
                <a:lnTo>
                  <a:pt x="569" y="2844"/>
                </a:lnTo>
                <a:cubicBezTo>
                  <a:pt x="632" y="2844"/>
                  <a:pt x="683" y="2794"/>
                  <a:pt x="683" y="2731"/>
                </a:cubicBezTo>
                <a:cubicBezTo>
                  <a:pt x="683" y="2668"/>
                  <a:pt x="632" y="2617"/>
                  <a:pt x="569" y="2617"/>
                </a:cubicBezTo>
                <a:lnTo>
                  <a:pt x="455" y="2617"/>
                </a:lnTo>
                <a:lnTo>
                  <a:pt x="455" y="2276"/>
                </a:lnTo>
                <a:lnTo>
                  <a:pt x="569" y="2276"/>
                </a:lnTo>
                <a:cubicBezTo>
                  <a:pt x="632" y="2276"/>
                  <a:pt x="683" y="2225"/>
                  <a:pt x="683" y="2162"/>
                </a:cubicBezTo>
                <a:cubicBezTo>
                  <a:pt x="683" y="2099"/>
                  <a:pt x="632" y="2048"/>
                  <a:pt x="569" y="2048"/>
                </a:cubicBezTo>
                <a:lnTo>
                  <a:pt x="455" y="2048"/>
                </a:lnTo>
                <a:lnTo>
                  <a:pt x="455" y="1707"/>
                </a:lnTo>
                <a:lnTo>
                  <a:pt x="569" y="1707"/>
                </a:lnTo>
                <a:cubicBezTo>
                  <a:pt x="632" y="1707"/>
                  <a:pt x="683" y="1656"/>
                  <a:pt x="683" y="1593"/>
                </a:cubicBezTo>
                <a:cubicBezTo>
                  <a:pt x="683" y="1530"/>
                  <a:pt x="632" y="1479"/>
                  <a:pt x="569" y="1479"/>
                </a:cubicBezTo>
                <a:lnTo>
                  <a:pt x="455" y="1479"/>
                </a:lnTo>
                <a:lnTo>
                  <a:pt x="455" y="1138"/>
                </a:lnTo>
                <a:lnTo>
                  <a:pt x="569" y="1138"/>
                </a:lnTo>
                <a:cubicBezTo>
                  <a:pt x="632" y="1138"/>
                  <a:pt x="683" y="1087"/>
                  <a:pt x="683" y="1024"/>
                </a:cubicBezTo>
                <a:cubicBezTo>
                  <a:pt x="683" y="961"/>
                  <a:pt x="632" y="910"/>
                  <a:pt x="569" y="910"/>
                </a:cubicBezTo>
                <a:lnTo>
                  <a:pt x="455" y="910"/>
                </a:lnTo>
                <a:lnTo>
                  <a:pt x="455" y="569"/>
                </a:lnTo>
                <a:lnTo>
                  <a:pt x="569" y="569"/>
                </a:lnTo>
                <a:cubicBezTo>
                  <a:pt x="632" y="569"/>
                  <a:pt x="683" y="518"/>
                  <a:pt x="683" y="455"/>
                </a:cubicBezTo>
                <a:cubicBezTo>
                  <a:pt x="683" y="392"/>
                  <a:pt x="632" y="341"/>
                  <a:pt x="569" y="341"/>
                </a:cubicBezTo>
                <a:lnTo>
                  <a:pt x="455" y="341"/>
                </a:lnTo>
                <a:lnTo>
                  <a:pt x="455" y="114"/>
                </a:lnTo>
                <a:cubicBezTo>
                  <a:pt x="455" y="51"/>
                  <a:pt x="404" y="0"/>
                  <a:pt x="341" y="0"/>
                </a:cubicBezTo>
                <a:cubicBezTo>
                  <a:pt x="278" y="0"/>
                  <a:pt x="228" y="51"/>
                  <a:pt x="228" y="114"/>
                </a:cubicBezTo>
                <a:lnTo>
                  <a:pt x="228" y="341"/>
                </a:lnTo>
                <a:lnTo>
                  <a:pt x="114" y="341"/>
                </a:lnTo>
                <a:cubicBezTo>
                  <a:pt x="51" y="341"/>
                  <a:pt x="0" y="392"/>
                  <a:pt x="0" y="455"/>
                </a:cubicBezTo>
                <a:cubicBezTo>
                  <a:pt x="0" y="518"/>
                  <a:pt x="51" y="569"/>
                  <a:pt x="114" y="569"/>
                </a:cubicBezTo>
                <a:lnTo>
                  <a:pt x="228" y="569"/>
                </a:lnTo>
                <a:lnTo>
                  <a:pt x="228" y="910"/>
                </a:lnTo>
                <a:lnTo>
                  <a:pt x="114" y="910"/>
                </a:lnTo>
                <a:cubicBezTo>
                  <a:pt x="51" y="910"/>
                  <a:pt x="0" y="961"/>
                  <a:pt x="0" y="1024"/>
                </a:cubicBezTo>
                <a:cubicBezTo>
                  <a:pt x="0" y="1087"/>
                  <a:pt x="51" y="1138"/>
                  <a:pt x="114" y="1138"/>
                </a:cubicBezTo>
                <a:lnTo>
                  <a:pt x="228" y="1138"/>
                </a:lnTo>
                <a:lnTo>
                  <a:pt x="228" y="1479"/>
                </a:lnTo>
                <a:lnTo>
                  <a:pt x="114" y="1479"/>
                </a:lnTo>
                <a:cubicBezTo>
                  <a:pt x="51" y="1479"/>
                  <a:pt x="0" y="1530"/>
                  <a:pt x="0" y="1593"/>
                </a:cubicBezTo>
                <a:cubicBezTo>
                  <a:pt x="0" y="1656"/>
                  <a:pt x="51" y="1707"/>
                  <a:pt x="114" y="1707"/>
                </a:cubicBezTo>
                <a:lnTo>
                  <a:pt x="228" y="1707"/>
                </a:lnTo>
                <a:lnTo>
                  <a:pt x="228" y="2048"/>
                </a:lnTo>
                <a:lnTo>
                  <a:pt x="114" y="2048"/>
                </a:lnTo>
                <a:cubicBezTo>
                  <a:pt x="51" y="2048"/>
                  <a:pt x="0" y="2099"/>
                  <a:pt x="0" y="2162"/>
                </a:cubicBezTo>
                <a:cubicBezTo>
                  <a:pt x="0" y="2225"/>
                  <a:pt x="51" y="2276"/>
                  <a:pt x="114" y="2276"/>
                </a:cubicBezTo>
                <a:lnTo>
                  <a:pt x="228" y="2276"/>
                </a:lnTo>
                <a:lnTo>
                  <a:pt x="228" y="2617"/>
                </a:lnTo>
                <a:lnTo>
                  <a:pt x="114" y="2617"/>
                </a:lnTo>
                <a:cubicBezTo>
                  <a:pt x="51" y="2617"/>
                  <a:pt x="0" y="2668"/>
                  <a:pt x="0" y="2731"/>
                </a:cubicBezTo>
                <a:cubicBezTo>
                  <a:pt x="0" y="2794"/>
                  <a:pt x="51" y="2844"/>
                  <a:pt x="114" y="2844"/>
                </a:cubicBezTo>
                <a:lnTo>
                  <a:pt x="228" y="2844"/>
                </a:lnTo>
                <a:lnTo>
                  <a:pt x="228" y="3186"/>
                </a:lnTo>
                <a:lnTo>
                  <a:pt x="114" y="3186"/>
                </a:lnTo>
                <a:cubicBezTo>
                  <a:pt x="51" y="3186"/>
                  <a:pt x="0" y="3237"/>
                  <a:pt x="0" y="3300"/>
                </a:cubicBezTo>
                <a:cubicBezTo>
                  <a:pt x="0" y="3362"/>
                  <a:pt x="51" y="3413"/>
                  <a:pt x="114" y="3413"/>
                </a:cubicBezTo>
                <a:lnTo>
                  <a:pt x="228" y="3413"/>
                </a:lnTo>
                <a:lnTo>
                  <a:pt x="228" y="3755"/>
                </a:lnTo>
                <a:lnTo>
                  <a:pt x="114" y="3755"/>
                </a:lnTo>
                <a:cubicBezTo>
                  <a:pt x="51" y="3755"/>
                  <a:pt x="0" y="3806"/>
                  <a:pt x="0" y="3868"/>
                </a:cubicBezTo>
                <a:cubicBezTo>
                  <a:pt x="0" y="3931"/>
                  <a:pt x="51" y="3982"/>
                  <a:pt x="114" y="3982"/>
                </a:cubicBezTo>
                <a:lnTo>
                  <a:pt x="228" y="3982"/>
                </a:lnTo>
                <a:lnTo>
                  <a:pt x="228" y="4324"/>
                </a:lnTo>
                <a:lnTo>
                  <a:pt x="114" y="4324"/>
                </a:lnTo>
                <a:cubicBezTo>
                  <a:pt x="51" y="4324"/>
                  <a:pt x="0" y="4374"/>
                  <a:pt x="0" y="4437"/>
                </a:cubicBezTo>
                <a:cubicBezTo>
                  <a:pt x="0" y="4500"/>
                  <a:pt x="51" y="4551"/>
                  <a:pt x="114" y="4551"/>
                </a:cubicBezTo>
                <a:lnTo>
                  <a:pt x="228" y="4551"/>
                </a:lnTo>
                <a:lnTo>
                  <a:pt x="228" y="4892"/>
                </a:lnTo>
                <a:lnTo>
                  <a:pt x="114" y="4892"/>
                </a:lnTo>
                <a:cubicBezTo>
                  <a:pt x="51" y="4892"/>
                  <a:pt x="0" y="4943"/>
                  <a:pt x="0" y="5006"/>
                </a:cubicBezTo>
                <a:cubicBezTo>
                  <a:pt x="0" y="5069"/>
                  <a:pt x="51" y="5120"/>
                  <a:pt x="114" y="5120"/>
                </a:cubicBezTo>
                <a:lnTo>
                  <a:pt x="228" y="5120"/>
                </a:lnTo>
                <a:lnTo>
                  <a:pt x="228" y="5461"/>
                </a:lnTo>
                <a:lnTo>
                  <a:pt x="114" y="5461"/>
                </a:lnTo>
                <a:cubicBezTo>
                  <a:pt x="51" y="5461"/>
                  <a:pt x="0" y="5512"/>
                  <a:pt x="0" y="5575"/>
                </a:cubicBezTo>
                <a:cubicBezTo>
                  <a:pt x="0" y="5638"/>
                  <a:pt x="51" y="5689"/>
                  <a:pt x="114" y="5689"/>
                </a:cubicBezTo>
                <a:lnTo>
                  <a:pt x="228" y="5689"/>
                </a:lnTo>
                <a:lnTo>
                  <a:pt x="228" y="6030"/>
                </a:lnTo>
                <a:lnTo>
                  <a:pt x="114" y="6030"/>
                </a:lnTo>
                <a:cubicBezTo>
                  <a:pt x="51" y="6030"/>
                  <a:pt x="0" y="6081"/>
                  <a:pt x="0" y="6144"/>
                </a:cubicBezTo>
                <a:cubicBezTo>
                  <a:pt x="0" y="6207"/>
                  <a:pt x="51" y="6258"/>
                  <a:pt x="114" y="6258"/>
                </a:cubicBezTo>
                <a:lnTo>
                  <a:pt x="228" y="6258"/>
                </a:lnTo>
                <a:lnTo>
                  <a:pt x="228" y="6485"/>
                </a:lnTo>
                <a:cubicBezTo>
                  <a:pt x="228" y="6548"/>
                  <a:pt x="278" y="6599"/>
                  <a:pt x="341" y="6599"/>
                </a:cubicBezTo>
                <a:lnTo>
                  <a:pt x="683" y="6599"/>
                </a:lnTo>
                <a:lnTo>
                  <a:pt x="683" y="6713"/>
                </a:lnTo>
                <a:cubicBezTo>
                  <a:pt x="683" y="6776"/>
                  <a:pt x="734" y="6827"/>
                  <a:pt x="796" y="6827"/>
                </a:cubicBezTo>
                <a:cubicBezTo>
                  <a:pt x="859" y="6827"/>
                  <a:pt x="910" y="6776"/>
                  <a:pt x="910" y="6713"/>
                </a:cubicBezTo>
                <a:lnTo>
                  <a:pt x="910" y="6599"/>
                </a:lnTo>
                <a:lnTo>
                  <a:pt x="1252" y="6599"/>
                </a:lnTo>
                <a:lnTo>
                  <a:pt x="1252" y="6713"/>
                </a:lnTo>
                <a:cubicBezTo>
                  <a:pt x="1252" y="6776"/>
                  <a:pt x="1302" y="6827"/>
                  <a:pt x="1365" y="6827"/>
                </a:cubicBezTo>
                <a:cubicBezTo>
                  <a:pt x="1428" y="6827"/>
                  <a:pt x="1479" y="6776"/>
                  <a:pt x="1479" y="6713"/>
                </a:cubicBezTo>
                <a:lnTo>
                  <a:pt x="1479" y="6599"/>
                </a:lnTo>
                <a:lnTo>
                  <a:pt x="1820" y="6599"/>
                </a:lnTo>
                <a:lnTo>
                  <a:pt x="1820" y="6713"/>
                </a:lnTo>
                <a:cubicBezTo>
                  <a:pt x="1820" y="6776"/>
                  <a:pt x="1871" y="6827"/>
                  <a:pt x="1934" y="6827"/>
                </a:cubicBezTo>
                <a:cubicBezTo>
                  <a:pt x="1997" y="6827"/>
                  <a:pt x="2048" y="6776"/>
                  <a:pt x="2048" y="6713"/>
                </a:cubicBezTo>
                <a:lnTo>
                  <a:pt x="2048" y="6599"/>
                </a:lnTo>
                <a:lnTo>
                  <a:pt x="2389" y="6599"/>
                </a:lnTo>
                <a:lnTo>
                  <a:pt x="2389" y="6713"/>
                </a:lnTo>
                <a:cubicBezTo>
                  <a:pt x="2389" y="6776"/>
                  <a:pt x="2440" y="6827"/>
                  <a:pt x="2503" y="6827"/>
                </a:cubicBezTo>
                <a:cubicBezTo>
                  <a:pt x="2566" y="6827"/>
                  <a:pt x="2617" y="6776"/>
                  <a:pt x="2617" y="6713"/>
                </a:cubicBezTo>
                <a:lnTo>
                  <a:pt x="2617" y="6599"/>
                </a:lnTo>
                <a:lnTo>
                  <a:pt x="2958" y="6599"/>
                </a:lnTo>
                <a:lnTo>
                  <a:pt x="2958" y="6713"/>
                </a:lnTo>
                <a:cubicBezTo>
                  <a:pt x="2958" y="6776"/>
                  <a:pt x="3009" y="6827"/>
                  <a:pt x="3072" y="6827"/>
                </a:cubicBezTo>
                <a:cubicBezTo>
                  <a:pt x="3135" y="6827"/>
                  <a:pt x="3186" y="6776"/>
                  <a:pt x="3186" y="6713"/>
                </a:cubicBezTo>
                <a:lnTo>
                  <a:pt x="3186" y="6599"/>
                </a:lnTo>
                <a:lnTo>
                  <a:pt x="3527" y="6599"/>
                </a:lnTo>
                <a:lnTo>
                  <a:pt x="3527" y="6713"/>
                </a:lnTo>
                <a:cubicBezTo>
                  <a:pt x="3527" y="6776"/>
                  <a:pt x="3578" y="6827"/>
                  <a:pt x="3641" y="6827"/>
                </a:cubicBezTo>
                <a:cubicBezTo>
                  <a:pt x="3704" y="6827"/>
                  <a:pt x="3755" y="6776"/>
                  <a:pt x="3755" y="6713"/>
                </a:cubicBezTo>
                <a:lnTo>
                  <a:pt x="3755" y="6599"/>
                </a:lnTo>
                <a:lnTo>
                  <a:pt x="4096" y="6599"/>
                </a:lnTo>
                <a:lnTo>
                  <a:pt x="4096" y="6713"/>
                </a:lnTo>
                <a:cubicBezTo>
                  <a:pt x="4096" y="6776"/>
                  <a:pt x="4147" y="6827"/>
                  <a:pt x="4210" y="6827"/>
                </a:cubicBezTo>
                <a:cubicBezTo>
                  <a:pt x="4273" y="6827"/>
                  <a:pt x="4323" y="6776"/>
                  <a:pt x="4323" y="6713"/>
                </a:cubicBezTo>
                <a:lnTo>
                  <a:pt x="4323" y="6599"/>
                </a:lnTo>
                <a:lnTo>
                  <a:pt x="4665" y="6599"/>
                </a:lnTo>
                <a:lnTo>
                  <a:pt x="4665" y="6713"/>
                </a:lnTo>
                <a:cubicBezTo>
                  <a:pt x="4665" y="6776"/>
                  <a:pt x="4716" y="6827"/>
                  <a:pt x="4779" y="6827"/>
                </a:cubicBezTo>
                <a:cubicBezTo>
                  <a:pt x="4842" y="6827"/>
                  <a:pt x="4892" y="6776"/>
                  <a:pt x="4892" y="6713"/>
                </a:cubicBezTo>
                <a:lnTo>
                  <a:pt x="4892" y="6599"/>
                </a:lnTo>
                <a:lnTo>
                  <a:pt x="5234" y="6599"/>
                </a:lnTo>
                <a:lnTo>
                  <a:pt x="5234" y="6713"/>
                </a:lnTo>
                <a:cubicBezTo>
                  <a:pt x="5234" y="6776"/>
                  <a:pt x="5285" y="6827"/>
                  <a:pt x="5347" y="6827"/>
                </a:cubicBezTo>
                <a:cubicBezTo>
                  <a:pt x="5410" y="6827"/>
                  <a:pt x="5461" y="6776"/>
                  <a:pt x="5461" y="6713"/>
                </a:cubicBezTo>
                <a:lnTo>
                  <a:pt x="5461" y="6599"/>
                </a:lnTo>
                <a:lnTo>
                  <a:pt x="5803" y="6599"/>
                </a:lnTo>
                <a:lnTo>
                  <a:pt x="5803" y="6713"/>
                </a:lnTo>
                <a:cubicBezTo>
                  <a:pt x="5803" y="6776"/>
                  <a:pt x="5853" y="6827"/>
                  <a:pt x="5916" y="6827"/>
                </a:cubicBezTo>
                <a:cubicBezTo>
                  <a:pt x="5979" y="6827"/>
                  <a:pt x="6030" y="6776"/>
                  <a:pt x="6030" y="6713"/>
                </a:cubicBezTo>
                <a:lnTo>
                  <a:pt x="6030" y="6599"/>
                </a:lnTo>
                <a:lnTo>
                  <a:pt x="6371" y="6599"/>
                </a:lnTo>
                <a:lnTo>
                  <a:pt x="6371" y="6713"/>
                </a:lnTo>
                <a:cubicBezTo>
                  <a:pt x="6371" y="6776"/>
                  <a:pt x="6422" y="6827"/>
                  <a:pt x="6485" y="6827"/>
                </a:cubicBezTo>
                <a:cubicBezTo>
                  <a:pt x="6548" y="6827"/>
                  <a:pt x="6599" y="6776"/>
                  <a:pt x="6599" y="6713"/>
                </a:cubicBezTo>
                <a:lnTo>
                  <a:pt x="6599" y="6599"/>
                </a:lnTo>
                <a:lnTo>
                  <a:pt x="6713" y="6599"/>
                </a:lnTo>
                <a:cubicBezTo>
                  <a:pt x="6776" y="6599"/>
                  <a:pt x="6827" y="6548"/>
                  <a:pt x="6827" y="6485"/>
                </a:cubicBezTo>
                <a:cubicBezTo>
                  <a:pt x="6827" y="6422"/>
                  <a:pt x="6776" y="6372"/>
                  <a:pt x="6713" y="6372"/>
                </a:cubicBezTo>
                <a:lnTo>
                  <a:pt x="6599" y="6372"/>
                </a:lnTo>
                <a:lnTo>
                  <a:pt x="6599" y="6258"/>
                </a:lnTo>
                <a:cubicBezTo>
                  <a:pt x="6599" y="6195"/>
                  <a:pt x="6548" y="6144"/>
                  <a:pt x="6485" y="6144"/>
                </a:cubicBezTo>
                <a:cubicBezTo>
                  <a:pt x="6422" y="6144"/>
                  <a:pt x="6371" y="6195"/>
                  <a:pt x="6371" y="6258"/>
                </a:cubicBezTo>
                <a:lnTo>
                  <a:pt x="6371" y="6372"/>
                </a:lnTo>
                <a:lnTo>
                  <a:pt x="6030" y="6372"/>
                </a:lnTo>
                <a:lnTo>
                  <a:pt x="6030" y="6258"/>
                </a:lnTo>
                <a:cubicBezTo>
                  <a:pt x="6030" y="6195"/>
                  <a:pt x="5979" y="6144"/>
                  <a:pt x="5916" y="6144"/>
                </a:cubicBezTo>
                <a:cubicBezTo>
                  <a:pt x="5853" y="6144"/>
                  <a:pt x="5803" y="6195"/>
                  <a:pt x="5803" y="6258"/>
                </a:cubicBezTo>
                <a:lnTo>
                  <a:pt x="5803" y="6372"/>
                </a:lnTo>
                <a:lnTo>
                  <a:pt x="5461" y="6372"/>
                </a:lnTo>
                <a:lnTo>
                  <a:pt x="5461" y="6258"/>
                </a:lnTo>
                <a:cubicBezTo>
                  <a:pt x="5461" y="6195"/>
                  <a:pt x="5410" y="6144"/>
                  <a:pt x="5347" y="6144"/>
                </a:cubicBezTo>
                <a:cubicBezTo>
                  <a:pt x="5285" y="6144"/>
                  <a:pt x="5234" y="6195"/>
                  <a:pt x="5234" y="6258"/>
                </a:cubicBezTo>
                <a:lnTo>
                  <a:pt x="5234" y="6372"/>
                </a:lnTo>
                <a:lnTo>
                  <a:pt x="4892" y="6372"/>
                </a:lnTo>
                <a:lnTo>
                  <a:pt x="4892" y="6258"/>
                </a:lnTo>
                <a:cubicBezTo>
                  <a:pt x="4892" y="6195"/>
                  <a:pt x="4842" y="6144"/>
                  <a:pt x="4779" y="6144"/>
                </a:cubicBezTo>
                <a:cubicBezTo>
                  <a:pt x="4716" y="6144"/>
                  <a:pt x="4665" y="6195"/>
                  <a:pt x="4665" y="6258"/>
                </a:cubicBezTo>
                <a:lnTo>
                  <a:pt x="4665" y="6372"/>
                </a:lnTo>
                <a:lnTo>
                  <a:pt x="4323" y="6372"/>
                </a:lnTo>
                <a:lnTo>
                  <a:pt x="4323" y="6258"/>
                </a:lnTo>
                <a:cubicBezTo>
                  <a:pt x="4323" y="6195"/>
                  <a:pt x="4273" y="6144"/>
                  <a:pt x="4210" y="6144"/>
                </a:cubicBezTo>
                <a:cubicBezTo>
                  <a:pt x="4147" y="6144"/>
                  <a:pt x="4096" y="6195"/>
                  <a:pt x="4096" y="6258"/>
                </a:cubicBezTo>
                <a:lnTo>
                  <a:pt x="4096" y="6372"/>
                </a:lnTo>
                <a:lnTo>
                  <a:pt x="3755" y="6372"/>
                </a:lnTo>
                <a:lnTo>
                  <a:pt x="3755" y="6258"/>
                </a:lnTo>
                <a:cubicBezTo>
                  <a:pt x="3755" y="6195"/>
                  <a:pt x="3704" y="6144"/>
                  <a:pt x="3641" y="6144"/>
                </a:cubicBezTo>
                <a:cubicBezTo>
                  <a:pt x="3578" y="6144"/>
                  <a:pt x="3527" y="6195"/>
                  <a:pt x="3527" y="6258"/>
                </a:cubicBezTo>
                <a:lnTo>
                  <a:pt x="3527" y="6372"/>
                </a:lnTo>
                <a:lnTo>
                  <a:pt x="3186" y="6372"/>
                </a:lnTo>
                <a:lnTo>
                  <a:pt x="3186" y="6258"/>
                </a:lnTo>
                <a:cubicBezTo>
                  <a:pt x="3186" y="6195"/>
                  <a:pt x="3135" y="6144"/>
                  <a:pt x="3072" y="6144"/>
                </a:cubicBezTo>
                <a:cubicBezTo>
                  <a:pt x="3009" y="6144"/>
                  <a:pt x="2958" y="6195"/>
                  <a:pt x="2958" y="6258"/>
                </a:cubicBezTo>
                <a:lnTo>
                  <a:pt x="2958" y="6372"/>
                </a:lnTo>
                <a:lnTo>
                  <a:pt x="2617" y="6372"/>
                </a:lnTo>
                <a:lnTo>
                  <a:pt x="2617" y="6258"/>
                </a:lnTo>
                <a:cubicBezTo>
                  <a:pt x="2617" y="6195"/>
                  <a:pt x="2566" y="6144"/>
                  <a:pt x="2503" y="6144"/>
                </a:cubicBezTo>
                <a:cubicBezTo>
                  <a:pt x="2440" y="6144"/>
                  <a:pt x="2389" y="6195"/>
                  <a:pt x="2389" y="6258"/>
                </a:cubicBezTo>
                <a:lnTo>
                  <a:pt x="2389" y="6372"/>
                </a:lnTo>
                <a:lnTo>
                  <a:pt x="2048" y="6372"/>
                </a:lnTo>
                <a:lnTo>
                  <a:pt x="2048" y="6258"/>
                </a:lnTo>
                <a:cubicBezTo>
                  <a:pt x="2048" y="6195"/>
                  <a:pt x="1997" y="6144"/>
                  <a:pt x="1934" y="6144"/>
                </a:cubicBezTo>
                <a:cubicBezTo>
                  <a:pt x="1871" y="6144"/>
                  <a:pt x="1820" y="6195"/>
                  <a:pt x="1820" y="6258"/>
                </a:cubicBezTo>
                <a:lnTo>
                  <a:pt x="1820" y="6372"/>
                </a:lnTo>
                <a:lnTo>
                  <a:pt x="1479" y="6372"/>
                </a:lnTo>
                <a:lnTo>
                  <a:pt x="1479" y="6258"/>
                </a:lnTo>
                <a:cubicBezTo>
                  <a:pt x="1479" y="6195"/>
                  <a:pt x="1428" y="6144"/>
                  <a:pt x="1365" y="6144"/>
                </a:cubicBezTo>
                <a:cubicBezTo>
                  <a:pt x="1302" y="6144"/>
                  <a:pt x="1252" y="6195"/>
                  <a:pt x="1252" y="6258"/>
                </a:cubicBezTo>
                <a:lnTo>
                  <a:pt x="1252" y="6372"/>
                </a:lnTo>
                <a:lnTo>
                  <a:pt x="910" y="6372"/>
                </a:lnTo>
                <a:lnTo>
                  <a:pt x="910" y="6258"/>
                </a:lnTo>
                <a:cubicBezTo>
                  <a:pt x="910" y="6195"/>
                  <a:pt x="859" y="6144"/>
                  <a:pt x="796" y="6144"/>
                </a:cubicBezTo>
                <a:cubicBezTo>
                  <a:pt x="734" y="6144"/>
                  <a:pt x="683" y="6195"/>
                  <a:pt x="683" y="6258"/>
                </a:cubicBezTo>
                <a:lnTo>
                  <a:pt x="683" y="6372"/>
                </a:lnTo>
                <a:lnTo>
                  <a:pt x="455" y="6372"/>
                </a:lnTo>
                <a:lnTo>
                  <a:pt x="455" y="5234"/>
                </a:lnTo>
                <a:lnTo>
                  <a:pt x="1263" y="523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34" name="iṡḷïḑê">
            <a:extLst>
              <a:ext uri="{FF2B5EF4-FFF2-40B4-BE49-F238E27FC236}">
                <a16:creationId xmlns:a16="http://schemas.microsoft.com/office/drawing/2014/main" id="{5AFAEACA-1150-48F1-A9D9-42E9DC72ACA0}"/>
              </a:ext>
            </a:extLst>
          </p:cNvPr>
          <p:cNvSpPr/>
          <p:nvPr/>
        </p:nvSpPr>
        <p:spPr>
          <a:xfrm>
            <a:off x="5091158" y="4982009"/>
            <a:ext cx="396156" cy="396156"/>
          </a:xfrm>
          <a:prstGeom prst="ellipse">
            <a:avLst/>
          </a:prstGeom>
          <a:solidFill>
            <a:schemeClr val="accent1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/>
          </a:p>
        </p:txBody>
      </p:sp>
      <p:sp>
        <p:nvSpPr>
          <p:cNvPr id="35" name="ïşļíḓè">
            <a:extLst>
              <a:ext uri="{FF2B5EF4-FFF2-40B4-BE49-F238E27FC236}">
                <a16:creationId xmlns:a16="http://schemas.microsoft.com/office/drawing/2014/main" id="{5472E933-E4F3-4958-8AE1-399DB1EE7616}"/>
              </a:ext>
            </a:extLst>
          </p:cNvPr>
          <p:cNvSpPr>
            <a:spLocks/>
          </p:cNvSpPr>
          <p:nvPr/>
        </p:nvSpPr>
        <p:spPr bwMode="auto">
          <a:xfrm>
            <a:off x="5173003" y="5068133"/>
            <a:ext cx="232467" cy="223908"/>
          </a:xfrm>
          <a:custGeom>
            <a:avLst/>
            <a:gdLst>
              <a:gd name="T0" fmla="*/ 3413 w 6827"/>
              <a:gd name="T1" fmla="*/ 0 h 5912"/>
              <a:gd name="T2" fmla="*/ 0 w 6827"/>
              <a:gd name="T3" fmla="*/ 5912 h 5912"/>
              <a:gd name="T4" fmla="*/ 6827 w 6827"/>
              <a:gd name="T5" fmla="*/ 5912 h 5912"/>
              <a:gd name="T6" fmla="*/ 3413 w 6827"/>
              <a:gd name="T7" fmla="*/ 0 h 5912"/>
              <a:gd name="T8" fmla="*/ 3413 w 6827"/>
              <a:gd name="T9" fmla="*/ 972 h 5912"/>
              <a:gd name="T10" fmla="*/ 4489 w 6827"/>
              <a:gd name="T11" fmla="*/ 2835 h 5912"/>
              <a:gd name="T12" fmla="*/ 2338 w 6827"/>
              <a:gd name="T13" fmla="*/ 2835 h 5912"/>
              <a:gd name="T14" fmla="*/ 3413 w 6827"/>
              <a:gd name="T15" fmla="*/ 972 h 5912"/>
              <a:gd name="T16" fmla="*/ 842 w 6827"/>
              <a:gd name="T17" fmla="*/ 5426 h 5912"/>
              <a:gd name="T18" fmla="*/ 1917 w 6827"/>
              <a:gd name="T19" fmla="*/ 3564 h 5912"/>
              <a:gd name="T20" fmla="*/ 2993 w 6827"/>
              <a:gd name="T21" fmla="*/ 5426 h 5912"/>
              <a:gd name="T22" fmla="*/ 842 w 6827"/>
              <a:gd name="T23" fmla="*/ 5426 h 5912"/>
              <a:gd name="T24" fmla="*/ 2338 w 6827"/>
              <a:gd name="T25" fmla="*/ 3321 h 5912"/>
              <a:gd name="T26" fmla="*/ 4489 w 6827"/>
              <a:gd name="T27" fmla="*/ 3321 h 5912"/>
              <a:gd name="T28" fmla="*/ 3413 w 6827"/>
              <a:gd name="T29" fmla="*/ 5183 h 5912"/>
              <a:gd name="T30" fmla="*/ 2338 w 6827"/>
              <a:gd name="T31" fmla="*/ 3321 h 5912"/>
              <a:gd name="T32" fmla="*/ 4910 w 6827"/>
              <a:gd name="T33" fmla="*/ 3564 h 5912"/>
              <a:gd name="T34" fmla="*/ 5985 w 6827"/>
              <a:gd name="T35" fmla="*/ 5426 h 5912"/>
              <a:gd name="T36" fmla="*/ 3834 w 6827"/>
              <a:gd name="T37" fmla="*/ 5426 h 5912"/>
              <a:gd name="T38" fmla="*/ 4910 w 6827"/>
              <a:gd name="T39" fmla="*/ 3564 h 59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6827" h="5912">
                <a:moveTo>
                  <a:pt x="3413" y="0"/>
                </a:moveTo>
                <a:lnTo>
                  <a:pt x="0" y="5912"/>
                </a:lnTo>
                <a:lnTo>
                  <a:pt x="6827" y="5912"/>
                </a:lnTo>
                <a:lnTo>
                  <a:pt x="3413" y="0"/>
                </a:lnTo>
                <a:close/>
                <a:moveTo>
                  <a:pt x="3413" y="972"/>
                </a:moveTo>
                <a:lnTo>
                  <a:pt x="4489" y="2835"/>
                </a:lnTo>
                <a:lnTo>
                  <a:pt x="2338" y="2835"/>
                </a:lnTo>
                <a:lnTo>
                  <a:pt x="3413" y="972"/>
                </a:lnTo>
                <a:close/>
                <a:moveTo>
                  <a:pt x="842" y="5426"/>
                </a:moveTo>
                <a:lnTo>
                  <a:pt x="1917" y="3564"/>
                </a:lnTo>
                <a:lnTo>
                  <a:pt x="2993" y="5426"/>
                </a:lnTo>
                <a:lnTo>
                  <a:pt x="842" y="5426"/>
                </a:lnTo>
                <a:close/>
                <a:moveTo>
                  <a:pt x="2338" y="3321"/>
                </a:moveTo>
                <a:lnTo>
                  <a:pt x="4489" y="3321"/>
                </a:lnTo>
                <a:lnTo>
                  <a:pt x="3413" y="5183"/>
                </a:lnTo>
                <a:lnTo>
                  <a:pt x="2338" y="3321"/>
                </a:lnTo>
                <a:close/>
                <a:moveTo>
                  <a:pt x="4910" y="3564"/>
                </a:moveTo>
                <a:lnTo>
                  <a:pt x="5985" y="5426"/>
                </a:lnTo>
                <a:lnTo>
                  <a:pt x="3834" y="5426"/>
                </a:lnTo>
                <a:lnTo>
                  <a:pt x="4910" y="356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32" name="ïṧḻîḑè">
            <a:extLst>
              <a:ext uri="{FF2B5EF4-FFF2-40B4-BE49-F238E27FC236}">
                <a16:creationId xmlns:a16="http://schemas.microsoft.com/office/drawing/2014/main" id="{04A2921C-7633-4971-AFC0-80BD9B5C6C32}"/>
              </a:ext>
            </a:extLst>
          </p:cNvPr>
          <p:cNvSpPr/>
          <p:nvPr/>
        </p:nvSpPr>
        <p:spPr>
          <a:xfrm>
            <a:off x="6704686" y="5308309"/>
            <a:ext cx="396156" cy="396156"/>
          </a:xfrm>
          <a:prstGeom prst="ellipse">
            <a:avLst/>
          </a:prstGeom>
          <a:solidFill>
            <a:schemeClr val="tx1">
              <a:lumMod val="60000"/>
              <a:lumOff val="40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/>
          </a:p>
        </p:txBody>
      </p:sp>
      <p:sp>
        <p:nvSpPr>
          <p:cNvPr id="33" name="ïSlíde">
            <a:extLst>
              <a:ext uri="{FF2B5EF4-FFF2-40B4-BE49-F238E27FC236}">
                <a16:creationId xmlns:a16="http://schemas.microsoft.com/office/drawing/2014/main" id="{A189FB9E-C116-44A6-B995-AD65456DCC88}"/>
              </a:ext>
            </a:extLst>
          </p:cNvPr>
          <p:cNvSpPr>
            <a:spLocks/>
          </p:cNvSpPr>
          <p:nvPr/>
        </p:nvSpPr>
        <p:spPr bwMode="auto">
          <a:xfrm>
            <a:off x="6786531" y="5394433"/>
            <a:ext cx="232467" cy="223908"/>
          </a:xfrm>
          <a:custGeom>
            <a:avLst/>
            <a:gdLst>
              <a:gd name="connsiteX0" fmla="*/ 0 w 582235"/>
              <a:gd name="connsiteY0" fmla="*/ 404481 h 606722"/>
              <a:gd name="connsiteX1" fmla="*/ 101261 w 582235"/>
              <a:gd name="connsiteY1" fmla="*/ 404481 h 606722"/>
              <a:gd name="connsiteX2" fmla="*/ 101261 w 582235"/>
              <a:gd name="connsiteY2" fmla="*/ 606722 h 606722"/>
              <a:gd name="connsiteX3" fmla="*/ 0 w 582235"/>
              <a:gd name="connsiteY3" fmla="*/ 606722 h 606722"/>
              <a:gd name="connsiteX4" fmla="*/ 151927 w 582235"/>
              <a:gd name="connsiteY4" fmla="*/ 328623 h 606722"/>
              <a:gd name="connsiteX5" fmla="*/ 253188 w 582235"/>
              <a:gd name="connsiteY5" fmla="*/ 328623 h 606722"/>
              <a:gd name="connsiteX6" fmla="*/ 253188 w 582235"/>
              <a:gd name="connsiteY6" fmla="*/ 606722 h 606722"/>
              <a:gd name="connsiteX7" fmla="*/ 151927 w 582235"/>
              <a:gd name="connsiteY7" fmla="*/ 606722 h 606722"/>
              <a:gd name="connsiteX8" fmla="*/ 303855 w 582235"/>
              <a:gd name="connsiteY8" fmla="*/ 252766 h 606722"/>
              <a:gd name="connsiteX9" fmla="*/ 405046 w 582235"/>
              <a:gd name="connsiteY9" fmla="*/ 252766 h 606722"/>
              <a:gd name="connsiteX10" fmla="*/ 405046 w 582235"/>
              <a:gd name="connsiteY10" fmla="*/ 606722 h 606722"/>
              <a:gd name="connsiteX11" fmla="*/ 303855 w 582235"/>
              <a:gd name="connsiteY11" fmla="*/ 606722 h 606722"/>
              <a:gd name="connsiteX12" fmla="*/ 455711 w 582235"/>
              <a:gd name="connsiteY12" fmla="*/ 202241 h 606722"/>
              <a:gd name="connsiteX13" fmla="*/ 556972 w 582235"/>
              <a:gd name="connsiteY13" fmla="*/ 202241 h 606722"/>
              <a:gd name="connsiteX14" fmla="*/ 556972 w 582235"/>
              <a:gd name="connsiteY14" fmla="*/ 606722 h 606722"/>
              <a:gd name="connsiteX15" fmla="*/ 455711 w 582235"/>
              <a:gd name="connsiteY15" fmla="*/ 606722 h 606722"/>
              <a:gd name="connsiteX16" fmla="*/ 455697 w 582235"/>
              <a:gd name="connsiteY16" fmla="*/ 0 h 606722"/>
              <a:gd name="connsiteX17" fmla="*/ 556785 w 582235"/>
              <a:gd name="connsiteY17" fmla="*/ 0 h 606722"/>
              <a:gd name="connsiteX18" fmla="*/ 556874 w 582235"/>
              <a:gd name="connsiteY18" fmla="*/ 0 h 606722"/>
              <a:gd name="connsiteX19" fmla="*/ 556963 w 582235"/>
              <a:gd name="connsiteY19" fmla="*/ 0 h 606722"/>
              <a:gd name="connsiteX20" fmla="*/ 557675 w 582235"/>
              <a:gd name="connsiteY20" fmla="*/ 0 h 606722"/>
              <a:gd name="connsiteX21" fmla="*/ 559366 w 582235"/>
              <a:gd name="connsiteY21" fmla="*/ 89 h 606722"/>
              <a:gd name="connsiteX22" fmla="*/ 560611 w 582235"/>
              <a:gd name="connsiteY22" fmla="*/ 267 h 606722"/>
              <a:gd name="connsiteX23" fmla="*/ 561857 w 582235"/>
              <a:gd name="connsiteY23" fmla="*/ 444 h 606722"/>
              <a:gd name="connsiteX24" fmla="*/ 563192 w 582235"/>
              <a:gd name="connsiteY24" fmla="*/ 800 h 606722"/>
              <a:gd name="connsiteX25" fmla="*/ 564171 w 582235"/>
              <a:gd name="connsiteY25" fmla="*/ 1067 h 606722"/>
              <a:gd name="connsiteX26" fmla="*/ 565506 w 582235"/>
              <a:gd name="connsiteY26" fmla="*/ 1511 h 606722"/>
              <a:gd name="connsiteX27" fmla="*/ 566574 w 582235"/>
              <a:gd name="connsiteY27" fmla="*/ 1867 h 606722"/>
              <a:gd name="connsiteX28" fmla="*/ 567730 w 582235"/>
              <a:gd name="connsiteY28" fmla="*/ 2400 h 606722"/>
              <a:gd name="connsiteX29" fmla="*/ 568798 w 582235"/>
              <a:gd name="connsiteY29" fmla="*/ 2933 h 606722"/>
              <a:gd name="connsiteX30" fmla="*/ 569777 w 582235"/>
              <a:gd name="connsiteY30" fmla="*/ 3467 h 606722"/>
              <a:gd name="connsiteX31" fmla="*/ 570934 w 582235"/>
              <a:gd name="connsiteY31" fmla="*/ 4178 h 606722"/>
              <a:gd name="connsiteX32" fmla="*/ 571824 w 582235"/>
              <a:gd name="connsiteY32" fmla="*/ 4800 h 606722"/>
              <a:gd name="connsiteX33" fmla="*/ 572891 w 582235"/>
              <a:gd name="connsiteY33" fmla="*/ 5689 h 606722"/>
              <a:gd name="connsiteX34" fmla="*/ 573781 w 582235"/>
              <a:gd name="connsiteY34" fmla="*/ 6489 h 606722"/>
              <a:gd name="connsiteX35" fmla="*/ 574760 w 582235"/>
              <a:gd name="connsiteY35" fmla="*/ 7289 h 606722"/>
              <a:gd name="connsiteX36" fmla="*/ 575917 w 582235"/>
              <a:gd name="connsiteY36" fmla="*/ 8533 h 606722"/>
              <a:gd name="connsiteX37" fmla="*/ 576451 w 582235"/>
              <a:gd name="connsiteY37" fmla="*/ 9066 h 606722"/>
              <a:gd name="connsiteX38" fmla="*/ 576451 w 582235"/>
              <a:gd name="connsiteY38" fmla="*/ 9155 h 606722"/>
              <a:gd name="connsiteX39" fmla="*/ 577964 w 582235"/>
              <a:gd name="connsiteY39" fmla="*/ 11200 h 606722"/>
              <a:gd name="connsiteX40" fmla="*/ 578053 w 582235"/>
              <a:gd name="connsiteY40" fmla="*/ 11289 h 606722"/>
              <a:gd name="connsiteX41" fmla="*/ 579209 w 582235"/>
              <a:gd name="connsiteY41" fmla="*/ 13244 h 606722"/>
              <a:gd name="connsiteX42" fmla="*/ 579743 w 582235"/>
              <a:gd name="connsiteY42" fmla="*/ 14222 h 606722"/>
              <a:gd name="connsiteX43" fmla="*/ 580277 w 582235"/>
              <a:gd name="connsiteY43" fmla="*/ 15555 h 606722"/>
              <a:gd name="connsiteX44" fmla="*/ 580722 w 582235"/>
              <a:gd name="connsiteY44" fmla="*/ 16711 h 606722"/>
              <a:gd name="connsiteX45" fmla="*/ 581167 w 582235"/>
              <a:gd name="connsiteY45" fmla="*/ 17866 h 606722"/>
              <a:gd name="connsiteX46" fmla="*/ 581523 w 582235"/>
              <a:gd name="connsiteY46" fmla="*/ 19199 h 606722"/>
              <a:gd name="connsiteX47" fmla="*/ 581790 w 582235"/>
              <a:gd name="connsiteY47" fmla="*/ 20266 h 606722"/>
              <a:gd name="connsiteX48" fmla="*/ 582146 w 582235"/>
              <a:gd name="connsiteY48" fmla="*/ 22488 h 606722"/>
              <a:gd name="connsiteX49" fmla="*/ 582146 w 582235"/>
              <a:gd name="connsiteY49" fmla="*/ 22666 h 606722"/>
              <a:gd name="connsiteX50" fmla="*/ 582235 w 582235"/>
              <a:gd name="connsiteY50" fmla="*/ 25244 h 606722"/>
              <a:gd name="connsiteX51" fmla="*/ 582235 w 582235"/>
              <a:gd name="connsiteY51" fmla="*/ 126396 h 606722"/>
              <a:gd name="connsiteX52" fmla="*/ 556963 w 582235"/>
              <a:gd name="connsiteY52" fmla="*/ 151728 h 606722"/>
              <a:gd name="connsiteX53" fmla="*/ 531691 w 582235"/>
              <a:gd name="connsiteY53" fmla="*/ 126396 h 606722"/>
              <a:gd name="connsiteX54" fmla="*/ 531691 w 582235"/>
              <a:gd name="connsiteY54" fmla="*/ 79286 h 606722"/>
              <a:gd name="connsiteX55" fmla="*/ 421260 w 582235"/>
              <a:gd name="connsiteY55" fmla="*/ 171106 h 606722"/>
              <a:gd name="connsiteX56" fmla="*/ 385666 w 582235"/>
              <a:gd name="connsiteY56" fmla="*/ 167906 h 606722"/>
              <a:gd name="connsiteX57" fmla="*/ 388869 w 582235"/>
              <a:gd name="connsiteY57" fmla="*/ 132262 h 606722"/>
              <a:gd name="connsiteX58" fmla="*/ 487020 w 582235"/>
              <a:gd name="connsiteY58" fmla="*/ 50576 h 606722"/>
              <a:gd name="connsiteX59" fmla="*/ 455697 w 582235"/>
              <a:gd name="connsiteY59" fmla="*/ 50576 h 606722"/>
              <a:gd name="connsiteX60" fmla="*/ 430425 w 582235"/>
              <a:gd name="connsiteY60" fmla="*/ 25244 h 606722"/>
              <a:gd name="connsiteX61" fmla="*/ 455697 w 582235"/>
              <a:gd name="connsiteY61" fmla="*/ 0 h 606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582235" h="606722">
                <a:moveTo>
                  <a:pt x="0" y="404481"/>
                </a:moveTo>
                <a:lnTo>
                  <a:pt x="101261" y="404481"/>
                </a:lnTo>
                <a:lnTo>
                  <a:pt x="101261" y="606722"/>
                </a:lnTo>
                <a:lnTo>
                  <a:pt x="0" y="606722"/>
                </a:lnTo>
                <a:close/>
                <a:moveTo>
                  <a:pt x="151927" y="328623"/>
                </a:moveTo>
                <a:lnTo>
                  <a:pt x="253188" y="328623"/>
                </a:lnTo>
                <a:lnTo>
                  <a:pt x="253188" y="606722"/>
                </a:lnTo>
                <a:lnTo>
                  <a:pt x="151927" y="606722"/>
                </a:lnTo>
                <a:close/>
                <a:moveTo>
                  <a:pt x="303855" y="252766"/>
                </a:moveTo>
                <a:lnTo>
                  <a:pt x="405046" y="252766"/>
                </a:lnTo>
                <a:lnTo>
                  <a:pt x="405046" y="606722"/>
                </a:lnTo>
                <a:lnTo>
                  <a:pt x="303855" y="606722"/>
                </a:lnTo>
                <a:close/>
                <a:moveTo>
                  <a:pt x="455711" y="202241"/>
                </a:moveTo>
                <a:lnTo>
                  <a:pt x="556972" y="202241"/>
                </a:lnTo>
                <a:lnTo>
                  <a:pt x="556972" y="606722"/>
                </a:lnTo>
                <a:lnTo>
                  <a:pt x="455711" y="606722"/>
                </a:lnTo>
                <a:close/>
                <a:moveTo>
                  <a:pt x="455697" y="0"/>
                </a:moveTo>
                <a:lnTo>
                  <a:pt x="556785" y="0"/>
                </a:lnTo>
                <a:lnTo>
                  <a:pt x="556874" y="0"/>
                </a:lnTo>
                <a:lnTo>
                  <a:pt x="556963" y="0"/>
                </a:lnTo>
                <a:cubicBezTo>
                  <a:pt x="557230" y="0"/>
                  <a:pt x="557408" y="0"/>
                  <a:pt x="557675" y="0"/>
                </a:cubicBezTo>
                <a:cubicBezTo>
                  <a:pt x="558298" y="89"/>
                  <a:pt x="558832" y="89"/>
                  <a:pt x="559366" y="89"/>
                </a:cubicBezTo>
                <a:cubicBezTo>
                  <a:pt x="559811" y="178"/>
                  <a:pt x="560256" y="267"/>
                  <a:pt x="560611" y="267"/>
                </a:cubicBezTo>
                <a:cubicBezTo>
                  <a:pt x="561056" y="356"/>
                  <a:pt x="561412" y="444"/>
                  <a:pt x="561857" y="444"/>
                </a:cubicBezTo>
                <a:cubicBezTo>
                  <a:pt x="562302" y="533"/>
                  <a:pt x="562747" y="711"/>
                  <a:pt x="563192" y="800"/>
                </a:cubicBezTo>
                <a:cubicBezTo>
                  <a:pt x="563548" y="889"/>
                  <a:pt x="563904" y="978"/>
                  <a:pt x="564171" y="1067"/>
                </a:cubicBezTo>
                <a:cubicBezTo>
                  <a:pt x="564616" y="1156"/>
                  <a:pt x="565061" y="1333"/>
                  <a:pt x="565506" y="1511"/>
                </a:cubicBezTo>
                <a:cubicBezTo>
                  <a:pt x="565862" y="1600"/>
                  <a:pt x="566218" y="1778"/>
                  <a:pt x="566574" y="1867"/>
                </a:cubicBezTo>
                <a:cubicBezTo>
                  <a:pt x="566929" y="2044"/>
                  <a:pt x="567285" y="2222"/>
                  <a:pt x="567730" y="2400"/>
                </a:cubicBezTo>
                <a:cubicBezTo>
                  <a:pt x="568086" y="2578"/>
                  <a:pt x="568442" y="2755"/>
                  <a:pt x="568798" y="2933"/>
                </a:cubicBezTo>
                <a:cubicBezTo>
                  <a:pt x="569154" y="3111"/>
                  <a:pt x="569421" y="3289"/>
                  <a:pt x="569777" y="3467"/>
                </a:cubicBezTo>
                <a:cubicBezTo>
                  <a:pt x="570133" y="3733"/>
                  <a:pt x="570578" y="4000"/>
                  <a:pt x="570934" y="4178"/>
                </a:cubicBezTo>
                <a:cubicBezTo>
                  <a:pt x="571201" y="4444"/>
                  <a:pt x="571557" y="4622"/>
                  <a:pt x="571824" y="4800"/>
                </a:cubicBezTo>
                <a:cubicBezTo>
                  <a:pt x="572180" y="5155"/>
                  <a:pt x="572536" y="5422"/>
                  <a:pt x="572891" y="5689"/>
                </a:cubicBezTo>
                <a:cubicBezTo>
                  <a:pt x="573247" y="5955"/>
                  <a:pt x="573514" y="6222"/>
                  <a:pt x="573781" y="6489"/>
                </a:cubicBezTo>
                <a:cubicBezTo>
                  <a:pt x="574137" y="6755"/>
                  <a:pt x="574493" y="7022"/>
                  <a:pt x="574760" y="7289"/>
                </a:cubicBezTo>
                <a:cubicBezTo>
                  <a:pt x="575205" y="7733"/>
                  <a:pt x="575561" y="8178"/>
                  <a:pt x="575917" y="8533"/>
                </a:cubicBezTo>
                <a:cubicBezTo>
                  <a:pt x="576095" y="8711"/>
                  <a:pt x="576273" y="8889"/>
                  <a:pt x="576451" y="9066"/>
                </a:cubicBezTo>
                <a:cubicBezTo>
                  <a:pt x="576451" y="9155"/>
                  <a:pt x="576451" y="9155"/>
                  <a:pt x="576451" y="9155"/>
                </a:cubicBezTo>
                <a:cubicBezTo>
                  <a:pt x="576985" y="9777"/>
                  <a:pt x="577519" y="10489"/>
                  <a:pt x="577964" y="11200"/>
                </a:cubicBezTo>
                <a:cubicBezTo>
                  <a:pt x="577964" y="11200"/>
                  <a:pt x="578053" y="11289"/>
                  <a:pt x="578053" y="11289"/>
                </a:cubicBezTo>
                <a:cubicBezTo>
                  <a:pt x="578498" y="12000"/>
                  <a:pt x="578854" y="12622"/>
                  <a:pt x="579209" y="13244"/>
                </a:cubicBezTo>
                <a:cubicBezTo>
                  <a:pt x="579387" y="13600"/>
                  <a:pt x="579565" y="13955"/>
                  <a:pt x="579743" y="14222"/>
                </a:cubicBezTo>
                <a:cubicBezTo>
                  <a:pt x="579921" y="14666"/>
                  <a:pt x="580099" y="15111"/>
                  <a:pt x="580277" y="15555"/>
                </a:cubicBezTo>
                <a:cubicBezTo>
                  <a:pt x="580455" y="15911"/>
                  <a:pt x="580633" y="16266"/>
                  <a:pt x="580722" y="16711"/>
                </a:cubicBezTo>
                <a:cubicBezTo>
                  <a:pt x="580900" y="17066"/>
                  <a:pt x="581078" y="17422"/>
                  <a:pt x="581167" y="17866"/>
                </a:cubicBezTo>
                <a:cubicBezTo>
                  <a:pt x="581256" y="18311"/>
                  <a:pt x="581434" y="18755"/>
                  <a:pt x="581523" y="19199"/>
                </a:cubicBezTo>
                <a:cubicBezTo>
                  <a:pt x="581612" y="19555"/>
                  <a:pt x="581701" y="19910"/>
                  <a:pt x="581790" y="20266"/>
                </a:cubicBezTo>
                <a:cubicBezTo>
                  <a:pt x="581879" y="20977"/>
                  <a:pt x="582057" y="21777"/>
                  <a:pt x="582146" y="22488"/>
                </a:cubicBezTo>
                <a:cubicBezTo>
                  <a:pt x="582146" y="22577"/>
                  <a:pt x="582146" y="22666"/>
                  <a:pt x="582146" y="22666"/>
                </a:cubicBezTo>
                <a:cubicBezTo>
                  <a:pt x="582235" y="23555"/>
                  <a:pt x="582235" y="24355"/>
                  <a:pt x="582235" y="25244"/>
                </a:cubicBezTo>
                <a:lnTo>
                  <a:pt x="582235" y="126396"/>
                </a:lnTo>
                <a:cubicBezTo>
                  <a:pt x="582235" y="140351"/>
                  <a:pt x="570934" y="151728"/>
                  <a:pt x="556963" y="151728"/>
                </a:cubicBezTo>
                <a:cubicBezTo>
                  <a:pt x="542992" y="151728"/>
                  <a:pt x="531691" y="140351"/>
                  <a:pt x="531691" y="126396"/>
                </a:cubicBezTo>
                <a:lnTo>
                  <a:pt x="531691" y="79286"/>
                </a:lnTo>
                <a:lnTo>
                  <a:pt x="421260" y="171106"/>
                </a:lnTo>
                <a:cubicBezTo>
                  <a:pt x="410582" y="180083"/>
                  <a:pt x="394564" y="178572"/>
                  <a:pt x="385666" y="167906"/>
                </a:cubicBezTo>
                <a:cubicBezTo>
                  <a:pt x="376678" y="157150"/>
                  <a:pt x="378191" y="141240"/>
                  <a:pt x="388869" y="132262"/>
                </a:cubicBezTo>
                <a:lnTo>
                  <a:pt x="487020" y="50576"/>
                </a:lnTo>
                <a:lnTo>
                  <a:pt x="455697" y="50576"/>
                </a:lnTo>
                <a:cubicBezTo>
                  <a:pt x="441727" y="50576"/>
                  <a:pt x="430425" y="39288"/>
                  <a:pt x="430425" y="25244"/>
                </a:cubicBezTo>
                <a:cubicBezTo>
                  <a:pt x="430425" y="11289"/>
                  <a:pt x="441727" y="0"/>
                  <a:pt x="455697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30" name="îSľîḓé">
            <a:extLst>
              <a:ext uri="{FF2B5EF4-FFF2-40B4-BE49-F238E27FC236}">
                <a16:creationId xmlns:a16="http://schemas.microsoft.com/office/drawing/2014/main" id="{4FE8162E-BB5E-4C71-A128-6B1FD13BCD25}"/>
              </a:ext>
            </a:extLst>
          </p:cNvPr>
          <p:cNvSpPr/>
          <p:nvPr/>
        </p:nvSpPr>
        <p:spPr>
          <a:xfrm>
            <a:off x="6704686" y="3900103"/>
            <a:ext cx="396156" cy="396156"/>
          </a:xfrm>
          <a:prstGeom prst="ellipse">
            <a:avLst/>
          </a:prstGeom>
          <a:solidFill>
            <a:schemeClr val="tx1">
              <a:lumMod val="60000"/>
              <a:lumOff val="40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/>
          </a:p>
        </p:txBody>
      </p:sp>
      <p:sp>
        <p:nvSpPr>
          <p:cNvPr id="31" name="íŝḻiḓe">
            <a:extLst>
              <a:ext uri="{FF2B5EF4-FFF2-40B4-BE49-F238E27FC236}">
                <a16:creationId xmlns:a16="http://schemas.microsoft.com/office/drawing/2014/main" id="{6F9AA762-A265-4DC8-9C08-AF24B8685FEE}"/>
              </a:ext>
            </a:extLst>
          </p:cNvPr>
          <p:cNvSpPr>
            <a:spLocks/>
          </p:cNvSpPr>
          <p:nvPr/>
        </p:nvSpPr>
        <p:spPr bwMode="auto">
          <a:xfrm>
            <a:off x="6786531" y="3986227"/>
            <a:ext cx="232467" cy="223908"/>
          </a:xfrm>
          <a:custGeom>
            <a:avLst/>
            <a:gdLst>
              <a:gd name="T0" fmla="*/ 4096 w 6827"/>
              <a:gd name="T1" fmla="*/ 4551 h 6827"/>
              <a:gd name="T2" fmla="*/ 6258 w 6827"/>
              <a:gd name="T3" fmla="*/ 4096 h 6827"/>
              <a:gd name="T4" fmla="*/ 2348 w 6827"/>
              <a:gd name="T5" fmla="*/ 4911 h 6827"/>
              <a:gd name="T6" fmla="*/ 569 w 6827"/>
              <a:gd name="T7" fmla="*/ 4551 h 6827"/>
              <a:gd name="T8" fmla="*/ 569 w 6827"/>
              <a:gd name="T9" fmla="*/ 3982 h 6827"/>
              <a:gd name="T10" fmla="*/ 1707 w 6827"/>
              <a:gd name="T11" fmla="*/ 2503 h 6827"/>
              <a:gd name="T12" fmla="*/ 3868 w 6827"/>
              <a:gd name="T13" fmla="*/ 2731 h 6827"/>
              <a:gd name="T14" fmla="*/ 5827 w 6827"/>
              <a:gd name="T15" fmla="*/ 2004 h 6827"/>
              <a:gd name="T16" fmla="*/ 6258 w 6827"/>
              <a:gd name="T17" fmla="*/ 1820 h 6827"/>
              <a:gd name="T18" fmla="*/ 4779 w 6827"/>
              <a:gd name="T19" fmla="*/ 0 h 6827"/>
              <a:gd name="T20" fmla="*/ 2854 w 6827"/>
              <a:gd name="T21" fmla="*/ 2381 h 6827"/>
              <a:gd name="T22" fmla="*/ 1239 w 6827"/>
              <a:gd name="T23" fmla="*/ 2257 h 6827"/>
              <a:gd name="T24" fmla="*/ 569 w 6827"/>
              <a:gd name="T25" fmla="*/ 2844 h 6827"/>
              <a:gd name="T26" fmla="*/ 569 w 6827"/>
              <a:gd name="T27" fmla="*/ 2276 h 6827"/>
              <a:gd name="T28" fmla="*/ 569 w 6827"/>
              <a:gd name="T29" fmla="*/ 1707 h 6827"/>
              <a:gd name="T30" fmla="*/ 569 w 6827"/>
              <a:gd name="T31" fmla="*/ 1138 h 6827"/>
              <a:gd name="T32" fmla="*/ 569 w 6827"/>
              <a:gd name="T33" fmla="*/ 569 h 6827"/>
              <a:gd name="T34" fmla="*/ 341 w 6827"/>
              <a:gd name="T35" fmla="*/ 0 h 6827"/>
              <a:gd name="T36" fmla="*/ 114 w 6827"/>
              <a:gd name="T37" fmla="*/ 569 h 6827"/>
              <a:gd name="T38" fmla="*/ 114 w 6827"/>
              <a:gd name="T39" fmla="*/ 1138 h 6827"/>
              <a:gd name="T40" fmla="*/ 114 w 6827"/>
              <a:gd name="T41" fmla="*/ 1707 h 6827"/>
              <a:gd name="T42" fmla="*/ 114 w 6827"/>
              <a:gd name="T43" fmla="*/ 2276 h 6827"/>
              <a:gd name="T44" fmla="*/ 114 w 6827"/>
              <a:gd name="T45" fmla="*/ 2844 h 6827"/>
              <a:gd name="T46" fmla="*/ 114 w 6827"/>
              <a:gd name="T47" fmla="*/ 3413 h 6827"/>
              <a:gd name="T48" fmla="*/ 114 w 6827"/>
              <a:gd name="T49" fmla="*/ 3982 h 6827"/>
              <a:gd name="T50" fmla="*/ 114 w 6827"/>
              <a:gd name="T51" fmla="*/ 4551 h 6827"/>
              <a:gd name="T52" fmla="*/ 114 w 6827"/>
              <a:gd name="T53" fmla="*/ 5120 h 6827"/>
              <a:gd name="T54" fmla="*/ 114 w 6827"/>
              <a:gd name="T55" fmla="*/ 5689 h 6827"/>
              <a:gd name="T56" fmla="*/ 114 w 6827"/>
              <a:gd name="T57" fmla="*/ 6258 h 6827"/>
              <a:gd name="T58" fmla="*/ 683 w 6827"/>
              <a:gd name="T59" fmla="*/ 6713 h 6827"/>
              <a:gd name="T60" fmla="*/ 1252 w 6827"/>
              <a:gd name="T61" fmla="*/ 6713 h 6827"/>
              <a:gd name="T62" fmla="*/ 1820 w 6827"/>
              <a:gd name="T63" fmla="*/ 6713 h 6827"/>
              <a:gd name="T64" fmla="*/ 2389 w 6827"/>
              <a:gd name="T65" fmla="*/ 6713 h 6827"/>
              <a:gd name="T66" fmla="*/ 2958 w 6827"/>
              <a:gd name="T67" fmla="*/ 6713 h 6827"/>
              <a:gd name="T68" fmla="*/ 3527 w 6827"/>
              <a:gd name="T69" fmla="*/ 6713 h 6827"/>
              <a:gd name="T70" fmla="*/ 4096 w 6827"/>
              <a:gd name="T71" fmla="*/ 6713 h 6827"/>
              <a:gd name="T72" fmla="*/ 4665 w 6827"/>
              <a:gd name="T73" fmla="*/ 6713 h 6827"/>
              <a:gd name="T74" fmla="*/ 5234 w 6827"/>
              <a:gd name="T75" fmla="*/ 6713 h 6827"/>
              <a:gd name="T76" fmla="*/ 5803 w 6827"/>
              <a:gd name="T77" fmla="*/ 6713 h 6827"/>
              <a:gd name="T78" fmla="*/ 6371 w 6827"/>
              <a:gd name="T79" fmla="*/ 6713 h 6827"/>
              <a:gd name="T80" fmla="*/ 6827 w 6827"/>
              <a:gd name="T81" fmla="*/ 6485 h 6827"/>
              <a:gd name="T82" fmla="*/ 6371 w 6827"/>
              <a:gd name="T83" fmla="*/ 6258 h 6827"/>
              <a:gd name="T84" fmla="*/ 5803 w 6827"/>
              <a:gd name="T85" fmla="*/ 6258 h 6827"/>
              <a:gd name="T86" fmla="*/ 5234 w 6827"/>
              <a:gd name="T87" fmla="*/ 6258 h 6827"/>
              <a:gd name="T88" fmla="*/ 4665 w 6827"/>
              <a:gd name="T89" fmla="*/ 6258 h 6827"/>
              <a:gd name="T90" fmla="*/ 4096 w 6827"/>
              <a:gd name="T91" fmla="*/ 6258 h 6827"/>
              <a:gd name="T92" fmla="*/ 3527 w 6827"/>
              <a:gd name="T93" fmla="*/ 6258 h 6827"/>
              <a:gd name="T94" fmla="*/ 2958 w 6827"/>
              <a:gd name="T95" fmla="*/ 6258 h 6827"/>
              <a:gd name="T96" fmla="*/ 2389 w 6827"/>
              <a:gd name="T97" fmla="*/ 6258 h 6827"/>
              <a:gd name="T98" fmla="*/ 1820 w 6827"/>
              <a:gd name="T99" fmla="*/ 6258 h 6827"/>
              <a:gd name="T100" fmla="*/ 1252 w 6827"/>
              <a:gd name="T101" fmla="*/ 6258 h 6827"/>
              <a:gd name="T102" fmla="*/ 683 w 6827"/>
              <a:gd name="T103" fmla="*/ 6258 h 68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6827" h="6827">
                <a:moveTo>
                  <a:pt x="1263" y="5234"/>
                </a:moveTo>
                <a:cubicBezTo>
                  <a:pt x="1316" y="5493"/>
                  <a:pt x="1546" y="5689"/>
                  <a:pt x="1820" y="5689"/>
                </a:cubicBezTo>
                <a:cubicBezTo>
                  <a:pt x="2114" y="5689"/>
                  <a:pt x="2354" y="5464"/>
                  <a:pt x="2383" y="5178"/>
                </a:cubicBezTo>
                <a:lnTo>
                  <a:pt x="3568" y="4191"/>
                </a:lnTo>
                <a:cubicBezTo>
                  <a:pt x="3652" y="4401"/>
                  <a:pt x="3856" y="4551"/>
                  <a:pt x="4096" y="4551"/>
                </a:cubicBezTo>
                <a:cubicBezTo>
                  <a:pt x="4348" y="4551"/>
                  <a:pt x="4560" y="4385"/>
                  <a:pt x="4635" y="4157"/>
                </a:cubicBezTo>
                <a:lnTo>
                  <a:pt x="5696" y="4736"/>
                </a:lnTo>
                <a:cubicBezTo>
                  <a:pt x="5732" y="5016"/>
                  <a:pt x="5969" y="5234"/>
                  <a:pt x="6258" y="5234"/>
                </a:cubicBezTo>
                <a:cubicBezTo>
                  <a:pt x="6571" y="5234"/>
                  <a:pt x="6827" y="4979"/>
                  <a:pt x="6827" y="4665"/>
                </a:cubicBezTo>
                <a:cubicBezTo>
                  <a:pt x="6827" y="4351"/>
                  <a:pt x="6571" y="4096"/>
                  <a:pt x="6258" y="4096"/>
                </a:cubicBezTo>
                <a:cubicBezTo>
                  <a:pt x="6006" y="4096"/>
                  <a:pt x="5794" y="4262"/>
                  <a:pt x="5719" y="4490"/>
                </a:cubicBezTo>
                <a:lnTo>
                  <a:pt x="4658" y="3911"/>
                </a:lnTo>
                <a:cubicBezTo>
                  <a:pt x="4622" y="3631"/>
                  <a:pt x="4385" y="3413"/>
                  <a:pt x="4096" y="3413"/>
                </a:cubicBezTo>
                <a:cubicBezTo>
                  <a:pt x="3802" y="3413"/>
                  <a:pt x="3563" y="3638"/>
                  <a:pt x="3533" y="3924"/>
                </a:cubicBezTo>
                <a:lnTo>
                  <a:pt x="2348" y="4911"/>
                </a:lnTo>
                <a:cubicBezTo>
                  <a:pt x="2265" y="4701"/>
                  <a:pt x="2060" y="4551"/>
                  <a:pt x="1820" y="4551"/>
                </a:cubicBezTo>
                <a:cubicBezTo>
                  <a:pt x="1546" y="4551"/>
                  <a:pt x="1316" y="4747"/>
                  <a:pt x="1263" y="5006"/>
                </a:cubicBezTo>
                <a:lnTo>
                  <a:pt x="455" y="5006"/>
                </a:lnTo>
                <a:lnTo>
                  <a:pt x="455" y="4551"/>
                </a:lnTo>
                <a:lnTo>
                  <a:pt x="569" y="4551"/>
                </a:lnTo>
                <a:cubicBezTo>
                  <a:pt x="632" y="4551"/>
                  <a:pt x="683" y="4500"/>
                  <a:pt x="683" y="4437"/>
                </a:cubicBezTo>
                <a:cubicBezTo>
                  <a:pt x="683" y="4374"/>
                  <a:pt x="632" y="4324"/>
                  <a:pt x="569" y="4324"/>
                </a:cubicBezTo>
                <a:lnTo>
                  <a:pt x="455" y="4324"/>
                </a:lnTo>
                <a:lnTo>
                  <a:pt x="455" y="3982"/>
                </a:lnTo>
                <a:lnTo>
                  <a:pt x="569" y="3982"/>
                </a:lnTo>
                <a:cubicBezTo>
                  <a:pt x="632" y="3982"/>
                  <a:pt x="683" y="3931"/>
                  <a:pt x="683" y="3868"/>
                </a:cubicBezTo>
                <a:cubicBezTo>
                  <a:pt x="683" y="3806"/>
                  <a:pt x="632" y="3755"/>
                  <a:pt x="569" y="3755"/>
                </a:cubicBezTo>
                <a:lnTo>
                  <a:pt x="480" y="3755"/>
                </a:lnTo>
                <a:lnTo>
                  <a:pt x="1407" y="2416"/>
                </a:lnTo>
                <a:cubicBezTo>
                  <a:pt x="1494" y="2470"/>
                  <a:pt x="1596" y="2503"/>
                  <a:pt x="1707" y="2503"/>
                </a:cubicBezTo>
                <a:cubicBezTo>
                  <a:pt x="1888" y="2503"/>
                  <a:pt x="2048" y="2416"/>
                  <a:pt x="2152" y="2284"/>
                </a:cubicBezTo>
                <a:lnTo>
                  <a:pt x="2752" y="2584"/>
                </a:lnTo>
                <a:cubicBezTo>
                  <a:pt x="2740" y="2631"/>
                  <a:pt x="2731" y="2680"/>
                  <a:pt x="2731" y="2731"/>
                </a:cubicBezTo>
                <a:cubicBezTo>
                  <a:pt x="2731" y="3044"/>
                  <a:pt x="2986" y="3300"/>
                  <a:pt x="3300" y="3300"/>
                </a:cubicBezTo>
                <a:cubicBezTo>
                  <a:pt x="3613" y="3300"/>
                  <a:pt x="3868" y="3044"/>
                  <a:pt x="3868" y="2731"/>
                </a:cubicBezTo>
                <a:cubicBezTo>
                  <a:pt x="3868" y="2608"/>
                  <a:pt x="3829" y="2496"/>
                  <a:pt x="3763" y="2403"/>
                </a:cubicBezTo>
                <a:lnTo>
                  <a:pt x="4488" y="1055"/>
                </a:lnTo>
                <a:cubicBezTo>
                  <a:pt x="4574" y="1107"/>
                  <a:pt x="4672" y="1138"/>
                  <a:pt x="4779" y="1138"/>
                </a:cubicBezTo>
                <a:cubicBezTo>
                  <a:pt x="4891" y="1138"/>
                  <a:pt x="4995" y="1104"/>
                  <a:pt x="5083" y="1048"/>
                </a:cubicBezTo>
                <a:lnTo>
                  <a:pt x="5827" y="2004"/>
                </a:lnTo>
                <a:cubicBezTo>
                  <a:pt x="5829" y="2007"/>
                  <a:pt x="5833" y="2009"/>
                  <a:pt x="5836" y="2011"/>
                </a:cubicBezTo>
                <a:cubicBezTo>
                  <a:pt x="5745" y="2112"/>
                  <a:pt x="5689" y="2244"/>
                  <a:pt x="5689" y="2389"/>
                </a:cubicBezTo>
                <a:cubicBezTo>
                  <a:pt x="5689" y="2703"/>
                  <a:pt x="5944" y="2958"/>
                  <a:pt x="6258" y="2958"/>
                </a:cubicBezTo>
                <a:cubicBezTo>
                  <a:pt x="6571" y="2958"/>
                  <a:pt x="6827" y="2703"/>
                  <a:pt x="6827" y="2389"/>
                </a:cubicBezTo>
                <a:cubicBezTo>
                  <a:pt x="6827" y="2076"/>
                  <a:pt x="6571" y="1820"/>
                  <a:pt x="6258" y="1820"/>
                </a:cubicBezTo>
                <a:cubicBezTo>
                  <a:pt x="6170" y="1820"/>
                  <a:pt x="6087" y="1842"/>
                  <a:pt x="6013" y="1878"/>
                </a:cubicBezTo>
                <a:cubicBezTo>
                  <a:pt x="6010" y="1874"/>
                  <a:pt x="6010" y="1869"/>
                  <a:pt x="6006" y="1864"/>
                </a:cubicBezTo>
                <a:lnTo>
                  <a:pt x="5248" y="890"/>
                </a:lnTo>
                <a:cubicBezTo>
                  <a:pt x="5311" y="798"/>
                  <a:pt x="5348" y="688"/>
                  <a:pt x="5348" y="569"/>
                </a:cubicBezTo>
                <a:cubicBezTo>
                  <a:pt x="5348" y="255"/>
                  <a:pt x="5092" y="0"/>
                  <a:pt x="4779" y="0"/>
                </a:cubicBezTo>
                <a:cubicBezTo>
                  <a:pt x="4465" y="0"/>
                  <a:pt x="4210" y="255"/>
                  <a:pt x="4210" y="569"/>
                </a:cubicBezTo>
                <a:cubicBezTo>
                  <a:pt x="4210" y="691"/>
                  <a:pt x="4249" y="804"/>
                  <a:pt x="4315" y="897"/>
                </a:cubicBezTo>
                <a:lnTo>
                  <a:pt x="3590" y="2244"/>
                </a:lnTo>
                <a:cubicBezTo>
                  <a:pt x="3505" y="2193"/>
                  <a:pt x="3406" y="2162"/>
                  <a:pt x="3300" y="2162"/>
                </a:cubicBezTo>
                <a:cubicBezTo>
                  <a:pt x="3118" y="2162"/>
                  <a:pt x="2959" y="2248"/>
                  <a:pt x="2854" y="2381"/>
                </a:cubicBezTo>
                <a:lnTo>
                  <a:pt x="2254" y="2081"/>
                </a:lnTo>
                <a:cubicBezTo>
                  <a:pt x="2267" y="2034"/>
                  <a:pt x="2276" y="1985"/>
                  <a:pt x="2276" y="1934"/>
                </a:cubicBezTo>
                <a:cubicBezTo>
                  <a:pt x="2276" y="1621"/>
                  <a:pt x="2020" y="1365"/>
                  <a:pt x="1707" y="1365"/>
                </a:cubicBezTo>
                <a:cubicBezTo>
                  <a:pt x="1393" y="1365"/>
                  <a:pt x="1138" y="1621"/>
                  <a:pt x="1138" y="1934"/>
                </a:cubicBezTo>
                <a:cubicBezTo>
                  <a:pt x="1138" y="2054"/>
                  <a:pt x="1176" y="2166"/>
                  <a:pt x="1239" y="2257"/>
                </a:cubicBezTo>
                <a:lnTo>
                  <a:pt x="593" y="3191"/>
                </a:lnTo>
                <a:cubicBezTo>
                  <a:pt x="585" y="3189"/>
                  <a:pt x="578" y="3186"/>
                  <a:pt x="569" y="3186"/>
                </a:cubicBezTo>
                <a:lnTo>
                  <a:pt x="455" y="3186"/>
                </a:lnTo>
                <a:lnTo>
                  <a:pt x="455" y="2844"/>
                </a:lnTo>
                <a:lnTo>
                  <a:pt x="569" y="2844"/>
                </a:lnTo>
                <a:cubicBezTo>
                  <a:pt x="632" y="2844"/>
                  <a:pt x="683" y="2794"/>
                  <a:pt x="683" y="2731"/>
                </a:cubicBezTo>
                <a:cubicBezTo>
                  <a:pt x="683" y="2668"/>
                  <a:pt x="632" y="2617"/>
                  <a:pt x="569" y="2617"/>
                </a:cubicBezTo>
                <a:lnTo>
                  <a:pt x="455" y="2617"/>
                </a:lnTo>
                <a:lnTo>
                  <a:pt x="455" y="2276"/>
                </a:lnTo>
                <a:lnTo>
                  <a:pt x="569" y="2276"/>
                </a:lnTo>
                <a:cubicBezTo>
                  <a:pt x="632" y="2276"/>
                  <a:pt x="683" y="2225"/>
                  <a:pt x="683" y="2162"/>
                </a:cubicBezTo>
                <a:cubicBezTo>
                  <a:pt x="683" y="2099"/>
                  <a:pt x="632" y="2048"/>
                  <a:pt x="569" y="2048"/>
                </a:cubicBezTo>
                <a:lnTo>
                  <a:pt x="455" y="2048"/>
                </a:lnTo>
                <a:lnTo>
                  <a:pt x="455" y="1707"/>
                </a:lnTo>
                <a:lnTo>
                  <a:pt x="569" y="1707"/>
                </a:lnTo>
                <a:cubicBezTo>
                  <a:pt x="632" y="1707"/>
                  <a:pt x="683" y="1656"/>
                  <a:pt x="683" y="1593"/>
                </a:cubicBezTo>
                <a:cubicBezTo>
                  <a:pt x="683" y="1530"/>
                  <a:pt x="632" y="1479"/>
                  <a:pt x="569" y="1479"/>
                </a:cubicBezTo>
                <a:lnTo>
                  <a:pt x="455" y="1479"/>
                </a:lnTo>
                <a:lnTo>
                  <a:pt x="455" y="1138"/>
                </a:lnTo>
                <a:lnTo>
                  <a:pt x="569" y="1138"/>
                </a:lnTo>
                <a:cubicBezTo>
                  <a:pt x="632" y="1138"/>
                  <a:pt x="683" y="1087"/>
                  <a:pt x="683" y="1024"/>
                </a:cubicBezTo>
                <a:cubicBezTo>
                  <a:pt x="683" y="961"/>
                  <a:pt x="632" y="910"/>
                  <a:pt x="569" y="910"/>
                </a:cubicBezTo>
                <a:lnTo>
                  <a:pt x="455" y="910"/>
                </a:lnTo>
                <a:lnTo>
                  <a:pt x="455" y="569"/>
                </a:lnTo>
                <a:lnTo>
                  <a:pt x="569" y="569"/>
                </a:lnTo>
                <a:cubicBezTo>
                  <a:pt x="632" y="569"/>
                  <a:pt x="683" y="518"/>
                  <a:pt x="683" y="455"/>
                </a:cubicBezTo>
                <a:cubicBezTo>
                  <a:pt x="683" y="392"/>
                  <a:pt x="632" y="341"/>
                  <a:pt x="569" y="341"/>
                </a:cubicBezTo>
                <a:lnTo>
                  <a:pt x="455" y="341"/>
                </a:lnTo>
                <a:lnTo>
                  <a:pt x="455" y="114"/>
                </a:lnTo>
                <a:cubicBezTo>
                  <a:pt x="455" y="51"/>
                  <a:pt x="404" y="0"/>
                  <a:pt x="341" y="0"/>
                </a:cubicBezTo>
                <a:cubicBezTo>
                  <a:pt x="278" y="0"/>
                  <a:pt x="228" y="51"/>
                  <a:pt x="228" y="114"/>
                </a:cubicBezTo>
                <a:lnTo>
                  <a:pt x="228" y="341"/>
                </a:lnTo>
                <a:lnTo>
                  <a:pt x="114" y="341"/>
                </a:lnTo>
                <a:cubicBezTo>
                  <a:pt x="51" y="341"/>
                  <a:pt x="0" y="392"/>
                  <a:pt x="0" y="455"/>
                </a:cubicBezTo>
                <a:cubicBezTo>
                  <a:pt x="0" y="518"/>
                  <a:pt x="51" y="569"/>
                  <a:pt x="114" y="569"/>
                </a:cubicBezTo>
                <a:lnTo>
                  <a:pt x="228" y="569"/>
                </a:lnTo>
                <a:lnTo>
                  <a:pt x="228" y="910"/>
                </a:lnTo>
                <a:lnTo>
                  <a:pt x="114" y="910"/>
                </a:lnTo>
                <a:cubicBezTo>
                  <a:pt x="51" y="910"/>
                  <a:pt x="0" y="961"/>
                  <a:pt x="0" y="1024"/>
                </a:cubicBezTo>
                <a:cubicBezTo>
                  <a:pt x="0" y="1087"/>
                  <a:pt x="51" y="1138"/>
                  <a:pt x="114" y="1138"/>
                </a:cubicBezTo>
                <a:lnTo>
                  <a:pt x="228" y="1138"/>
                </a:lnTo>
                <a:lnTo>
                  <a:pt x="228" y="1479"/>
                </a:lnTo>
                <a:lnTo>
                  <a:pt x="114" y="1479"/>
                </a:lnTo>
                <a:cubicBezTo>
                  <a:pt x="51" y="1479"/>
                  <a:pt x="0" y="1530"/>
                  <a:pt x="0" y="1593"/>
                </a:cubicBezTo>
                <a:cubicBezTo>
                  <a:pt x="0" y="1656"/>
                  <a:pt x="51" y="1707"/>
                  <a:pt x="114" y="1707"/>
                </a:cubicBezTo>
                <a:lnTo>
                  <a:pt x="228" y="1707"/>
                </a:lnTo>
                <a:lnTo>
                  <a:pt x="228" y="2048"/>
                </a:lnTo>
                <a:lnTo>
                  <a:pt x="114" y="2048"/>
                </a:lnTo>
                <a:cubicBezTo>
                  <a:pt x="51" y="2048"/>
                  <a:pt x="0" y="2099"/>
                  <a:pt x="0" y="2162"/>
                </a:cubicBezTo>
                <a:cubicBezTo>
                  <a:pt x="0" y="2225"/>
                  <a:pt x="51" y="2276"/>
                  <a:pt x="114" y="2276"/>
                </a:cubicBezTo>
                <a:lnTo>
                  <a:pt x="228" y="2276"/>
                </a:lnTo>
                <a:lnTo>
                  <a:pt x="228" y="2617"/>
                </a:lnTo>
                <a:lnTo>
                  <a:pt x="114" y="2617"/>
                </a:lnTo>
                <a:cubicBezTo>
                  <a:pt x="51" y="2617"/>
                  <a:pt x="0" y="2668"/>
                  <a:pt x="0" y="2731"/>
                </a:cubicBezTo>
                <a:cubicBezTo>
                  <a:pt x="0" y="2794"/>
                  <a:pt x="51" y="2844"/>
                  <a:pt x="114" y="2844"/>
                </a:cubicBezTo>
                <a:lnTo>
                  <a:pt x="228" y="2844"/>
                </a:lnTo>
                <a:lnTo>
                  <a:pt x="228" y="3186"/>
                </a:lnTo>
                <a:lnTo>
                  <a:pt x="114" y="3186"/>
                </a:lnTo>
                <a:cubicBezTo>
                  <a:pt x="51" y="3186"/>
                  <a:pt x="0" y="3237"/>
                  <a:pt x="0" y="3300"/>
                </a:cubicBezTo>
                <a:cubicBezTo>
                  <a:pt x="0" y="3362"/>
                  <a:pt x="51" y="3413"/>
                  <a:pt x="114" y="3413"/>
                </a:cubicBezTo>
                <a:lnTo>
                  <a:pt x="228" y="3413"/>
                </a:lnTo>
                <a:lnTo>
                  <a:pt x="228" y="3755"/>
                </a:lnTo>
                <a:lnTo>
                  <a:pt x="114" y="3755"/>
                </a:lnTo>
                <a:cubicBezTo>
                  <a:pt x="51" y="3755"/>
                  <a:pt x="0" y="3806"/>
                  <a:pt x="0" y="3868"/>
                </a:cubicBezTo>
                <a:cubicBezTo>
                  <a:pt x="0" y="3931"/>
                  <a:pt x="51" y="3982"/>
                  <a:pt x="114" y="3982"/>
                </a:cubicBezTo>
                <a:lnTo>
                  <a:pt x="228" y="3982"/>
                </a:lnTo>
                <a:lnTo>
                  <a:pt x="228" y="4324"/>
                </a:lnTo>
                <a:lnTo>
                  <a:pt x="114" y="4324"/>
                </a:lnTo>
                <a:cubicBezTo>
                  <a:pt x="51" y="4324"/>
                  <a:pt x="0" y="4374"/>
                  <a:pt x="0" y="4437"/>
                </a:cubicBezTo>
                <a:cubicBezTo>
                  <a:pt x="0" y="4500"/>
                  <a:pt x="51" y="4551"/>
                  <a:pt x="114" y="4551"/>
                </a:cubicBezTo>
                <a:lnTo>
                  <a:pt x="228" y="4551"/>
                </a:lnTo>
                <a:lnTo>
                  <a:pt x="228" y="4892"/>
                </a:lnTo>
                <a:lnTo>
                  <a:pt x="114" y="4892"/>
                </a:lnTo>
                <a:cubicBezTo>
                  <a:pt x="51" y="4892"/>
                  <a:pt x="0" y="4943"/>
                  <a:pt x="0" y="5006"/>
                </a:cubicBezTo>
                <a:cubicBezTo>
                  <a:pt x="0" y="5069"/>
                  <a:pt x="51" y="5120"/>
                  <a:pt x="114" y="5120"/>
                </a:cubicBezTo>
                <a:lnTo>
                  <a:pt x="228" y="5120"/>
                </a:lnTo>
                <a:lnTo>
                  <a:pt x="228" y="5461"/>
                </a:lnTo>
                <a:lnTo>
                  <a:pt x="114" y="5461"/>
                </a:lnTo>
                <a:cubicBezTo>
                  <a:pt x="51" y="5461"/>
                  <a:pt x="0" y="5512"/>
                  <a:pt x="0" y="5575"/>
                </a:cubicBezTo>
                <a:cubicBezTo>
                  <a:pt x="0" y="5638"/>
                  <a:pt x="51" y="5689"/>
                  <a:pt x="114" y="5689"/>
                </a:cubicBezTo>
                <a:lnTo>
                  <a:pt x="228" y="5689"/>
                </a:lnTo>
                <a:lnTo>
                  <a:pt x="228" y="6030"/>
                </a:lnTo>
                <a:lnTo>
                  <a:pt x="114" y="6030"/>
                </a:lnTo>
                <a:cubicBezTo>
                  <a:pt x="51" y="6030"/>
                  <a:pt x="0" y="6081"/>
                  <a:pt x="0" y="6144"/>
                </a:cubicBezTo>
                <a:cubicBezTo>
                  <a:pt x="0" y="6207"/>
                  <a:pt x="51" y="6258"/>
                  <a:pt x="114" y="6258"/>
                </a:cubicBezTo>
                <a:lnTo>
                  <a:pt x="228" y="6258"/>
                </a:lnTo>
                <a:lnTo>
                  <a:pt x="228" y="6485"/>
                </a:lnTo>
                <a:cubicBezTo>
                  <a:pt x="228" y="6548"/>
                  <a:pt x="278" y="6599"/>
                  <a:pt x="341" y="6599"/>
                </a:cubicBezTo>
                <a:lnTo>
                  <a:pt x="683" y="6599"/>
                </a:lnTo>
                <a:lnTo>
                  <a:pt x="683" y="6713"/>
                </a:lnTo>
                <a:cubicBezTo>
                  <a:pt x="683" y="6776"/>
                  <a:pt x="734" y="6827"/>
                  <a:pt x="796" y="6827"/>
                </a:cubicBezTo>
                <a:cubicBezTo>
                  <a:pt x="859" y="6827"/>
                  <a:pt x="910" y="6776"/>
                  <a:pt x="910" y="6713"/>
                </a:cubicBezTo>
                <a:lnTo>
                  <a:pt x="910" y="6599"/>
                </a:lnTo>
                <a:lnTo>
                  <a:pt x="1252" y="6599"/>
                </a:lnTo>
                <a:lnTo>
                  <a:pt x="1252" y="6713"/>
                </a:lnTo>
                <a:cubicBezTo>
                  <a:pt x="1252" y="6776"/>
                  <a:pt x="1302" y="6827"/>
                  <a:pt x="1365" y="6827"/>
                </a:cubicBezTo>
                <a:cubicBezTo>
                  <a:pt x="1428" y="6827"/>
                  <a:pt x="1479" y="6776"/>
                  <a:pt x="1479" y="6713"/>
                </a:cubicBezTo>
                <a:lnTo>
                  <a:pt x="1479" y="6599"/>
                </a:lnTo>
                <a:lnTo>
                  <a:pt x="1820" y="6599"/>
                </a:lnTo>
                <a:lnTo>
                  <a:pt x="1820" y="6713"/>
                </a:lnTo>
                <a:cubicBezTo>
                  <a:pt x="1820" y="6776"/>
                  <a:pt x="1871" y="6827"/>
                  <a:pt x="1934" y="6827"/>
                </a:cubicBezTo>
                <a:cubicBezTo>
                  <a:pt x="1997" y="6827"/>
                  <a:pt x="2048" y="6776"/>
                  <a:pt x="2048" y="6713"/>
                </a:cubicBezTo>
                <a:lnTo>
                  <a:pt x="2048" y="6599"/>
                </a:lnTo>
                <a:lnTo>
                  <a:pt x="2389" y="6599"/>
                </a:lnTo>
                <a:lnTo>
                  <a:pt x="2389" y="6713"/>
                </a:lnTo>
                <a:cubicBezTo>
                  <a:pt x="2389" y="6776"/>
                  <a:pt x="2440" y="6827"/>
                  <a:pt x="2503" y="6827"/>
                </a:cubicBezTo>
                <a:cubicBezTo>
                  <a:pt x="2566" y="6827"/>
                  <a:pt x="2617" y="6776"/>
                  <a:pt x="2617" y="6713"/>
                </a:cubicBezTo>
                <a:lnTo>
                  <a:pt x="2617" y="6599"/>
                </a:lnTo>
                <a:lnTo>
                  <a:pt x="2958" y="6599"/>
                </a:lnTo>
                <a:lnTo>
                  <a:pt x="2958" y="6713"/>
                </a:lnTo>
                <a:cubicBezTo>
                  <a:pt x="2958" y="6776"/>
                  <a:pt x="3009" y="6827"/>
                  <a:pt x="3072" y="6827"/>
                </a:cubicBezTo>
                <a:cubicBezTo>
                  <a:pt x="3135" y="6827"/>
                  <a:pt x="3186" y="6776"/>
                  <a:pt x="3186" y="6713"/>
                </a:cubicBezTo>
                <a:lnTo>
                  <a:pt x="3186" y="6599"/>
                </a:lnTo>
                <a:lnTo>
                  <a:pt x="3527" y="6599"/>
                </a:lnTo>
                <a:lnTo>
                  <a:pt x="3527" y="6713"/>
                </a:lnTo>
                <a:cubicBezTo>
                  <a:pt x="3527" y="6776"/>
                  <a:pt x="3578" y="6827"/>
                  <a:pt x="3641" y="6827"/>
                </a:cubicBezTo>
                <a:cubicBezTo>
                  <a:pt x="3704" y="6827"/>
                  <a:pt x="3755" y="6776"/>
                  <a:pt x="3755" y="6713"/>
                </a:cubicBezTo>
                <a:lnTo>
                  <a:pt x="3755" y="6599"/>
                </a:lnTo>
                <a:lnTo>
                  <a:pt x="4096" y="6599"/>
                </a:lnTo>
                <a:lnTo>
                  <a:pt x="4096" y="6713"/>
                </a:lnTo>
                <a:cubicBezTo>
                  <a:pt x="4096" y="6776"/>
                  <a:pt x="4147" y="6827"/>
                  <a:pt x="4210" y="6827"/>
                </a:cubicBezTo>
                <a:cubicBezTo>
                  <a:pt x="4273" y="6827"/>
                  <a:pt x="4323" y="6776"/>
                  <a:pt x="4323" y="6713"/>
                </a:cubicBezTo>
                <a:lnTo>
                  <a:pt x="4323" y="6599"/>
                </a:lnTo>
                <a:lnTo>
                  <a:pt x="4665" y="6599"/>
                </a:lnTo>
                <a:lnTo>
                  <a:pt x="4665" y="6713"/>
                </a:lnTo>
                <a:cubicBezTo>
                  <a:pt x="4665" y="6776"/>
                  <a:pt x="4716" y="6827"/>
                  <a:pt x="4779" y="6827"/>
                </a:cubicBezTo>
                <a:cubicBezTo>
                  <a:pt x="4842" y="6827"/>
                  <a:pt x="4892" y="6776"/>
                  <a:pt x="4892" y="6713"/>
                </a:cubicBezTo>
                <a:lnTo>
                  <a:pt x="4892" y="6599"/>
                </a:lnTo>
                <a:lnTo>
                  <a:pt x="5234" y="6599"/>
                </a:lnTo>
                <a:lnTo>
                  <a:pt x="5234" y="6713"/>
                </a:lnTo>
                <a:cubicBezTo>
                  <a:pt x="5234" y="6776"/>
                  <a:pt x="5285" y="6827"/>
                  <a:pt x="5347" y="6827"/>
                </a:cubicBezTo>
                <a:cubicBezTo>
                  <a:pt x="5410" y="6827"/>
                  <a:pt x="5461" y="6776"/>
                  <a:pt x="5461" y="6713"/>
                </a:cubicBezTo>
                <a:lnTo>
                  <a:pt x="5461" y="6599"/>
                </a:lnTo>
                <a:lnTo>
                  <a:pt x="5803" y="6599"/>
                </a:lnTo>
                <a:lnTo>
                  <a:pt x="5803" y="6713"/>
                </a:lnTo>
                <a:cubicBezTo>
                  <a:pt x="5803" y="6776"/>
                  <a:pt x="5853" y="6827"/>
                  <a:pt x="5916" y="6827"/>
                </a:cubicBezTo>
                <a:cubicBezTo>
                  <a:pt x="5979" y="6827"/>
                  <a:pt x="6030" y="6776"/>
                  <a:pt x="6030" y="6713"/>
                </a:cubicBezTo>
                <a:lnTo>
                  <a:pt x="6030" y="6599"/>
                </a:lnTo>
                <a:lnTo>
                  <a:pt x="6371" y="6599"/>
                </a:lnTo>
                <a:lnTo>
                  <a:pt x="6371" y="6713"/>
                </a:lnTo>
                <a:cubicBezTo>
                  <a:pt x="6371" y="6776"/>
                  <a:pt x="6422" y="6827"/>
                  <a:pt x="6485" y="6827"/>
                </a:cubicBezTo>
                <a:cubicBezTo>
                  <a:pt x="6548" y="6827"/>
                  <a:pt x="6599" y="6776"/>
                  <a:pt x="6599" y="6713"/>
                </a:cubicBezTo>
                <a:lnTo>
                  <a:pt x="6599" y="6599"/>
                </a:lnTo>
                <a:lnTo>
                  <a:pt x="6713" y="6599"/>
                </a:lnTo>
                <a:cubicBezTo>
                  <a:pt x="6776" y="6599"/>
                  <a:pt x="6827" y="6548"/>
                  <a:pt x="6827" y="6485"/>
                </a:cubicBezTo>
                <a:cubicBezTo>
                  <a:pt x="6827" y="6422"/>
                  <a:pt x="6776" y="6372"/>
                  <a:pt x="6713" y="6372"/>
                </a:cubicBezTo>
                <a:lnTo>
                  <a:pt x="6599" y="6372"/>
                </a:lnTo>
                <a:lnTo>
                  <a:pt x="6599" y="6258"/>
                </a:lnTo>
                <a:cubicBezTo>
                  <a:pt x="6599" y="6195"/>
                  <a:pt x="6548" y="6144"/>
                  <a:pt x="6485" y="6144"/>
                </a:cubicBezTo>
                <a:cubicBezTo>
                  <a:pt x="6422" y="6144"/>
                  <a:pt x="6371" y="6195"/>
                  <a:pt x="6371" y="6258"/>
                </a:cubicBezTo>
                <a:lnTo>
                  <a:pt x="6371" y="6372"/>
                </a:lnTo>
                <a:lnTo>
                  <a:pt x="6030" y="6372"/>
                </a:lnTo>
                <a:lnTo>
                  <a:pt x="6030" y="6258"/>
                </a:lnTo>
                <a:cubicBezTo>
                  <a:pt x="6030" y="6195"/>
                  <a:pt x="5979" y="6144"/>
                  <a:pt x="5916" y="6144"/>
                </a:cubicBezTo>
                <a:cubicBezTo>
                  <a:pt x="5853" y="6144"/>
                  <a:pt x="5803" y="6195"/>
                  <a:pt x="5803" y="6258"/>
                </a:cubicBezTo>
                <a:lnTo>
                  <a:pt x="5803" y="6372"/>
                </a:lnTo>
                <a:lnTo>
                  <a:pt x="5461" y="6372"/>
                </a:lnTo>
                <a:lnTo>
                  <a:pt x="5461" y="6258"/>
                </a:lnTo>
                <a:cubicBezTo>
                  <a:pt x="5461" y="6195"/>
                  <a:pt x="5410" y="6144"/>
                  <a:pt x="5347" y="6144"/>
                </a:cubicBezTo>
                <a:cubicBezTo>
                  <a:pt x="5285" y="6144"/>
                  <a:pt x="5234" y="6195"/>
                  <a:pt x="5234" y="6258"/>
                </a:cubicBezTo>
                <a:lnTo>
                  <a:pt x="5234" y="6372"/>
                </a:lnTo>
                <a:lnTo>
                  <a:pt x="4892" y="6372"/>
                </a:lnTo>
                <a:lnTo>
                  <a:pt x="4892" y="6258"/>
                </a:lnTo>
                <a:cubicBezTo>
                  <a:pt x="4892" y="6195"/>
                  <a:pt x="4842" y="6144"/>
                  <a:pt x="4779" y="6144"/>
                </a:cubicBezTo>
                <a:cubicBezTo>
                  <a:pt x="4716" y="6144"/>
                  <a:pt x="4665" y="6195"/>
                  <a:pt x="4665" y="6258"/>
                </a:cubicBezTo>
                <a:lnTo>
                  <a:pt x="4665" y="6372"/>
                </a:lnTo>
                <a:lnTo>
                  <a:pt x="4323" y="6372"/>
                </a:lnTo>
                <a:lnTo>
                  <a:pt x="4323" y="6258"/>
                </a:lnTo>
                <a:cubicBezTo>
                  <a:pt x="4323" y="6195"/>
                  <a:pt x="4273" y="6144"/>
                  <a:pt x="4210" y="6144"/>
                </a:cubicBezTo>
                <a:cubicBezTo>
                  <a:pt x="4147" y="6144"/>
                  <a:pt x="4096" y="6195"/>
                  <a:pt x="4096" y="6258"/>
                </a:cubicBezTo>
                <a:lnTo>
                  <a:pt x="4096" y="6372"/>
                </a:lnTo>
                <a:lnTo>
                  <a:pt x="3755" y="6372"/>
                </a:lnTo>
                <a:lnTo>
                  <a:pt x="3755" y="6258"/>
                </a:lnTo>
                <a:cubicBezTo>
                  <a:pt x="3755" y="6195"/>
                  <a:pt x="3704" y="6144"/>
                  <a:pt x="3641" y="6144"/>
                </a:cubicBezTo>
                <a:cubicBezTo>
                  <a:pt x="3578" y="6144"/>
                  <a:pt x="3527" y="6195"/>
                  <a:pt x="3527" y="6258"/>
                </a:cubicBezTo>
                <a:lnTo>
                  <a:pt x="3527" y="6372"/>
                </a:lnTo>
                <a:lnTo>
                  <a:pt x="3186" y="6372"/>
                </a:lnTo>
                <a:lnTo>
                  <a:pt x="3186" y="6258"/>
                </a:lnTo>
                <a:cubicBezTo>
                  <a:pt x="3186" y="6195"/>
                  <a:pt x="3135" y="6144"/>
                  <a:pt x="3072" y="6144"/>
                </a:cubicBezTo>
                <a:cubicBezTo>
                  <a:pt x="3009" y="6144"/>
                  <a:pt x="2958" y="6195"/>
                  <a:pt x="2958" y="6258"/>
                </a:cubicBezTo>
                <a:lnTo>
                  <a:pt x="2958" y="6372"/>
                </a:lnTo>
                <a:lnTo>
                  <a:pt x="2617" y="6372"/>
                </a:lnTo>
                <a:lnTo>
                  <a:pt x="2617" y="6258"/>
                </a:lnTo>
                <a:cubicBezTo>
                  <a:pt x="2617" y="6195"/>
                  <a:pt x="2566" y="6144"/>
                  <a:pt x="2503" y="6144"/>
                </a:cubicBezTo>
                <a:cubicBezTo>
                  <a:pt x="2440" y="6144"/>
                  <a:pt x="2389" y="6195"/>
                  <a:pt x="2389" y="6258"/>
                </a:cubicBezTo>
                <a:lnTo>
                  <a:pt x="2389" y="6372"/>
                </a:lnTo>
                <a:lnTo>
                  <a:pt x="2048" y="6372"/>
                </a:lnTo>
                <a:lnTo>
                  <a:pt x="2048" y="6258"/>
                </a:lnTo>
                <a:cubicBezTo>
                  <a:pt x="2048" y="6195"/>
                  <a:pt x="1997" y="6144"/>
                  <a:pt x="1934" y="6144"/>
                </a:cubicBezTo>
                <a:cubicBezTo>
                  <a:pt x="1871" y="6144"/>
                  <a:pt x="1820" y="6195"/>
                  <a:pt x="1820" y="6258"/>
                </a:cubicBezTo>
                <a:lnTo>
                  <a:pt x="1820" y="6372"/>
                </a:lnTo>
                <a:lnTo>
                  <a:pt x="1479" y="6372"/>
                </a:lnTo>
                <a:lnTo>
                  <a:pt x="1479" y="6258"/>
                </a:lnTo>
                <a:cubicBezTo>
                  <a:pt x="1479" y="6195"/>
                  <a:pt x="1428" y="6144"/>
                  <a:pt x="1365" y="6144"/>
                </a:cubicBezTo>
                <a:cubicBezTo>
                  <a:pt x="1302" y="6144"/>
                  <a:pt x="1252" y="6195"/>
                  <a:pt x="1252" y="6258"/>
                </a:cubicBezTo>
                <a:lnTo>
                  <a:pt x="1252" y="6372"/>
                </a:lnTo>
                <a:lnTo>
                  <a:pt x="910" y="6372"/>
                </a:lnTo>
                <a:lnTo>
                  <a:pt x="910" y="6258"/>
                </a:lnTo>
                <a:cubicBezTo>
                  <a:pt x="910" y="6195"/>
                  <a:pt x="859" y="6144"/>
                  <a:pt x="796" y="6144"/>
                </a:cubicBezTo>
                <a:cubicBezTo>
                  <a:pt x="734" y="6144"/>
                  <a:pt x="683" y="6195"/>
                  <a:pt x="683" y="6258"/>
                </a:cubicBezTo>
                <a:lnTo>
                  <a:pt x="683" y="6372"/>
                </a:lnTo>
                <a:lnTo>
                  <a:pt x="455" y="6372"/>
                </a:lnTo>
                <a:lnTo>
                  <a:pt x="455" y="5234"/>
                </a:lnTo>
                <a:lnTo>
                  <a:pt x="1263" y="523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anchor="ctr"/>
          <a:lstStyle/>
          <a:p>
            <a:pPr algn="ctr"/>
            <a:endParaRPr/>
          </a:p>
        </p:txBody>
      </p:sp>
      <p:cxnSp>
        <p:nvCxnSpPr>
          <p:cNvPr id="25" name="肘形连接符 80">
            <a:extLst>
              <a:ext uri="{FF2B5EF4-FFF2-40B4-BE49-F238E27FC236}">
                <a16:creationId xmlns:a16="http://schemas.microsoft.com/office/drawing/2014/main" id="{7F9B1D91-2B6F-440A-8E6C-5E795F212D44}"/>
              </a:ext>
            </a:extLst>
          </p:cNvPr>
          <p:cNvCxnSpPr>
            <a:cxnSpLocks/>
            <a:stCxn id="28" idx="3"/>
            <a:endCxn id="26" idx="0"/>
          </p:cNvCxnSpPr>
          <p:nvPr/>
        </p:nvCxnSpPr>
        <p:spPr>
          <a:xfrm>
            <a:off x="4721637" y="1623920"/>
            <a:ext cx="1374363" cy="613341"/>
          </a:xfrm>
          <a:prstGeom prst="bentConnector2">
            <a:avLst/>
          </a:prstGeom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iśḻiḓè">
            <a:extLst>
              <a:ext uri="{FF2B5EF4-FFF2-40B4-BE49-F238E27FC236}">
                <a16:creationId xmlns:a16="http://schemas.microsoft.com/office/drawing/2014/main" id="{888734EF-7F95-44EC-B0B3-5BDF159DD990}"/>
              </a:ext>
            </a:extLst>
          </p:cNvPr>
          <p:cNvSpPr/>
          <p:nvPr/>
        </p:nvSpPr>
        <p:spPr>
          <a:xfrm>
            <a:off x="6073140" y="2237261"/>
            <a:ext cx="45720" cy="45720"/>
          </a:xfrm>
          <a:prstGeom prst="ellipse">
            <a:avLst/>
          </a:prstGeom>
          <a:solidFill>
            <a:schemeClr val="tx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/>
          </a:p>
        </p:txBody>
      </p:sp>
      <p:sp>
        <p:nvSpPr>
          <p:cNvPr id="28" name="îslîḍè">
            <a:extLst>
              <a:ext uri="{FF2B5EF4-FFF2-40B4-BE49-F238E27FC236}">
                <a16:creationId xmlns:a16="http://schemas.microsoft.com/office/drawing/2014/main" id="{C3D50BE7-628D-4BC8-BFA2-3B9CABCC6871}"/>
              </a:ext>
            </a:extLst>
          </p:cNvPr>
          <p:cNvSpPr/>
          <p:nvPr/>
        </p:nvSpPr>
        <p:spPr>
          <a:xfrm>
            <a:off x="826523" y="1243049"/>
            <a:ext cx="3895114" cy="761742"/>
          </a:xfrm>
          <a:prstGeom prst="rect">
            <a:avLst/>
          </a:prstGeom>
        </p:spPr>
        <p:txBody>
          <a:bodyPr wrap="square" lIns="90000" tIns="46800" rIns="90000" bIns="46800" anchor="ctr">
            <a:normAutofit fontScale="92500"/>
          </a:bodyPr>
          <a:lstStyle/>
          <a:p>
            <a:pPr>
              <a:lnSpc>
                <a:spcPct val="120000"/>
              </a:lnSpc>
            </a:pPr>
            <a:r>
              <a:rPr lang="zh-CN" altLang="en-US" sz="2000" b="1"/>
              <a:t>此部分内容作为文字排版占位显示</a:t>
            </a:r>
            <a:br>
              <a:rPr lang="zh-CN" altLang="en-US" sz="2000" b="1"/>
            </a:br>
            <a:r>
              <a:rPr lang="zh-CN" altLang="en-US" sz="2000" b="1"/>
              <a:t>（建议使用主题字体）</a:t>
            </a:r>
            <a:endParaRPr lang="zh-CN" altLang="en-US" sz="2000" b="1" dirty="0"/>
          </a:p>
        </p:txBody>
      </p:sp>
      <p:sp>
        <p:nvSpPr>
          <p:cNvPr id="29" name="îṩlïďè">
            <a:extLst>
              <a:ext uri="{FF2B5EF4-FFF2-40B4-BE49-F238E27FC236}">
                <a16:creationId xmlns:a16="http://schemas.microsoft.com/office/drawing/2014/main" id="{9C3E668C-0D25-47F8-A4D1-5ADB1D80A951}"/>
              </a:ext>
            </a:extLst>
          </p:cNvPr>
          <p:cNvSpPr/>
          <p:nvPr/>
        </p:nvSpPr>
        <p:spPr>
          <a:xfrm>
            <a:off x="826523" y="2004792"/>
            <a:ext cx="3895114" cy="426655"/>
          </a:xfrm>
          <a:prstGeom prst="rect">
            <a:avLst/>
          </a:prstGeom>
        </p:spPr>
        <p:txBody>
          <a:bodyPr wrap="square" lIns="90000" tIns="46800" rIns="90000" bIns="46800" anchor="ctr">
            <a:normAutofit lnSpcReduction="10000"/>
          </a:bodyPr>
          <a:lstStyle/>
          <a:p>
            <a:pPr>
              <a:lnSpc>
                <a:spcPct val="120000"/>
              </a:lnSpc>
            </a:pPr>
            <a:r>
              <a:rPr lang="zh-CN" altLang="en-US" sz="1000"/>
              <a:t>此部分内容作为文字排版占位显示（建议使用主题字体）如需更改请在（设置形状格式）菜单下（文本选项）中调整</a:t>
            </a:r>
            <a:endParaRPr lang="zh-CN" altLang="en-US" sz="1000" dirty="0"/>
          </a:p>
        </p:txBody>
      </p:sp>
    </p:spTree>
    <p:extLst>
      <p:ext uri="{BB962C8B-B14F-4D97-AF65-F5344CB8AC3E}">
        <p14:creationId xmlns:p14="http://schemas.microsoft.com/office/powerpoint/2010/main" val="403446270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论文总结与展望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 dirty="0"/>
              <a:t>Supporting text here.</a:t>
            </a:r>
          </a:p>
          <a:p>
            <a:pPr lvl="0"/>
            <a:r>
              <a:rPr lang="en-US" altLang="zh-CN" dirty="0"/>
              <a:t>When you copy &amp; paste, choose "keep text only" option.</a:t>
            </a:r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2549768" y="2031279"/>
            <a:ext cx="890213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5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305928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BDBCA0E-4AC9-405E-B479-4DC4B5A322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F40BA8D5-C749-4734-9F29-38E2274FB1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3BAC3A8F-A67E-4557-A089-74CE607F54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9</a:t>
            </a:fld>
            <a:endParaRPr lang="zh-CN" altLang="en-US"/>
          </a:p>
        </p:txBody>
      </p:sp>
      <p:sp>
        <p:nvSpPr>
          <p:cNvPr id="6" name="iṧḷíḓê">
            <a:extLst>
              <a:ext uri="{FF2B5EF4-FFF2-40B4-BE49-F238E27FC236}">
                <a16:creationId xmlns:a16="http://schemas.microsoft.com/office/drawing/2014/main" id="{C67537C1-FA07-4DE8-BD30-887304AD1598}"/>
              </a:ext>
            </a:extLst>
          </p:cNvPr>
          <p:cNvSpPr/>
          <p:nvPr/>
        </p:nvSpPr>
        <p:spPr>
          <a:xfrm>
            <a:off x="2795015" y="1556792"/>
            <a:ext cx="1584176" cy="4559846"/>
          </a:xfrm>
          <a:prstGeom prst="parallelogram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/>
          </a:p>
        </p:txBody>
      </p:sp>
      <p:sp>
        <p:nvSpPr>
          <p:cNvPr id="7" name="í$ḷïḑè">
            <a:extLst>
              <a:ext uri="{FF2B5EF4-FFF2-40B4-BE49-F238E27FC236}">
                <a16:creationId xmlns:a16="http://schemas.microsoft.com/office/drawing/2014/main" id="{BBEEB903-C80C-48A4-94EB-4D24B8964C3B}"/>
              </a:ext>
            </a:extLst>
          </p:cNvPr>
          <p:cNvSpPr/>
          <p:nvPr/>
        </p:nvSpPr>
        <p:spPr>
          <a:xfrm>
            <a:off x="799186" y="1123950"/>
            <a:ext cx="3168352" cy="4992688"/>
          </a:xfrm>
          <a:prstGeom prst="rect">
            <a:avLst/>
          </a:prstGeom>
          <a:blipFill>
            <a:blip r:embed="rId3"/>
            <a:srcRect/>
            <a:stretch>
              <a:fillRect l="-71981" t="57" r="-71604" b="-57"/>
            </a:stretch>
          </a:blip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/>
          </a:p>
        </p:txBody>
      </p:sp>
      <p:sp>
        <p:nvSpPr>
          <p:cNvPr id="8" name="íSḷidé">
            <a:extLst>
              <a:ext uri="{FF2B5EF4-FFF2-40B4-BE49-F238E27FC236}">
                <a16:creationId xmlns:a16="http://schemas.microsoft.com/office/drawing/2014/main" id="{A1A99B8C-82F7-4A49-A960-509C0322A16B}"/>
              </a:ext>
            </a:extLst>
          </p:cNvPr>
          <p:cNvSpPr/>
          <p:nvPr/>
        </p:nvSpPr>
        <p:spPr>
          <a:xfrm>
            <a:off x="4124216" y="1700808"/>
            <a:ext cx="1080120" cy="341678"/>
          </a:xfrm>
          <a:prstGeom prst="roundRect">
            <a:avLst>
              <a:gd name="adj" fmla="val 13693"/>
            </a:avLst>
          </a:prstGeom>
          <a:solidFill>
            <a:schemeClr val="accent6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0000" tIns="46800" rIns="90000" bIns="46800" anchor="ctr">
            <a:noAutofit/>
          </a:bodyPr>
          <a:lstStyle/>
          <a:p>
            <a:pPr algn="ctr"/>
            <a:r>
              <a:rPr lang="zh-CN" altLang="en-US" dirty="0"/>
              <a:t>关键词</a:t>
            </a:r>
          </a:p>
        </p:txBody>
      </p:sp>
      <p:sp>
        <p:nvSpPr>
          <p:cNvPr id="36" name="îšḻíḋe">
            <a:extLst>
              <a:ext uri="{FF2B5EF4-FFF2-40B4-BE49-F238E27FC236}">
                <a16:creationId xmlns:a16="http://schemas.microsoft.com/office/drawing/2014/main" id="{EE19FF51-109A-41A5-B362-5B20C7783C72}"/>
              </a:ext>
            </a:extLst>
          </p:cNvPr>
          <p:cNvSpPr txBox="1"/>
          <p:nvPr/>
        </p:nvSpPr>
        <p:spPr>
          <a:xfrm>
            <a:off x="4095652" y="4609360"/>
            <a:ext cx="2578029" cy="725008"/>
          </a:xfrm>
          <a:prstGeom prst="rect">
            <a:avLst/>
          </a:prstGeom>
          <a:noFill/>
        </p:spPr>
        <p:txBody>
          <a:bodyPr wrap="square" lIns="90000" tIns="46800" rIns="90000" bIns="46800" anchor="t">
            <a:normAutofit/>
          </a:bodyPr>
          <a:lstStyle/>
          <a:p>
            <a:pPr algn="ctr" defTabSz="914378">
              <a:lnSpc>
                <a:spcPct val="120000"/>
              </a:lnSpc>
              <a:spcBef>
                <a:spcPct val="0"/>
              </a:spcBef>
              <a:defRPr/>
            </a:pPr>
            <a:r>
              <a:rPr lang="zh-CN" altLang="en-US" sz="1100" dirty="0"/>
              <a:t>此部分内容作为文字排版占位显示</a:t>
            </a:r>
          </a:p>
          <a:p>
            <a:pPr algn="ctr" defTabSz="914378">
              <a:spcBef>
                <a:spcPct val="0"/>
              </a:spcBef>
              <a:defRPr/>
            </a:pPr>
            <a:r>
              <a:rPr lang="zh-CN" altLang="en-US" sz="1100" dirty="0"/>
              <a:t>（建议使用主题字体）</a:t>
            </a:r>
          </a:p>
        </p:txBody>
      </p:sp>
      <p:sp>
        <p:nvSpPr>
          <p:cNvPr id="37" name="î$ḻîḍe">
            <a:extLst>
              <a:ext uri="{FF2B5EF4-FFF2-40B4-BE49-F238E27FC236}">
                <a16:creationId xmlns:a16="http://schemas.microsoft.com/office/drawing/2014/main" id="{4BAC192C-D045-4630-BA65-3C2C029749B5}"/>
              </a:ext>
            </a:extLst>
          </p:cNvPr>
          <p:cNvSpPr/>
          <p:nvPr/>
        </p:nvSpPr>
        <p:spPr>
          <a:xfrm>
            <a:off x="4095652" y="4288366"/>
            <a:ext cx="2578029" cy="320994"/>
          </a:xfrm>
          <a:prstGeom prst="rect">
            <a:avLst/>
          </a:prstGeom>
        </p:spPr>
        <p:txBody>
          <a:bodyPr wrap="square" lIns="90000" tIns="46800" rIns="90000" bIns="46800" anchor="b">
            <a:normAutofit lnSpcReduction="10000"/>
          </a:bodyPr>
          <a:lstStyle/>
          <a:p>
            <a:pPr lvl="0" algn="ctr" defTabSz="914378">
              <a:spcBef>
                <a:spcPct val="0"/>
              </a:spcBef>
              <a:defRPr/>
            </a:pPr>
            <a:r>
              <a:rPr lang="zh-CN" altLang="en-US" sz="1600" b="1" dirty="0">
                <a:solidFill>
                  <a:schemeClr val="accent1"/>
                </a:solidFill>
              </a:rPr>
              <a:t>标题文本预设</a:t>
            </a:r>
          </a:p>
        </p:txBody>
      </p:sp>
      <p:sp>
        <p:nvSpPr>
          <p:cNvPr id="34" name="ïslïḋé">
            <a:extLst>
              <a:ext uri="{FF2B5EF4-FFF2-40B4-BE49-F238E27FC236}">
                <a16:creationId xmlns:a16="http://schemas.microsoft.com/office/drawing/2014/main" id="{48C6C417-143B-404D-80F3-606372D524F6}"/>
              </a:ext>
            </a:extLst>
          </p:cNvPr>
          <p:cNvSpPr txBox="1"/>
          <p:nvPr/>
        </p:nvSpPr>
        <p:spPr>
          <a:xfrm>
            <a:off x="6455219" y="4609360"/>
            <a:ext cx="2578029" cy="725008"/>
          </a:xfrm>
          <a:prstGeom prst="rect">
            <a:avLst/>
          </a:prstGeom>
          <a:noFill/>
        </p:spPr>
        <p:txBody>
          <a:bodyPr wrap="square" lIns="90000" tIns="46800" rIns="90000" bIns="46800" anchor="t">
            <a:normAutofit/>
          </a:bodyPr>
          <a:lstStyle/>
          <a:p>
            <a:pPr algn="ctr" defTabSz="914378">
              <a:lnSpc>
                <a:spcPct val="120000"/>
              </a:lnSpc>
              <a:spcBef>
                <a:spcPct val="0"/>
              </a:spcBef>
              <a:defRPr/>
            </a:pPr>
            <a:r>
              <a:rPr lang="zh-CN" altLang="en-US" sz="1100" dirty="0"/>
              <a:t>此部分内容作为文字排版占位显示</a:t>
            </a:r>
          </a:p>
          <a:p>
            <a:pPr algn="ctr" defTabSz="914378">
              <a:spcBef>
                <a:spcPct val="0"/>
              </a:spcBef>
              <a:defRPr/>
            </a:pPr>
            <a:r>
              <a:rPr lang="zh-CN" altLang="en-US" sz="1100" dirty="0"/>
              <a:t>（建议使用主题字体）</a:t>
            </a:r>
          </a:p>
        </p:txBody>
      </p:sp>
      <p:sp>
        <p:nvSpPr>
          <p:cNvPr id="35" name="iŝ1îḍè">
            <a:extLst>
              <a:ext uri="{FF2B5EF4-FFF2-40B4-BE49-F238E27FC236}">
                <a16:creationId xmlns:a16="http://schemas.microsoft.com/office/drawing/2014/main" id="{707B6CD1-0602-4EAE-82C9-99C81AFA56C7}"/>
              </a:ext>
            </a:extLst>
          </p:cNvPr>
          <p:cNvSpPr/>
          <p:nvPr/>
        </p:nvSpPr>
        <p:spPr>
          <a:xfrm>
            <a:off x="6455219" y="4288366"/>
            <a:ext cx="2578029" cy="320994"/>
          </a:xfrm>
          <a:prstGeom prst="rect">
            <a:avLst/>
          </a:prstGeom>
        </p:spPr>
        <p:txBody>
          <a:bodyPr wrap="square" lIns="90000" tIns="46800" rIns="90000" bIns="46800" anchor="b">
            <a:normAutofit lnSpcReduction="10000"/>
          </a:bodyPr>
          <a:lstStyle/>
          <a:p>
            <a:pPr lvl="0" algn="ctr" defTabSz="914378">
              <a:spcBef>
                <a:spcPct val="0"/>
              </a:spcBef>
              <a:defRPr/>
            </a:pPr>
            <a:r>
              <a:rPr lang="zh-CN" altLang="en-US" sz="1600" b="1" dirty="0">
                <a:solidFill>
                  <a:schemeClr val="accent2"/>
                </a:solidFill>
              </a:rPr>
              <a:t>标题文本预设</a:t>
            </a:r>
          </a:p>
        </p:txBody>
      </p:sp>
      <p:sp>
        <p:nvSpPr>
          <p:cNvPr id="32" name="íSļïdê">
            <a:extLst>
              <a:ext uri="{FF2B5EF4-FFF2-40B4-BE49-F238E27FC236}">
                <a16:creationId xmlns:a16="http://schemas.microsoft.com/office/drawing/2014/main" id="{80DD5D69-C4E7-4279-8855-49AE6D8BB13A}"/>
              </a:ext>
            </a:extLst>
          </p:cNvPr>
          <p:cNvSpPr txBox="1"/>
          <p:nvPr/>
        </p:nvSpPr>
        <p:spPr>
          <a:xfrm>
            <a:off x="8814786" y="4609360"/>
            <a:ext cx="2578029" cy="725008"/>
          </a:xfrm>
          <a:prstGeom prst="rect">
            <a:avLst/>
          </a:prstGeom>
          <a:noFill/>
        </p:spPr>
        <p:txBody>
          <a:bodyPr wrap="square" lIns="90000" tIns="46800" rIns="90000" bIns="46800" anchor="t">
            <a:normAutofit/>
          </a:bodyPr>
          <a:lstStyle/>
          <a:p>
            <a:pPr algn="ctr" defTabSz="914378">
              <a:lnSpc>
                <a:spcPct val="120000"/>
              </a:lnSpc>
              <a:spcBef>
                <a:spcPct val="0"/>
              </a:spcBef>
              <a:defRPr/>
            </a:pPr>
            <a:r>
              <a:rPr lang="zh-CN" altLang="en-US" sz="1100" dirty="0"/>
              <a:t>此部分内容作为文字排版占位显示</a:t>
            </a:r>
          </a:p>
          <a:p>
            <a:pPr algn="ctr" defTabSz="914378">
              <a:spcBef>
                <a:spcPct val="0"/>
              </a:spcBef>
              <a:defRPr/>
            </a:pPr>
            <a:r>
              <a:rPr lang="zh-CN" altLang="en-US" sz="1100" dirty="0"/>
              <a:t>（建议使用主题字体）</a:t>
            </a:r>
          </a:p>
        </p:txBody>
      </p:sp>
      <p:sp>
        <p:nvSpPr>
          <p:cNvPr id="33" name="iṥlíḑe">
            <a:extLst>
              <a:ext uri="{FF2B5EF4-FFF2-40B4-BE49-F238E27FC236}">
                <a16:creationId xmlns:a16="http://schemas.microsoft.com/office/drawing/2014/main" id="{4AD6F75D-DF29-4B45-AB32-AF58E3306747}"/>
              </a:ext>
            </a:extLst>
          </p:cNvPr>
          <p:cNvSpPr/>
          <p:nvPr/>
        </p:nvSpPr>
        <p:spPr>
          <a:xfrm>
            <a:off x="8814786" y="4288366"/>
            <a:ext cx="2578029" cy="320994"/>
          </a:xfrm>
          <a:prstGeom prst="rect">
            <a:avLst/>
          </a:prstGeom>
        </p:spPr>
        <p:txBody>
          <a:bodyPr wrap="square" lIns="90000" tIns="46800" rIns="90000" bIns="46800" anchor="b">
            <a:normAutofit lnSpcReduction="10000"/>
          </a:bodyPr>
          <a:lstStyle/>
          <a:p>
            <a:pPr lvl="0" algn="ctr" defTabSz="914378">
              <a:spcBef>
                <a:spcPct val="0"/>
              </a:spcBef>
              <a:defRPr/>
            </a:pPr>
            <a:r>
              <a:rPr lang="zh-CN" altLang="en-US" sz="1600" b="1" dirty="0">
                <a:solidFill>
                  <a:schemeClr val="accent1"/>
                </a:solidFill>
              </a:rPr>
              <a:t>标题文本预设</a:t>
            </a:r>
          </a:p>
        </p:txBody>
      </p:sp>
      <p:cxnSp>
        <p:nvCxnSpPr>
          <p:cNvPr id="12" name="肘形连接符 44">
            <a:extLst>
              <a:ext uri="{FF2B5EF4-FFF2-40B4-BE49-F238E27FC236}">
                <a16:creationId xmlns:a16="http://schemas.microsoft.com/office/drawing/2014/main" id="{6E1C286B-DFA7-48A1-A393-AFE5EB57116C}"/>
              </a:ext>
            </a:extLst>
          </p:cNvPr>
          <p:cNvCxnSpPr>
            <a:cxnSpLocks/>
            <a:stCxn id="8" idx="3"/>
            <a:endCxn id="29" idx="0"/>
          </p:cNvCxnSpPr>
          <p:nvPr/>
        </p:nvCxnSpPr>
        <p:spPr>
          <a:xfrm>
            <a:off x="5204336" y="1871647"/>
            <a:ext cx="180330" cy="898128"/>
          </a:xfrm>
          <a:prstGeom prst="bentConnector2">
            <a:avLst/>
          </a:prstGeom>
          <a:ln w="9525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íṧļîḓé">
            <a:extLst>
              <a:ext uri="{FF2B5EF4-FFF2-40B4-BE49-F238E27FC236}">
                <a16:creationId xmlns:a16="http://schemas.microsoft.com/office/drawing/2014/main" id="{366237B5-E251-428F-A6C1-68250B2E9861}"/>
              </a:ext>
            </a:extLst>
          </p:cNvPr>
          <p:cNvSpPr/>
          <p:nvPr/>
        </p:nvSpPr>
        <p:spPr>
          <a:xfrm>
            <a:off x="5095741" y="2832271"/>
            <a:ext cx="577851" cy="577851"/>
          </a:xfrm>
          <a:prstGeom prst="roundRect">
            <a:avLst>
              <a:gd name="adj" fmla="val 15000"/>
            </a:avLst>
          </a:prstGeom>
          <a:solidFill>
            <a:schemeClr val="accent1"/>
          </a:solidFill>
          <a:ln w="12700" cap="flat">
            <a:noFill/>
            <a:miter lim="400000"/>
          </a:ln>
          <a:effectLst/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31" name="iṣḷîḋé">
            <a:extLst>
              <a:ext uri="{FF2B5EF4-FFF2-40B4-BE49-F238E27FC236}">
                <a16:creationId xmlns:a16="http://schemas.microsoft.com/office/drawing/2014/main" id="{43699A9D-E307-4FDC-B66B-65EBE8CB32C5}"/>
              </a:ext>
            </a:extLst>
          </p:cNvPr>
          <p:cNvSpPr/>
          <p:nvPr/>
        </p:nvSpPr>
        <p:spPr>
          <a:xfrm>
            <a:off x="5200941" y="2958687"/>
            <a:ext cx="386158" cy="31377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24" y="0"/>
                </a:moveTo>
                <a:cubicBezTo>
                  <a:pt x="912" y="0"/>
                  <a:pt x="0" y="1122"/>
                  <a:pt x="0" y="2491"/>
                </a:cubicBezTo>
                <a:lnTo>
                  <a:pt x="0" y="11634"/>
                </a:lnTo>
                <a:cubicBezTo>
                  <a:pt x="0" y="13008"/>
                  <a:pt x="912" y="14134"/>
                  <a:pt x="2024" y="14134"/>
                </a:cubicBezTo>
                <a:lnTo>
                  <a:pt x="2024" y="16617"/>
                </a:lnTo>
                <a:cubicBezTo>
                  <a:pt x="2024" y="17994"/>
                  <a:pt x="2935" y="19109"/>
                  <a:pt x="4049" y="19109"/>
                </a:cubicBezTo>
                <a:lnTo>
                  <a:pt x="4822" y="19109"/>
                </a:lnTo>
                <a:cubicBezTo>
                  <a:pt x="5125" y="20540"/>
                  <a:pt x="6166" y="21600"/>
                  <a:pt x="7423" y="21600"/>
                </a:cubicBezTo>
                <a:cubicBezTo>
                  <a:pt x="8673" y="21600"/>
                  <a:pt x="9726" y="20540"/>
                  <a:pt x="10030" y="19109"/>
                </a:cubicBezTo>
                <a:lnTo>
                  <a:pt x="13594" y="19109"/>
                </a:lnTo>
                <a:cubicBezTo>
                  <a:pt x="13897" y="20540"/>
                  <a:pt x="14942" y="21600"/>
                  <a:pt x="16202" y="21600"/>
                </a:cubicBezTo>
                <a:cubicBezTo>
                  <a:pt x="17449" y="21600"/>
                  <a:pt x="18498" y="20540"/>
                  <a:pt x="18803" y="19109"/>
                </a:cubicBezTo>
                <a:lnTo>
                  <a:pt x="19576" y="19109"/>
                </a:lnTo>
                <a:cubicBezTo>
                  <a:pt x="20692" y="19109"/>
                  <a:pt x="21600" y="17994"/>
                  <a:pt x="21600" y="16617"/>
                </a:cubicBezTo>
                <a:lnTo>
                  <a:pt x="21600" y="11634"/>
                </a:lnTo>
                <a:cubicBezTo>
                  <a:pt x="21600" y="11142"/>
                  <a:pt x="21482" y="10663"/>
                  <a:pt x="21259" y="10248"/>
                </a:cubicBezTo>
                <a:lnTo>
                  <a:pt x="18554" y="5265"/>
                </a:lnTo>
                <a:cubicBezTo>
                  <a:pt x="18182" y="4566"/>
                  <a:pt x="17557" y="4160"/>
                  <a:pt x="16876" y="4160"/>
                </a:cubicBezTo>
                <a:lnTo>
                  <a:pt x="14177" y="4160"/>
                </a:lnTo>
                <a:lnTo>
                  <a:pt x="14177" y="2491"/>
                </a:lnTo>
                <a:cubicBezTo>
                  <a:pt x="14177" y="1122"/>
                  <a:pt x="13265" y="0"/>
                  <a:pt x="12146" y="0"/>
                </a:cubicBezTo>
                <a:lnTo>
                  <a:pt x="2024" y="0"/>
                </a:lnTo>
                <a:close/>
                <a:moveTo>
                  <a:pt x="2024" y="1669"/>
                </a:moveTo>
                <a:lnTo>
                  <a:pt x="12146" y="1669"/>
                </a:lnTo>
                <a:cubicBezTo>
                  <a:pt x="12524" y="1669"/>
                  <a:pt x="12821" y="2034"/>
                  <a:pt x="12821" y="2491"/>
                </a:cubicBezTo>
                <a:lnTo>
                  <a:pt x="12821" y="11634"/>
                </a:lnTo>
                <a:cubicBezTo>
                  <a:pt x="12821" y="12090"/>
                  <a:pt x="12524" y="12465"/>
                  <a:pt x="12146" y="12465"/>
                </a:cubicBezTo>
                <a:cubicBezTo>
                  <a:pt x="12146" y="12465"/>
                  <a:pt x="2024" y="12465"/>
                  <a:pt x="2024" y="12465"/>
                </a:cubicBezTo>
                <a:cubicBezTo>
                  <a:pt x="1649" y="12465"/>
                  <a:pt x="1350" y="12090"/>
                  <a:pt x="1350" y="11634"/>
                </a:cubicBezTo>
                <a:lnTo>
                  <a:pt x="1350" y="2491"/>
                </a:lnTo>
                <a:cubicBezTo>
                  <a:pt x="1350" y="2034"/>
                  <a:pt x="1649" y="1669"/>
                  <a:pt x="2024" y="1669"/>
                </a:cubicBezTo>
                <a:close/>
                <a:moveTo>
                  <a:pt x="14177" y="5821"/>
                </a:moveTo>
                <a:lnTo>
                  <a:pt x="16876" y="5821"/>
                </a:lnTo>
                <a:cubicBezTo>
                  <a:pt x="17102" y="5821"/>
                  <a:pt x="17311" y="5958"/>
                  <a:pt x="17440" y="6184"/>
                </a:cubicBezTo>
                <a:lnTo>
                  <a:pt x="20132" y="11175"/>
                </a:lnTo>
                <a:cubicBezTo>
                  <a:pt x="20206" y="11307"/>
                  <a:pt x="20250" y="11475"/>
                  <a:pt x="20250" y="11634"/>
                </a:cubicBezTo>
                <a:cubicBezTo>
                  <a:pt x="20250" y="11634"/>
                  <a:pt x="20250" y="16617"/>
                  <a:pt x="20250" y="16617"/>
                </a:cubicBezTo>
                <a:cubicBezTo>
                  <a:pt x="20250" y="17074"/>
                  <a:pt x="19946" y="17448"/>
                  <a:pt x="19576" y="17448"/>
                </a:cubicBezTo>
                <a:lnTo>
                  <a:pt x="18803" y="17448"/>
                </a:lnTo>
                <a:cubicBezTo>
                  <a:pt x="18498" y="16016"/>
                  <a:pt x="17455" y="14956"/>
                  <a:pt x="16202" y="14956"/>
                </a:cubicBezTo>
                <a:cubicBezTo>
                  <a:pt x="14942" y="14956"/>
                  <a:pt x="13897" y="16016"/>
                  <a:pt x="13594" y="17448"/>
                </a:cubicBezTo>
                <a:lnTo>
                  <a:pt x="10030" y="17448"/>
                </a:lnTo>
                <a:cubicBezTo>
                  <a:pt x="9729" y="16016"/>
                  <a:pt x="8678" y="14956"/>
                  <a:pt x="7423" y="14956"/>
                </a:cubicBezTo>
                <a:cubicBezTo>
                  <a:pt x="6166" y="14956"/>
                  <a:pt x="5125" y="16016"/>
                  <a:pt x="4822" y="17448"/>
                </a:cubicBezTo>
                <a:lnTo>
                  <a:pt x="4049" y="17448"/>
                </a:lnTo>
                <a:cubicBezTo>
                  <a:pt x="3676" y="17448"/>
                  <a:pt x="3374" y="17074"/>
                  <a:pt x="3374" y="16617"/>
                </a:cubicBezTo>
                <a:lnTo>
                  <a:pt x="3374" y="14134"/>
                </a:lnTo>
                <a:lnTo>
                  <a:pt x="12146" y="14134"/>
                </a:lnTo>
                <a:cubicBezTo>
                  <a:pt x="13265" y="14134"/>
                  <a:pt x="14177" y="13008"/>
                  <a:pt x="14177" y="11634"/>
                </a:cubicBezTo>
                <a:lnTo>
                  <a:pt x="14177" y="5821"/>
                </a:lnTo>
                <a:close/>
                <a:moveTo>
                  <a:pt x="15553" y="6450"/>
                </a:moveTo>
                <a:cubicBezTo>
                  <a:pt x="15182" y="6450"/>
                  <a:pt x="14885" y="6824"/>
                  <a:pt x="14885" y="7281"/>
                </a:cubicBezTo>
                <a:lnTo>
                  <a:pt x="14885" y="12263"/>
                </a:lnTo>
                <a:cubicBezTo>
                  <a:pt x="14885" y="12721"/>
                  <a:pt x="15182" y="13102"/>
                  <a:pt x="15553" y="13102"/>
                </a:cubicBezTo>
                <a:lnTo>
                  <a:pt x="18259" y="13102"/>
                </a:lnTo>
                <a:cubicBezTo>
                  <a:pt x="18629" y="13102"/>
                  <a:pt x="18934" y="12721"/>
                  <a:pt x="18934" y="12263"/>
                </a:cubicBezTo>
                <a:lnTo>
                  <a:pt x="18934" y="11022"/>
                </a:lnTo>
                <a:cubicBezTo>
                  <a:pt x="18934" y="10857"/>
                  <a:pt x="18888" y="10694"/>
                  <a:pt x="18816" y="10554"/>
                </a:cubicBezTo>
                <a:cubicBezTo>
                  <a:pt x="18816" y="10554"/>
                  <a:pt x="16798" y="6829"/>
                  <a:pt x="16798" y="6829"/>
                </a:cubicBezTo>
                <a:cubicBezTo>
                  <a:pt x="16673" y="6592"/>
                  <a:pt x="16460" y="6450"/>
                  <a:pt x="16234" y="6450"/>
                </a:cubicBezTo>
                <a:lnTo>
                  <a:pt x="15553" y="6450"/>
                </a:lnTo>
                <a:close/>
                <a:moveTo>
                  <a:pt x="15553" y="7281"/>
                </a:moveTo>
                <a:lnTo>
                  <a:pt x="16234" y="7281"/>
                </a:lnTo>
                <a:lnTo>
                  <a:pt x="18259" y="11022"/>
                </a:lnTo>
                <a:cubicBezTo>
                  <a:pt x="18259" y="11022"/>
                  <a:pt x="18259" y="12263"/>
                  <a:pt x="18259" y="12263"/>
                </a:cubicBezTo>
                <a:lnTo>
                  <a:pt x="15553" y="12263"/>
                </a:lnTo>
                <a:lnTo>
                  <a:pt x="15553" y="7281"/>
                </a:lnTo>
                <a:close/>
                <a:moveTo>
                  <a:pt x="7423" y="16617"/>
                </a:moveTo>
                <a:cubicBezTo>
                  <a:pt x="8167" y="16617"/>
                  <a:pt x="8772" y="17365"/>
                  <a:pt x="8772" y="18278"/>
                </a:cubicBezTo>
                <a:cubicBezTo>
                  <a:pt x="8772" y="19191"/>
                  <a:pt x="8167" y="19939"/>
                  <a:pt x="7423" y="19939"/>
                </a:cubicBezTo>
                <a:cubicBezTo>
                  <a:pt x="6677" y="19939"/>
                  <a:pt x="6073" y="19191"/>
                  <a:pt x="6073" y="18278"/>
                </a:cubicBezTo>
                <a:cubicBezTo>
                  <a:pt x="6073" y="17365"/>
                  <a:pt x="6677" y="16617"/>
                  <a:pt x="7423" y="16617"/>
                </a:cubicBezTo>
                <a:close/>
                <a:moveTo>
                  <a:pt x="16202" y="16617"/>
                </a:moveTo>
                <a:cubicBezTo>
                  <a:pt x="16943" y="16617"/>
                  <a:pt x="17551" y="17365"/>
                  <a:pt x="17551" y="18278"/>
                </a:cubicBezTo>
                <a:cubicBezTo>
                  <a:pt x="17551" y="19191"/>
                  <a:pt x="16943" y="19939"/>
                  <a:pt x="16202" y="19939"/>
                </a:cubicBezTo>
                <a:cubicBezTo>
                  <a:pt x="15454" y="19939"/>
                  <a:pt x="14852" y="19191"/>
                  <a:pt x="14852" y="18278"/>
                </a:cubicBezTo>
                <a:cubicBezTo>
                  <a:pt x="14852" y="17365"/>
                  <a:pt x="15454" y="16617"/>
                  <a:pt x="16202" y="16617"/>
                </a:cubicBezTo>
                <a:close/>
              </a:path>
            </a:pathLst>
          </a:custGeom>
          <a:solidFill>
            <a:srgbClr val="FFFFFF"/>
          </a:solidFill>
          <a:ln w="12700" cap="flat">
            <a:noFill/>
            <a:miter lim="400000"/>
          </a:ln>
          <a:effectLst/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29" name="ïśḻïdè">
            <a:extLst>
              <a:ext uri="{FF2B5EF4-FFF2-40B4-BE49-F238E27FC236}">
                <a16:creationId xmlns:a16="http://schemas.microsoft.com/office/drawing/2014/main" id="{2F3ED0EF-03C3-44C7-BB26-B1395B70E6D0}"/>
              </a:ext>
            </a:extLst>
          </p:cNvPr>
          <p:cNvSpPr/>
          <p:nvPr/>
        </p:nvSpPr>
        <p:spPr>
          <a:xfrm>
            <a:off x="5322170" y="2769775"/>
            <a:ext cx="124992" cy="124992"/>
          </a:xfrm>
          <a:prstGeom prst="ellipse">
            <a:avLst/>
          </a:prstGeom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/>
          </a:p>
        </p:txBody>
      </p:sp>
      <p:cxnSp>
        <p:nvCxnSpPr>
          <p:cNvPr id="14" name="肘形连接符 46">
            <a:extLst>
              <a:ext uri="{FF2B5EF4-FFF2-40B4-BE49-F238E27FC236}">
                <a16:creationId xmlns:a16="http://schemas.microsoft.com/office/drawing/2014/main" id="{4057943B-8910-4318-9F11-E8EE02DDA59F}"/>
              </a:ext>
            </a:extLst>
          </p:cNvPr>
          <p:cNvCxnSpPr>
            <a:cxnSpLocks/>
            <a:stCxn id="8" idx="3"/>
            <a:endCxn id="25" idx="0"/>
          </p:cNvCxnSpPr>
          <p:nvPr/>
        </p:nvCxnSpPr>
        <p:spPr>
          <a:xfrm>
            <a:off x="5204336" y="1871647"/>
            <a:ext cx="2539897" cy="898128"/>
          </a:xfrm>
          <a:prstGeom prst="bentConnector2">
            <a:avLst/>
          </a:prstGeom>
          <a:ln w="9525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îsľîďe">
            <a:extLst>
              <a:ext uri="{FF2B5EF4-FFF2-40B4-BE49-F238E27FC236}">
                <a16:creationId xmlns:a16="http://schemas.microsoft.com/office/drawing/2014/main" id="{A80E7661-356A-4A24-BD0C-615DFFBE44FF}"/>
              </a:ext>
            </a:extLst>
          </p:cNvPr>
          <p:cNvSpPr/>
          <p:nvPr/>
        </p:nvSpPr>
        <p:spPr>
          <a:xfrm>
            <a:off x="7455308" y="2832271"/>
            <a:ext cx="577851" cy="577851"/>
          </a:xfrm>
          <a:prstGeom prst="roundRect">
            <a:avLst>
              <a:gd name="adj" fmla="val 15000"/>
            </a:avLst>
          </a:pr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27" name="îŝ1ïḍê">
            <a:extLst>
              <a:ext uri="{FF2B5EF4-FFF2-40B4-BE49-F238E27FC236}">
                <a16:creationId xmlns:a16="http://schemas.microsoft.com/office/drawing/2014/main" id="{4D6272E0-10D8-499F-A7E3-91D25FE68B9D}"/>
              </a:ext>
            </a:extLst>
          </p:cNvPr>
          <p:cNvSpPr/>
          <p:nvPr/>
        </p:nvSpPr>
        <p:spPr>
          <a:xfrm>
            <a:off x="7547211" y="2970059"/>
            <a:ext cx="412751" cy="28681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99" h="21600" extrusionOk="0">
                <a:moveTo>
                  <a:pt x="4416" y="0"/>
                </a:moveTo>
                <a:cubicBezTo>
                  <a:pt x="4300" y="0"/>
                  <a:pt x="4188" y="70"/>
                  <a:pt x="4106" y="189"/>
                </a:cubicBezTo>
                <a:cubicBezTo>
                  <a:pt x="4023" y="307"/>
                  <a:pt x="3975" y="468"/>
                  <a:pt x="3975" y="636"/>
                </a:cubicBezTo>
                <a:lnTo>
                  <a:pt x="3975" y="3704"/>
                </a:lnTo>
                <a:cubicBezTo>
                  <a:pt x="3975" y="3874"/>
                  <a:pt x="4022" y="4041"/>
                  <a:pt x="4106" y="4161"/>
                </a:cubicBezTo>
                <a:cubicBezTo>
                  <a:pt x="4189" y="4281"/>
                  <a:pt x="4298" y="4340"/>
                  <a:pt x="4416" y="4340"/>
                </a:cubicBezTo>
                <a:lnTo>
                  <a:pt x="6549" y="4340"/>
                </a:lnTo>
                <a:cubicBezTo>
                  <a:pt x="6666" y="4340"/>
                  <a:pt x="6776" y="4281"/>
                  <a:pt x="6859" y="4161"/>
                </a:cubicBezTo>
                <a:cubicBezTo>
                  <a:pt x="6942" y="4041"/>
                  <a:pt x="6990" y="3874"/>
                  <a:pt x="6990" y="3704"/>
                </a:cubicBezTo>
                <a:lnTo>
                  <a:pt x="6990" y="636"/>
                </a:lnTo>
                <a:cubicBezTo>
                  <a:pt x="6990" y="466"/>
                  <a:pt x="6942" y="309"/>
                  <a:pt x="6859" y="189"/>
                </a:cubicBezTo>
                <a:cubicBezTo>
                  <a:pt x="6776" y="69"/>
                  <a:pt x="6666" y="0"/>
                  <a:pt x="6549" y="0"/>
                </a:cubicBezTo>
                <a:lnTo>
                  <a:pt x="4416" y="0"/>
                </a:lnTo>
                <a:close/>
                <a:moveTo>
                  <a:pt x="4858" y="1271"/>
                </a:moveTo>
                <a:lnTo>
                  <a:pt x="6107" y="1271"/>
                </a:lnTo>
                <a:lnTo>
                  <a:pt x="6107" y="3069"/>
                </a:lnTo>
                <a:lnTo>
                  <a:pt x="4858" y="3069"/>
                </a:lnTo>
                <a:cubicBezTo>
                  <a:pt x="4858" y="3069"/>
                  <a:pt x="4858" y="1271"/>
                  <a:pt x="4858" y="1271"/>
                </a:cubicBezTo>
                <a:close/>
                <a:moveTo>
                  <a:pt x="3174" y="5402"/>
                </a:moveTo>
                <a:cubicBezTo>
                  <a:pt x="2762" y="5402"/>
                  <a:pt x="2429" y="5892"/>
                  <a:pt x="2429" y="6485"/>
                </a:cubicBezTo>
                <a:lnTo>
                  <a:pt x="2429" y="9554"/>
                </a:lnTo>
                <a:cubicBezTo>
                  <a:pt x="2429" y="9721"/>
                  <a:pt x="2478" y="9882"/>
                  <a:pt x="2560" y="10001"/>
                </a:cubicBezTo>
                <a:cubicBezTo>
                  <a:pt x="2643" y="10119"/>
                  <a:pt x="2754" y="10189"/>
                  <a:pt x="2871" y="10189"/>
                </a:cubicBezTo>
                <a:lnTo>
                  <a:pt x="11165" y="10189"/>
                </a:lnTo>
                <a:cubicBezTo>
                  <a:pt x="11318" y="10189"/>
                  <a:pt x="11464" y="10069"/>
                  <a:pt x="11545" y="9881"/>
                </a:cubicBezTo>
                <a:cubicBezTo>
                  <a:pt x="11625" y="9694"/>
                  <a:pt x="11628" y="9464"/>
                  <a:pt x="11559" y="9266"/>
                </a:cubicBezTo>
                <a:lnTo>
                  <a:pt x="10427" y="5998"/>
                </a:lnTo>
                <a:cubicBezTo>
                  <a:pt x="10300" y="5635"/>
                  <a:pt x="10040" y="5402"/>
                  <a:pt x="9757" y="5402"/>
                </a:cubicBezTo>
                <a:lnTo>
                  <a:pt x="3174" y="5402"/>
                </a:lnTo>
                <a:close/>
                <a:moveTo>
                  <a:pt x="3312" y="6674"/>
                </a:moveTo>
                <a:lnTo>
                  <a:pt x="9675" y="6674"/>
                </a:lnTo>
                <a:lnTo>
                  <a:pt x="10454" y="8918"/>
                </a:lnTo>
                <a:lnTo>
                  <a:pt x="3312" y="8918"/>
                </a:lnTo>
                <a:cubicBezTo>
                  <a:pt x="3312" y="8918"/>
                  <a:pt x="3312" y="6674"/>
                  <a:pt x="3312" y="6674"/>
                </a:cubicBezTo>
                <a:close/>
                <a:moveTo>
                  <a:pt x="745" y="11123"/>
                </a:moveTo>
                <a:cubicBezTo>
                  <a:pt x="320" y="11126"/>
                  <a:pt x="0" y="11619"/>
                  <a:pt x="0" y="12195"/>
                </a:cubicBezTo>
                <a:cubicBezTo>
                  <a:pt x="0" y="12312"/>
                  <a:pt x="16" y="12433"/>
                  <a:pt x="41" y="12543"/>
                </a:cubicBezTo>
                <a:lnTo>
                  <a:pt x="1691" y="19673"/>
                </a:lnTo>
                <a:cubicBezTo>
                  <a:pt x="1958" y="20828"/>
                  <a:pt x="2708" y="21600"/>
                  <a:pt x="3554" y="21600"/>
                </a:cubicBezTo>
                <a:lnTo>
                  <a:pt x="14236" y="21600"/>
                </a:lnTo>
                <a:cubicBezTo>
                  <a:pt x="16616" y="21600"/>
                  <a:pt x="18807" y="19743"/>
                  <a:pt x="19957" y="16744"/>
                </a:cubicBezTo>
                <a:lnTo>
                  <a:pt x="21461" y="12821"/>
                </a:lnTo>
                <a:cubicBezTo>
                  <a:pt x="21553" y="12636"/>
                  <a:pt x="21600" y="12416"/>
                  <a:pt x="21599" y="12205"/>
                </a:cubicBezTo>
                <a:cubicBezTo>
                  <a:pt x="21598" y="11655"/>
                  <a:pt x="21294" y="11127"/>
                  <a:pt x="20854" y="11123"/>
                </a:cubicBezTo>
                <a:lnTo>
                  <a:pt x="745" y="11123"/>
                </a:lnTo>
                <a:close/>
                <a:moveTo>
                  <a:pt x="883" y="12394"/>
                </a:moveTo>
                <a:lnTo>
                  <a:pt x="20557" y="12394"/>
                </a:lnTo>
                <a:cubicBezTo>
                  <a:pt x="20557" y="12394"/>
                  <a:pt x="19129" y="16128"/>
                  <a:pt x="19129" y="16128"/>
                </a:cubicBezTo>
                <a:cubicBezTo>
                  <a:pt x="18134" y="18722"/>
                  <a:pt x="16239" y="20329"/>
                  <a:pt x="14181" y="20329"/>
                </a:cubicBezTo>
                <a:lnTo>
                  <a:pt x="3499" y="20329"/>
                </a:lnTo>
                <a:cubicBezTo>
                  <a:pt x="3033" y="20329"/>
                  <a:pt x="2617" y="19902"/>
                  <a:pt x="2470" y="19266"/>
                </a:cubicBezTo>
                <a:lnTo>
                  <a:pt x="883" y="12394"/>
                </a:lnTo>
                <a:close/>
                <a:moveTo>
                  <a:pt x="5272" y="14301"/>
                </a:moveTo>
                <a:cubicBezTo>
                  <a:pt x="4798" y="14301"/>
                  <a:pt x="4416" y="14859"/>
                  <a:pt x="4416" y="15542"/>
                </a:cubicBezTo>
                <a:cubicBezTo>
                  <a:pt x="4416" y="16225"/>
                  <a:pt x="4798" y="16774"/>
                  <a:pt x="5272" y="16774"/>
                </a:cubicBezTo>
                <a:cubicBezTo>
                  <a:pt x="5747" y="16774"/>
                  <a:pt x="6135" y="16225"/>
                  <a:pt x="6135" y="15542"/>
                </a:cubicBezTo>
                <a:cubicBezTo>
                  <a:pt x="6135" y="14859"/>
                  <a:pt x="5747" y="14301"/>
                  <a:pt x="5272" y="14301"/>
                </a:cubicBezTo>
                <a:close/>
                <a:moveTo>
                  <a:pt x="8170" y="14301"/>
                </a:moveTo>
                <a:cubicBezTo>
                  <a:pt x="7695" y="14301"/>
                  <a:pt x="7308" y="14859"/>
                  <a:pt x="7308" y="15542"/>
                </a:cubicBezTo>
                <a:cubicBezTo>
                  <a:pt x="7308" y="16225"/>
                  <a:pt x="7695" y="16774"/>
                  <a:pt x="8170" y="16774"/>
                </a:cubicBezTo>
                <a:cubicBezTo>
                  <a:pt x="8645" y="16774"/>
                  <a:pt x="9026" y="16225"/>
                  <a:pt x="9026" y="15542"/>
                </a:cubicBezTo>
                <a:cubicBezTo>
                  <a:pt x="9026" y="14859"/>
                  <a:pt x="8645" y="14301"/>
                  <a:pt x="8170" y="14301"/>
                </a:cubicBezTo>
                <a:close/>
                <a:moveTo>
                  <a:pt x="11062" y="14301"/>
                </a:moveTo>
                <a:cubicBezTo>
                  <a:pt x="10587" y="14301"/>
                  <a:pt x="10199" y="14859"/>
                  <a:pt x="10199" y="15542"/>
                </a:cubicBezTo>
                <a:cubicBezTo>
                  <a:pt x="10199" y="16225"/>
                  <a:pt x="10587" y="16774"/>
                  <a:pt x="11062" y="16774"/>
                </a:cubicBezTo>
                <a:cubicBezTo>
                  <a:pt x="11537" y="16774"/>
                  <a:pt x="11917" y="16225"/>
                  <a:pt x="11917" y="15542"/>
                </a:cubicBezTo>
                <a:cubicBezTo>
                  <a:pt x="11917" y="14859"/>
                  <a:pt x="11537" y="14301"/>
                  <a:pt x="11062" y="14301"/>
                </a:cubicBezTo>
                <a:close/>
              </a:path>
            </a:pathLst>
          </a:custGeom>
          <a:solidFill>
            <a:srgbClr val="FFFFFF"/>
          </a:solidFill>
          <a:ln w="12700" cap="flat">
            <a:noFill/>
            <a:miter lim="400000"/>
          </a:ln>
          <a:effectLst/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25" name="ïṩļiḑè">
            <a:extLst>
              <a:ext uri="{FF2B5EF4-FFF2-40B4-BE49-F238E27FC236}">
                <a16:creationId xmlns:a16="http://schemas.microsoft.com/office/drawing/2014/main" id="{CD751DC2-39F3-4578-8B03-93CFA9D1A542}"/>
              </a:ext>
            </a:extLst>
          </p:cNvPr>
          <p:cNvSpPr/>
          <p:nvPr/>
        </p:nvSpPr>
        <p:spPr>
          <a:xfrm>
            <a:off x="7681737" y="2769775"/>
            <a:ext cx="124992" cy="124992"/>
          </a:xfrm>
          <a:prstGeom prst="ellipse">
            <a:avLst/>
          </a:prstGeom>
          <a:solidFill>
            <a:schemeClr val="accent2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/>
          </a:p>
        </p:txBody>
      </p:sp>
      <p:cxnSp>
        <p:nvCxnSpPr>
          <p:cNvPr id="16" name="肘形连接符 50">
            <a:extLst>
              <a:ext uri="{FF2B5EF4-FFF2-40B4-BE49-F238E27FC236}">
                <a16:creationId xmlns:a16="http://schemas.microsoft.com/office/drawing/2014/main" id="{4676863B-344F-49E8-B52C-BBC3A8C0D0A2}"/>
              </a:ext>
            </a:extLst>
          </p:cNvPr>
          <p:cNvCxnSpPr>
            <a:cxnSpLocks/>
            <a:stCxn id="8" idx="3"/>
            <a:endCxn id="21" idx="0"/>
          </p:cNvCxnSpPr>
          <p:nvPr/>
        </p:nvCxnSpPr>
        <p:spPr>
          <a:xfrm>
            <a:off x="5204336" y="1871647"/>
            <a:ext cx="4899464" cy="898128"/>
          </a:xfrm>
          <a:prstGeom prst="bentConnector2">
            <a:avLst/>
          </a:prstGeom>
          <a:ln w="9525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iṡḻîḑê">
            <a:extLst>
              <a:ext uri="{FF2B5EF4-FFF2-40B4-BE49-F238E27FC236}">
                <a16:creationId xmlns:a16="http://schemas.microsoft.com/office/drawing/2014/main" id="{7A093FC4-8694-449A-9F80-808BE36F84A8}"/>
              </a:ext>
            </a:extLst>
          </p:cNvPr>
          <p:cNvSpPr/>
          <p:nvPr/>
        </p:nvSpPr>
        <p:spPr>
          <a:xfrm>
            <a:off x="9814875" y="2852936"/>
            <a:ext cx="577851" cy="577851"/>
          </a:xfrm>
          <a:prstGeom prst="roundRect">
            <a:avLst>
              <a:gd name="adj" fmla="val 15000"/>
            </a:avLst>
          </a:prstGeom>
          <a:solidFill>
            <a:schemeClr val="accent4"/>
          </a:solidFill>
          <a:ln w="12700" cap="flat">
            <a:noFill/>
            <a:miter lim="400000"/>
          </a:ln>
          <a:effectLst/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23" name="îṧḷiďê">
            <a:extLst>
              <a:ext uri="{FF2B5EF4-FFF2-40B4-BE49-F238E27FC236}">
                <a16:creationId xmlns:a16="http://schemas.microsoft.com/office/drawing/2014/main" id="{AA71E94A-B477-4285-A8EC-0B0C913DAFEF}"/>
              </a:ext>
            </a:extLst>
          </p:cNvPr>
          <p:cNvSpPr/>
          <p:nvPr/>
        </p:nvSpPr>
        <p:spPr>
          <a:xfrm>
            <a:off x="9946075" y="2935772"/>
            <a:ext cx="334158" cy="42389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003" y="6729"/>
                </a:moveTo>
                <a:cubicBezTo>
                  <a:pt x="17891" y="6790"/>
                  <a:pt x="17842" y="6883"/>
                  <a:pt x="17842" y="6994"/>
                </a:cubicBezTo>
                <a:cubicBezTo>
                  <a:pt x="17842" y="7080"/>
                  <a:pt x="17901" y="7139"/>
                  <a:pt x="18015" y="7191"/>
                </a:cubicBezTo>
                <a:cubicBezTo>
                  <a:pt x="18122" y="7230"/>
                  <a:pt x="18344" y="7284"/>
                  <a:pt x="18697" y="7352"/>
                </a:cubicBezTo>
                <a:cubicBezTo>
                  <a:pt x="19207" y="7434"/>
                  <a:pt x="19552" y="7540"/>
                  <a:pt x="19715" y="7661"/>
                </a:cubicBezTo>
                <a:cubicBezTo>
                  <a:pt x="19899" y="7775"/>
                  <a:pt x="19976" y="7963"/>
                  <a:pt x="19976" y="8220"/>
                </a:cubicBezTo>
                <a:cubicBezTo>
                  <a:pt x="19976" y="8479"/>
                  <a:pt x="19851" y="8684"/>
                  <a:pt x="19591" y="8842"/>
                </a:cubicBezTo>
                <a:cubicBezTo>
                  <a:pt x="19332" y="8993"/>
                  <a:pt x="18985" y="9069"/>
                  <a:pt x="18546" y="9069"/>
                </a:cubicBezTo>
                <a:cubicBezTo>
                  <a:pt x="18091" y="9069"/>
                  <a:pt x="17748" y="8987"/>
                  <a:pt x="17505" y="8826"/>
                </a:cubicBezTo>
                <a:cubicBezTo>
                  <a:pt x="17256" y="8660"/>
                  <a:pt x="17122" y="8433"/>
                  <a:pt x="17105" y="8130"/>
                </a:cubicBezTo>
                <a:lnTo>
                  <a:pt x="17814" y="8130"/>
                </a:lnTo>
                <a:cubicBezTo>
                  <a:pt x="17814" y="8283"/>
                  <a:pt x="17879" y="8395"/>
                  <a:pt x="18015" y="8471"/>
                </a:cubicBezTo>
                <a:cubicBezTo>
                  <a:pt x="18132" y="8553"/>
                  <a:pt x="18312" y="8592"/>
                  <a:pt x="18546" y="8592"/>
                </a:cubicBezTo>
                <a:cubicBezTo>
                  <a:pt x="18773" y="8592"/>
                  <a:pt x="18957" y="8562"/>
                  <a:pt x="19091" y="8501"/>
                </a:cubicBezTo>
                <a:cubicBezTo>
                  <a:pt x="19217" y="8442"/>
                  <a:pt x="19283" y="8356"/>
                  <a:pt x="19283" y="8253"/>
                </a:cubicBezTo>
                <a:cubicBezTo>
                  <a:pt x="19283" y="8152"/>
                  <a:pt x="19234" y="8078"/>
                  <a:pt x="19148" y="8024"/>
                </a:cubicBezTo>
                <a:cubicBezTo>
                  <a:pt x="19054" y="7973"/>
                  <a:pt x="18860" y="7926"/>
                  <a:pt x="18555" y="7874"/>
                </a:cubicBezTo>
                <a:cubicBezTo>
                  <a:pt x="18003" y="7775"/>
                  <a:pt x="17623" y="7669"/>
                  <a:pt x="17440" y="7554"/>
                </a:cubicBezTo>
                <a:cubicBezTo>
                  <a:pt x="17256" y="7442"/>
                  <a:pt x="17161" y="7268"/>
                  <a:pt x="17161" y="7024"/>
                </a:cubicBezTo>
                <a:cubicBezTo>
                  <a:pt x="17161" y="6759"/>
                  <a:pt x="17278" y="6550"/>
                  <a:pt x="17527" y="6388"/>
                </a:cubicBezTo>
                <a:cubicBezTo>
                  <a:pt x="17776" y="6230"/>
                  <a:pt x="18103" y="6154"/>
                  <a:pt x="18524" y="6154"/>
                </a:cubicBezTo>
                <a:cubicBezTo>
                  <a:pt x="18919" y="6154"/>
                  <a:pt x="19234" y="6230"/>
                  <a:pt x="19487" y="6397"/>
                </a:cubicBezTo>
                <a:cubicBezTo>
                  <a:pt x="19737" y="6563"/>
                  <a:pt x="19868" y="6785"/>
                  <a:pt x="19899" y="7063"/>
                </a:cubicBezTo>
                <a:lnTo>
                  <a:pt x="19179" y="7063"/>
                </a:lnTo>
                <a:cubicBezTo>
                  <a:pt x="19169" y="6926"/>
                  <a:pt x="19091" y="6820"/>
                  <a:pt x="18967" y="6747"/>
                </a:cubicBezTo>
                <a:cubicBezTo>
                  <a:pt x="18832" y="6670"/>
                  <a:pt x="18648" y="6631"/>
                  <a:pt x="18437" y="6631"/>
                </a:cubicBezTo>
                <a:cubicBezTo>
                  <a:pt x="18257" y="6631"/>
                  <a:pt x="18103" y="6661"/>
                  <a:pt x="18003" y="6729"/>
                </a:cubicBezTo>
                <a:cubicBezTo>
                  <a:pt x="18003" y="6729"/>
                  <a:pt x="18003" y="6729"/>
                  <a:pt x="18003" y="6729"/>
                </a:cubicBezTo>
                <a:close/>
                <a:moveTo>
                  <a:pt x="15761" y="7344"/>
                </a:moveTo>
                <a:cubicBezTo>
                  <a:pt x="15665" y="7405"/>
                  <a:pt x="15528" y="7434"/>
                  <a:pt x="15338" y="7434"/>
                </a:cubicBezTo>
                <a:lnTo>
                  <a:pt x="14490" y="7434"/>
                </a:lnTo>
                <a:lnTo>
                  <a:pt x="14490" y="6707"/>
                </a:lnTo>
                <a:lnTo>
                  <a:pt x="15366" y="6707"/>
                </a:lnTo>
                <a:cubicBezTo>
                  <a:pt x="15549" y="6707"/>
                  <a:pt x="15675" y="6738"/>
                  <a:pt x="15768" y="6798"/>
                </a:cubicBezTo>
                <a:cubicBezTo>
                  <a:pt x="15865" y="6857"/>
                  <a:pt x="15902" y="6950"/>
                  <a:pt x="15902" y="7070"/>
                </a:cubicBezTo>
                <a:cubicBezTo>
                  <a:pt x="15902" y="7191"/>
                  <a:pt x="15855" y="7284"/>
                  <a:pt x="15761" y="7344"/>
                </a:cubicBezTo>
                <a:cubicBezTo>
                  <a:pt x="15761" y="7344"/>
                  <a:pt x="15761" y="7344"/>
                  <a:pt x="15761" y="7344"/>
                </a:cubicBezTo>
                <a:close/>
                <a:moveTo>
                  <a:pt x="16633" y="6994"/>
                </a:moveTo>
                <a:cubicBezTo>
                  <a:pt x="16633" y="6769"/>
                  <a:pt x="16526" y="6579"/>
                  <a:pt x="16326" y="6435"/>
                </a:cubicBezTo>
                <a:cubicBezTo>
                  <a:pt x="16124" y="6299"/>
                  <a:pt x="15855" y="6230"/>
                  <a:pt x="15518" y="6230"/>
                </a:cubicBezTo>
                <a:lnTo>
                  <a:pt x="13751" y="6230"/>
                </a:lnTo>
                <a:lnTo>
                  <a:pt x="13751" y="8993"/>
                </a:lnTo>
                <a:lnTo>
                  <a:pt x="14490" y="8993"/>
                </a:lnTo>
                <a:lnTo>
                  <a:pt x="14490" y="7904"/>
                </a:lnTo>
                <a:lnTo>
                  <a:pt x="15210" y="7904"/>
                </a:lnTo>
                <a:cubicBezTo>
                  <a:pt x="15432" y="7904"/>
                  <a:pt x="15577" y="7926"/>
                  <a:pt x="15665" y="7980"/>
                </a:cubicBezTo>
                <a:cubicBezTo>
                  <a:pt x="15761" y="8032"/>
                  <a:pt x="15800" y="8122"/>
                  <a:pt x="15800" y="8245"/>
                </a:cubicBezTo>
                <a:lnTo>
                  <a:pt x="15806" y="8494"/>
                </a:lnTo>
                <a:cubicBezTo>
                  <a:pt x="15806" y="8609"/>
                  <a:pt x="15815" y="8706"/>
                  <a:pt x="15837" y="8805"/>
                </a:cubicBezTo>
                <a:cubicBezTo>
                  <a:pt x="15855" y="8895"/>
                  <a:pt x="15865" y="8963"/>
                  <a:pt x="15886" y="8987"/>
                </a:cubicBezTo>
                <a:lnTo>
                  <a:pt x="16692" y="8987"/>
                </a:lnTo>
                <a:lnTo>
                  <a:pt x="16692" y="8919"/>
                </a:lnTo>
                <a:cubicBezTo>
                  <a:pt x="16633" y="8895"/>
                  <a:pt x="16585" y="8864"/>
                  <a:pt x="16575" y="8826"/>
                </a:cubicBezTo>
                <a:cubicBezTo>
                  <a:pt x="16547" y="8788"/>
                  <a:pt x="16538" y="8720"/>
                  <a:pt x="16526" y="8638"/>
                </a:cubicBezTo>
                <a:lnTo>
                  <a:pt x="16519" y="8184"/>
                </a:lnTo>
                <a:cubicBezTo>
                  <a:pt x="16508" y="7963"/>
                  <a:pt x="16401" y="7805"/>
                  <a:pt x="16202" y="7707"/>
                </a:cubicBezTo>
                <a:cubicBezTo>
                  <a:pt x="16174" y="7691"/>
                  <a:pt x="16135" y="7685"/>
                  <a:pt x="16086" y="7661"/>
                </a:cubicBezTo>
                <a:cubicBezTo>
                  <a:pt x="16163" y="7639"/>
                  <a:pt x="16230" y="7609"/>
                  <a:pt x="16298" y="7579"/>
                </a:cubicBezTo>
                <a:cubicBezTo>
                  <a:pt x="16519" y="7456"/>
                  <a:pt x="16633" y="7260"/>
                  <a:pt x="16633" y="6994"/>
                </a:cubicBezTo>
                <a:cubicBezTo>
                  <a:pt x="16633" y="6994"/>
                  <a:pt x="16633" y="6994"/>
                  <a:pt x="16633" y="6994"/>
                </a:cubicBezTo>
                <a:close/>
                <a:moveTo>
                  <a:pt x="12311" y="8993"/>
                </a:moveTo>
                <a:lnTo>
                  <a:pt x="12311" y="7737"/>
                </a:lnTo>
                <a:lnTo>
                  <a:pt x="10936" y="7737"/>
                </a:lnTo>
                <a:lnTo>
                  <a:pt x="10936" y="8993"/>
                </a:lnTo>
                <a:lnTo>
                  <a:pt x="10200" y="8993"/>
                </a:lnTo>
                <a:lnTo>
                  <a:pt x="10200" y="6230"/>
                </a:lnTo>
                <a:lnTo>
                  <a:pt x="10936" y="6230"/>
                </a:lnTo>
                <a:lnTo>
                  <a:pt x="10936" y="7268"/>
                </a:lnTo>
                <a:lnTo>
                  <a:pt x="12311" y="7268"/>
                </a:lnTo>
                <a:lnTo>
                  <a:pt x="12311" y="6230"/>
                </a:lnTo>
                <a:lnTo>
                  <a:pt x="13033" y="6230"/>
                </a:lnTo>
                <a:lnTo>
                  <a:pt x="13033" y="8993"/>
                </a:lnTo>
                <a:cubicBezTo>
                  <a:pt x="13033" y="8993"/>
                  <a:pt x="12311" y="8993"/>
                  <a:pt x="12311" y="8993"/>
                </a:cubicBezTo>
                <a:close/>
                <a:moveTo>
                  <a:pt x="16086" y="3348"/>
                </a:moveTo>
                <a:lnTo>
                  <a:pt x="16135" y="3271"/>
                </a:lnTo>
                <a:lnTo>
                  <a:pt x="17787" y="1111"/>
                </a:lnTo>
                <a:lnTo>
                  <a:pt x="17787" y="3348"/>
                </a:lnTo>
                <a:cubicBezTo>
                  <a:pt x="17787" y="3348"/>
                  <a:pt x="16086" y="3348"/>
                  <a:pt x="16086" y="3348"/>
                </a:cubicBezTo>
                <a:close/>
                <a:moveTo>
                  <a:pt x="17787" y="5367"/>
                </a:moveTo>
                <a:lnTo>
                  <a:pt x="19104" y="5367"/>
                </a:lnTo>
                <a:lnTo>
                  <a:pt x="19104" y="4180"/>
                </a:lnTo>
                <a:lnTo>
                  <a:pt x="19868" y="4180"/>
                </a:lnTo>
                <a:lnTo>
                  <a:pt x="19868" y="3348"/>
                </a:lnTo>
                <a:lnTo>
                  <a:pt x="19104" y="3348"/>
                </a:lnTo>
                <a:lnTo>
                  <a:pt x="19104" y="0"/>
                </a:lnTo>
                <a:lnTo>
                  <a:pt x="17613" y="0"/>
                </a:lnTo>
                <a:lnTo>
                  <a:pt x="15106" y="3271"/>
                </a:lnTo>
                <a:lnTo>
                  <a:pt x="15106" y="4180"/>
                </a:lnTo>
                <a:lnTo>
                  <a:pt x="17787" y="4180"/>
                </a:lnTo>
                <a:cubicBezTo>
                  <a:pt x="17787" y="4180"/>
                  <a:pt x="17787" y="5367"/>
                  <a:pt x="17787" y="5367"/>
                </a:cubicBezTo>
                <a:close/>
                <a:moveTo>
                  <a:pt x="14415" y="5367"/>
                </a:moveTo>
                <a:lnTo>
                  <a:pt x="9776" y="5367"/>
                </a:lnTo>
                <a:lnTo>
                  <a:pt x="9776" y="5360"/>
                </a:lnTo>
                <a:cubicBezTo>
                  <a:pt x="9776" y="4876"/>
                  <a:pt x="9929" y="4451"/>
                  <a:pt x="10247" y="4095"/>
                </a:cubicBezTo>
                <a:cubicBezTo>
                  <a:pt x="10563" y="3746"/>
                  <a:pt x="11159" y="3340"/>
                  <a:pt x="12024" y="2853"/>
                </a:cubicBezTo>
                <a:cubicBezTo>
                  <a:pt x="12410" y="2643"/>
                  <a:pt x="12676" y="2443"/>
                  <a:pt x="12841" y="2271"/>
                </a:cubicBezTo>
                <a:cubicBezTo>
                  <a:pt x="13003" y="2089"/>
                  <a:pt x="13081" y="1892"/>
                  <a:pt x="13081" y="1674"/>
                </a:cubicBezTo>
                <a:cubicBezTo>
                  <a:pt x="13081" y="1440"/>
                  <a:pt x="12995" y="1243"/>
                  <a:pt x="12820" y="1106"/>
                </a:cubicBezTo>
                <a:cubicBezTo>
                  <a:pt x="12648" y="954"/>
                  <a:pt x="12416" y="885"/>
                  <a:pt x="12121" y="885"/>
                </a:cubicBezTo>
                <a:cubicBezTo>
                  <a:pt x="11824" y="885"/>
                  <a:pt x="11581" y="976"/>
                  <a:pt x="11419" y="1158"/>
                </a:cubicBezTo>
                <a:cubicBezTo>
                  <a:pt x="11235" y="1342"/>
                  <a:pt x="11159" y="1590"/>
                  <a:pt x="11169" y="1892"/>
                </a:cubicBezTo>
                <a:lnTo>
                  <a:pt x="9863" y="1892"/>
                </a:lnTo>
                <a:cubicBezTo>
                  <a:pt x="9842" y="1317"/>
                  <a:pt x="10038" y="855"/>
                  <a:pt x="10449" y="514"/>
                </a:cubicBezTo>
                <a:cubicBezTo>
                  <a:pt x="10851" y="175"/>
                  <a:pt x="11419" y="0"/>
                  <a:pt x="12139" y="0"/>
                </a:cubicBezTo>
                <a:cubicBezTo>
                  <a:pt x="12801" y="0"/>
                  <a:pt x="13348" y="159"/>
                  <a:pt x="13779" y="470"/>
                </a:cubicBezTo>
                <a:cubicBezTo>
                  <a:pt x="14194" y="786"/>
                  <a:pt x="14415" y="1188"/>
                  <a:pt x="14415" y="1679"/>
                </a:cubicBezTo>
                <a:cubicBezTo>
                  <a:pt x="14415" y="2089"/>
                  <a:pt x="14290" y="2430"/>
                  <a:pt x="14051" y="2695"/>
                </a:cubicBezTo>
                <a:cubicBezTo>
                  <a:pt x="13810" y="2960"/>
                  <a:pt x="13358" y="3263"/>
                  <a:pt x="12697" y="3595"/>
                </a:cubicBezTo>
                <a:cubicBezTo>
                  <a:pt x="12080" y="3907"/>
                  <a:pt x="11668" y="4180"/>
                  <a:pt x="11438" y="4429"/>
                </a:cubicBezTo>
                <a:lnTo>
                  <a:pt x="11438" y="4437"/>
                </a:lnTo>
                <a:lnTo>
                  <a:pt x="14415" y="4437"/>
                </a:lnTo>
                <a:cubicBezTo>
                  <a:pt x="14415" y="4437"/>
                  <a:pt x="14415" y="5367"/>
                  <a:pt x="14415" y="5367"/>
                </a:cubicBezTo>
                <a:close/>
                <a:moveTo>
                  <a:pt x="11045" y="20298"/>
                </a:moveTo>
                <a:cubicBezTo>
                  <a:pt x="11045" y="21008"/>
                  <a:pt x="10314" y="21600"/>
                  <a:pt x="9403" y="21600"/>
                </a:cubicBezTo>
                <a:cubicBezTo>
                  <a:pt x="8489" y="21600"/>
                  <a:pt x="7750" y="21008"/>
                  <a:pt x="7750" y="20298"/>
                </a:cubicBezTo>
                <a:cubicBezTo>
                  <a:pt x="7750" y="19577"/>
                  <a:pt x="8489" y="18995"/>
                  <a:pt x="9403" y="18995"/>
                </a:cubicBezTo>
                <a:cubicBezTo>
                  <a:pt x="10314" y="18995"/>
                  <a:pt x="11045" y="19577"/>
                  <a:pt x="11045" y="20298"/>
                </a:cubicBezTo>
                <a:cubicBezTo>
                  <a:pt x="11045" y="20298"/>
                  <a:pt x="11045" y="20298"/>
                  <a:pt x="11045" y="20298"/>
                </a:cubicBezTo>
                <a:close/>
                <a:moveTo>
                  <a:pt x="5175" y="20298"/>
                </a:moveTo>
                <a:cubicBezTo>
                  <a:pt x="5175" y="21008"/>
                  <a:pt x="4448" y="21600"/>
                  <a:pt x="3541" y="21600"/>
                </a:cubicBezTo>
                <a:cubicBezTo>
                  <a:pt x="2625" y="21600"/>
                  <a:pt x="1882" y="21008"/>
                  <a:pt x="1882" y="20298"/>
                </a:cubicBezTo>
                <a:cubicBezTo>
                  <a:pt x="1882" y="19577"/>
                  <a:pt x="2625" y="18995"/>
                  <a:pt x="3541" y="18995"/>
                </a:cubicBezTo>
                <a:cubicBezTo>
                  <a:pt x="4448" y="18995"/>
                  <a:pt x="5175" y="19577"/>
                  <a:pt x="5175" y="20298"/>
                </a:cubicBezTo>
                <a:cubicBezTo>
                  <a:pt x="5175" y="20298"/>
                  <a:pt x="5175" y="20298"/>
                  <a:pt x="5175" y="20298"/>
                </a:cubicBezTo>
                <a:close/>
                <a:moveTo>
                  <a:pt x="21600" y="12006"/>
                </a:moveTo>
                <a:cubicBezTo>
                  <a:pt x="21600" y="12259"/>
                  <a:pt x="21339" y="12460"/>
                  <a:pt x="21021" y="12460"/>
                </a:cubicBezTo>
                <a:lnTo>
                  <a:pt x="16990" y="12460"/>
                </a:lnTo>
                <a:lnTo>
                  <a:pt x="13714" y="18359"/>
                </a:lnTo>
                <a:cubicBezTo>
                  <a:pt x="13627" y="18526"/>
                  <a:pt x="13417" y="18624"/>
                  <a:pt x="13184" y="18624"/>
                </a:cubicBezTo>
                <a:lnTo>
                  <a:pt x="847" y="18624"/>
                </a:lnTo>
                <a:cubicBezTo>
                  <a:pt x="523" y="18624"/>
                  <a:pt x="264" y="18428"/>
                  <a:pt x="264" y="18177"/>
                </a:cubicBezTo>
                <a:cubicBezTo>
                  <a:pt x="264" y="17928"/>
                  <a:pt x="523" y="17723"/>
                  <a:pt x="847" y="17723"/>
                </a:cubicBezTo>
                <a:lnTo>
                  <a:pt x="12810" y="17723"/>
                </a:lnTo>
                <a:lnTo>
                  <a:pt x="16086" y="11824"/>
                </a:lnTo>
                <a:cubicBezTo>
                  <a:pt x="16174" y="11657"/>
                  <a:pt x="16384" y="11554"/>
                  <a:pt x="16613" y="11554"/>
                </a:cubicBezTo>
                <a:lnTo>
                  <a:pt x="21021" y="11554"/>
                </a:lnTo>
                <a:cubicBezTo>
                  <a:pt x="21339" y="11554"/>
                  <a:pt x="21600" y="11758"/>
                  <a:pt x="21600" y="12006"/>
                </a:cubicBezTo>
                <a:cubicBezTo>
                  <a:pt x="21600" y="12006"/>
                  <a:pt x="21600" y="12006"/>
                  <a:pt x="21600" y="12006"/>
                </a:cubicBezTo>
                <a:close/>
                <a:moveTo>
                  <a:pt x="3650" y="4466"/>
                </a:moveTo>
                <a:cubicBezTo>
                  <a:pt x="5034" y="4466"/>
                  <a:pt x="6147" y="5345"/>
                  <a:pt x="6147" y="6435"/>
                </a:cubicBezTo>
                <a:lnTo>
                  <a:pt x="6147" y="9675"/>
                </a:lnTo>
                <a:lnTo>
                  <a:pt x="1158" y="9675"/>
                </a:lnTo>
                <a:lnTo>
                  <a:pt x="1158" y="6435"/>
                </a:lnTo>
                <a:cubicBezTo>
                  <a:pt x="1158" y="5345"/>
                  <a:pt x="2273" y="4466"/>
                  <a:pt x="3650" y="4466"/>
                </a:cubicBezTo>
                <a:cubicBezTo>
                  <a:pt x="3650" y="4466"/>
                  <a:pt x="3650" y="4466"/>
                  <a:pt x="3650" y="4466"/>
                </a:cubicBezTo>
                <a:close/>
                <a:moveTo>
                  <a:pt x="10936" y="11113"/>
                </a:moveTo>
                <a:lnTo>
                  <a:pt x="5982" y="15080"/>
                </a:lnTo>
                <a:cubicBezTo>
                  <a:pt x="4963" y="13984"/>
                  <a:pt x="5059" y="12430"/>
                  <a:pt x="6310" y="11431"/>
                </a:cubicBezTo>
                <a:cubicBezTo>
                  <a:pt x="6992" y="10888"/>
                  <a:pt x="7903" y="10585"/>
                  <a:pt x="8872" y="10585"/>
                </a:cubicBezTo>
                <a:cubicBezTo>
                  <a:pt x="9620" y="10590"/>
                  <a:pt x="10341" y="10772"/>
                  <a:pt x="10936" y="11113"/>
                </a:cubicBezTo>
                <a:cubicBezTo>
                  <a:pt x="10936" y="11113"/>
                  <a:pt x="10936" y="11113"/>
                  <a:pt x="10936" y="11113"/>
                </a:cubicBezTo>
                <a:close/>
                <a:moveTo>
                  <a:pt x="11438" y="15405"/>
                </a:moveTo>
                <a:cubicBezTo>
                  <a:pt x="10228" y="16366"/>
                  <a:pt x="8201" y="16481"/>
                  <a:pt x="6809" y="15716"/>
                </a:cubicBezTo>
                <a:lnTo>
                  <a:pt x="11765" y="11750"/>
                </a:lnTo>
                <a:cubicBezTo>
                  <a:pt x="12784" y="12856"/>
                  <a:pt x="12685" y="14398"/>
                  <a:pt x="11438" y="15405"/>
                </a:cubicBezTo>
                <a:cubicBezTo>
                  <a:pt x="11438" y="15405"/>
                  <a:pt x="11438" y="15405"/>
                  <a:pt x="11438" y="15405"/>
                </a:cubicBezTo>
                <a:close/>
                <a:moveTo>
                  <a:pt x="1158" y="14082"/>
                </a:moveTo>
                <a:lnTo>
                  <a:pt x="1158" y="10585"/>
                </a:lnTo>
                <a:lnTo>
                  <a:pt x="5811" y="10585"/>
                </a:lnTo>
                <a:cubicBezTo>
                  <a:pt x="5704" y="10652"/>
                  <a:pt x="5590" y="10720"/>
                  <a:pt x="5493" y="10794"/>
                </a:cubicBezTo>
                <a:cubicBezTo>
                  <a:pt x="3821" y="12135"/>
                  <a:pt x="3713" y="14218"/>
                  <a:pt x="5109" y="15670"/>
                </a:cubicBezTo>
                <a:cubicBezTo>
                  <a:pt x="4686" y="15913"/>
                  <a:pt x="4187" y="16050"/>
                  <a:pt x="3650" y="16050"/>
                </a:cubicBezTo>
                <a:cubicBezTo>
                  <a:pt x="2273" y="16050"/>
                  <a:pt x="1158" y="15170"/>
                  <a:pt x="1158" y="14082"/>
                </a:cubicBezTo>
                <a:cubicBezTo>
                  <a:pt x="1158" y="14082"/>
                  <a:pt x="1158" y="14082"/>
                  <a:pt x="1158" y="14082"/>
                </a:cubicBezTo>
                <a:close/>
                <a:moveTo>
                  <a:pt x="3650" y="16958"/>
                </a:moveTo>
                <a:cubicBezTo>
                  <a:pt x="4485" y="16958"/>
                  <a:pt x="5271" y="16732"/>
                  <a:pt x="5916" y="16323"/>
                </a:cubicBezTo>
                <a:cubicBezTo>
                  <a:pt x="6761" y="16852"/>
                  <a:pt x="7778" y="17155"/>
                  <a:pt x="8872" y="17155"/>
                </a:cubicBezTo>
                <a:cubicBezTo>
                  <a:pt x="10151" y="17155"/>
                  <a:pt x="11360" y="16761"/>
                  <a:pt x="12252" y="16041"/>
                </a:cubicBezTo>
                <a:cubicBezTo>
                  <a:pt x="14088" y="14573"/>
                  <a:pt x="14067" y="12195"/>
                  <a:pt x="12204" y="10750"/>
                </a:cubicBezTo>
                <a:cubicBezTo>
                  <a:pt x="11304" y="10059"/>
                  <a:pt x="10123" y="9675"/>
                  <a:pt x="8872" y="9675"/>
                </a:cubicBezTo>
                <a:cubicBezTo>
                  <a:pt x="8326" y="9675"/>
                  <a:pt x="7799" y="9764"/>
                  <a:pt x="7297" y="9902"/>
                </a:cubicBezTo>
                <a:lnTo>
                  <a:pt x="7297" y="6435"/>
                </a:lnTo>
                <a:cubicBezTo>
                  <a:pt x="7297" y="4846"/>
                  <a:pt x="5667" y="3557"/>
                  <a:pt x="3650" y="3557"/>
                </a:cubicBezTo>
                <a:cubicBezTo>
                  <a:pt x="1639" y="3557"/>
                  <a:pt x="0" y="4846"/>
                  <a:pt x="0" y="6435"/>
                </a:cubicBezTo>
                <a:lnTo>
                  <a:pt x="0" y="14082"/>
                </a:lnTo>
                <a:cubicBezTo>
                  <a:pt x="0" y="15670"/>
                  <a:pt x="1639" y="16958"/>
                  <a:pt x="3650" y="16958"/>
                </a:cubicBezTo>
                <a:cubicBezTo>
                  <a:pt x="3650" y="16958"/>
                  <a:pt x="3650" y="16958"/>
                  <a:pt x="3650" y="16958"/>
                </a:cubicBezTo>
                <a:close/>
              </a:path>
            </a:pathLst>
          </a:custGeom>
          <a:solidFill>
            <a:srgbClr val="FFFFFF"/>
          </a:solidFill>
          <a:ln w="12700" cap="flat">
            <a:noFill/>
            <a:miter lim="400000"/>
          </a:ln>
          <a:effectLst/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21" name="iśľïḑè">
            <a:extLst>
              <a:ext uri="{FF2B5EF4-FFF2-40B4-BE49-F238E27FC236}">
                <a16:creationId xmlns:a16="http://schemas.microsoft.com/office/drawing/2014/main" id="{44229C32-0F45-4A66-8F61-5D76D12A7CE0}"/>
              </a:ext>
            </a:extLst>
          </p:cNvPr>
          <p:cNvSpPr/>
          <p:nvPr/>
        </p:nvSpPr>
        <p:spPr>
          <a:xfrm>
            <a:off x="10041304" y="2769775"/>
            <a:ext cx="124992" cy="124992"/>
          </a:xfrm>
          <a:prstGeom prst="ellipse">
            <a:avLst/>
          </a:prstGeom>
          <a:solidFill>
            <a:schemeClr val="accent4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/>
          </a:p>
        </p:txBody>
      </p:sp>
      <p:cxnSp>
        <p:nvCxnSpPr>
          <p:cNvPr id="18" name="直接连接符 17">
            <a:extLst>
              <a:ext uri="{FF2B5EF4-FFF2-40B4-BE49-F238E27FC236}">
                <a16:creationId xmlns:a16="http://schemas.microsoft.com/office/drawing/2014/main" id="{641ECE3D-7B65-4B95-895E-FF738CA7D1D8}"/>
              </a:ext>
            </a:extLst>
          </p:cNvPr>
          <p:cNvCxnSpPr/>
          <p:nvPr/>
        </p:nvCxnSpPr>
        <p:spPr>
          <a:xfrm>
            <a:off x="6600056" y="4005064"/>
            <a:ext cx="0" cy="1588906"/>
          </a:xfrm>
          <a:prstGeom prst="line">
            <a:avLst/>
          </a:prstGeom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直接连接符 18">
            <a:extLst>
              <a:ext uri="{FF2B5EF4-FFF2-40B4-BE49-F238E27FC236}">
                <a16:creationId xmlns:a16="http://schemas.microsoft.com/office/drawing/2014/main" id="{4535AAD7-7D7D-4AE7-88B2-1DA6F6B13542}"/>
              </a:ext>
            </a:extLst>
          </p:cNvPr>
          <p:cNvCxnSpPr/>
          <p:nvPr/>
        </p:nvCxnSpPr>
        <p:spPr>
          <a:xfrm>
            <a:off x="8925812" y="4005064"/>
            <a:ext cx="0" cy="1588906"/>
          </a:xfrm>
          <a:prstGeom prst="line">
            <a:avLst/>
          </a:prstGeom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0201579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ṡľïḑè">
            <a:extLst>
              <a:ext uri="{FF2B5EF4-FFF2-40B4-BE49-F238E27FC236}">
                <a16:creationId xmlns:a16="http://schemas.microsoft.com/office/drawing/2014/main" id="{48F70259-7598-4270-874A-6F50772D10F6}"/>
              </a:ext>
            </a:extLst>
          </p:cNvPr>
          <p:cNvSpPr txBox="1"/>
          <p:nvPr/>
        </p:nvSpPr>
        <p:spPr bwMode="auto">
          <a:xfrm>
            <a:off x="3510784" y="1780800"/>
            <a:ext cx="8009703" cy="4003616"/>
          </a:xfrm>
          <a:prstGeom prst="rect">
            <a:avLst/>
          </a:prstGeom>
          <a:noFill/>
        </p:spPr>
        <p:txBody>
          <a:bodyPr wrap="square" tIns="0" anchor="t">
            <a:noAutofit/>
          </a:bodyPr>
          <a:lstStyle>
            <a:defPPr>
              <a:defRPr lang="zh-CN"/>
            </a:defPPr>
            <a:lvl1pPr>
              <a:defRPr sz="1600" b="1"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1pPr>
            <a:lvl2pPr marL="742950" indent="-28575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zh-CN" altLang="en-US" b="0" dirty="0">
                <a:latin typeface="+mn-ea"/>
                <a:ea typeface="+mn-ea"/>
                <a:sym typeface="+mn-lt"/>
              </a:rPr>
              <a:t>选题背景和研究意义</a:t>
            </a:r>
            <a:endParaRPr lang="en-US" altLang="zh-CN" b="0" dirty="0">
              <a:latin typeface="+mn-ea"/>
              <a:ea typeface="+mn-ea"/>
              <a:sym typeface="+mn-lt"/>
            </a:endParaRP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zh-CN" altLang="en-US" b="0" dirty="0">
                <a:latin typeface="+mn-ea"/>
                <a:ea typeface="+mn-ea"/>
                <a:sym typeface="+mn-lt"/>
              </a:rPr>
              <a:t>研究思路与研究方法</a:t>
            </a:r>
            <a:endParaRPr lang="en-US" altLang="zh-CN" b="0" dirty="0">
              <a:latin typeface="+mn-ea"/>
              <a:ea typeface="+mn-ea"/>
              <a:sym typeface="+mn-lt"/>
            </a:endParaRP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zh-CN" altLang="en-US" b="0" dirty="0">
                <a:latin typeface="+mn-ea"/>
                <a:ea typeface="+mn-ea"/>
                <a:sym typeface="+mn-lt"/>
              </a:rPr>
              <a:t>关键技术与实践难点</a:t>
            </a:r>
            <a:endParaRPr lang="en-US" altLang="zh-CN" b="0" dirty="0">
              <a:latin typeface="+mn-ea"/>
              <a:ea typeface="+mn-ea"/>
              <a:sym typeface="+mn-lt"/>
            </a:endParaRP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zh-CN" altLang="en-US" b="0" dirty="0">
                <a:latin typeface="+mn-ea"/>
                <a:ea typeface="+mn-ea"/>
                <a:sym typeface="+mn-lt"/>
              </a:rPr>
              <a:t>研究成果与应用前景</a:t>
            </a:r>
            <a:endParaRPr lang="en-US" altLang="zh-CN" b="0" dirty="0">
              <a:latin typeface="+mn-ea"/>
              <a:ea typeface="+mn-ea"/>
              <a:sym typeface="+mn-lt"/>
            </a:endParaRP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zh-CN" altLang="en-US" b="0" dirty="0">
                <a:latin typeface="+mn-ea"/>
                <a:ea typeface="+mn-ea"/>
                <a:sym typeface="+mn-lt"/>
              </a:rPr>
              <a:t>论文总结与展望</a:t>
            </a:r>
            <a:endParaRPr lang="en-US" altLang="zh-CN" b="0" dirty="0">
              <a:latin typeface="+mn-ea"/>
              <a:ea typeface="+mn-ea"/>
              <a:sym typeface="+mn-lt"/>
            </a:endParaRPr>
          </a:p>
        </p:txBody>
      </p:sp>
      <p:cxnSp>
        <p:nvCxnSpPr>
          <p:cNvPr id="8" name="直接连接符 7">
            <a:extLst>
              <a:ext uri="{FF2B5EF4-FFF2-40B4-BE49-F238E27FC236}">
                <a16:creationId xmlns:a16="http://schemas.microsoft.com/office/drawing/2014/main" id="{DA1FB18E-FA01-4588-BEF9-FB96A98A84D4}"/>
              </a:ext>
            </a:extLst>
          </p:cNvPr>
          <p:cNvCxnSpPr>
            <a:cxnSpLocks/>
          </p:cNvCxnSpPr>
          <p:nvPr/>
        </p:nvCxnSpPr>
        <p:spPr>
          <a:xfrm>
            <a:off x="3380411" y="1780800"/>
            <a:ext cx="0" cy="4003616"/>
          </a:xfrm>
          <a:prstGeom prst="line">
            <a:avLst/>
          </a:prstGeom>
          <a:solidFill>
            <a:srgbClr val="FFCC00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" name="išľïḋé">
            <a:extLst>
              <a:ext uri="{FF2B5EF4-FFF2-40B4-BE49-F238E27FC236}">
                <a16:creationId xmlns:a16="http://schemas.microsoft.com/office/drawing/2014/main" id="{0DB1D0A1-2667-455C-9387-D7ABF0A00B8C}"/>
              </a:ext>
            </a:extLst>
          </p:cNvPr>
          <p:cNvSpPr txBox="1"/>
          <p:nvPr/>
        </p:nvSpPr>
        <p:spPr>
          <a:xfrm>
            <a:off x="757282" y="1700808"/>
            <a:ext cx="2623091" cy="52322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r"/>
            <a:r>
              <a:rPr lang="tr-TR" sz="2800" b="1" dirty="0">
                <a:solidFill>
                  <a:schemeClr val="accent1"/>
                </a:solidFill>
                <a:cs typeface="+mn-ea"/>
                <a:sym typeface="+mn-lt"/>
              </a:rPr>
              <a:t>CONTENTS</a:t>
            </a:r>
          </a:p>
        </p:txBody>
      </p:sp>
      <p:sp>
        <p:nvSpPr>
          <p:cNvPr id="10" name="poetry_91022">
            <a:extLst>
              <a:ext uri="{FF2B5EF4-FFF2-40B4-BE49-F238E27FC236}">
                <a16:creationId xmlns:a16="http://schemas.microsoft.com/office/drawing/2014/main" id="{ADAD6BE3-DC11-4582-9F68-50D831ADD001}"/>
              </a:ext>
            </a:extLst>
          </p:cNvPr>
          <p:cNvSpPr>
            <a:spLocks noChangeAspect="1"/>
          </p:cNvSpPr>
          <p:nvPr/>
        </p:nvSpPr>
        <p:spPr bwMode="auto">
          <a:xfrm>
            <a:off x="2379533" y="4867348"/>
            <a:ext cx="870506" cy="915667"/>
          </a:xfrm>
          <a:custGeom>
            <a:avLst/>
            <a:gdLst>
              <a:gd name="T0" fmla="*/ 3353 w 5127"/>
              <a:gd name="T1" fmla="*/ 1728 h 5401"/>
              <a:gd name="T2" fmla="*/ 2183 w 5127"/>
              <a:gd name="T3" fmla="*/ 1608 h 5401"/>
              <a:gd name="T4" fmla="*/ 3353 w 5127"/>
              <a:gd name="T5" fmla="*/ 1488 h 5401"/>
              <a:gd name="T6" fmla="*/ 3103 w 5127"/>
              <a:gd name="T7" fmla="*/ 2231 h 5401"/>
              <a:gd name="T8" fmla="*/ 3103 w 5127"/>
              <a:gd name="T9" fmla="*/ 1991 h 5401"/>
              <a:gd name="T10" fmla="*/ 2432 w 5127"/>
              <a:gd name="T11" fmla="*/ 2111 h 5401"/>
              <a:gd name="T12" fmla="*/ 3103 w 5127"/>
              <a:gd name="T13" fmla="*/ 2231 h 5401"/>
              <a:gd name="T14" fmla="*/ 3353 w 5127"/>
              <a:gd name="T15" fmla="*/ 2648 h 5401"/>
              <a:gd name="T16" fmla="*/ 2183 w 5127"/>
              <a:gd name="T17" fmla="*/ 2768 h 5401"/>
              <a:gd name="T18" fmla="*/ 3353 w 5127"/>
              <a:gd name="T19" fmla="*/ 2888 h 5401"/>
              <a:gd name="T20" fmla="*/ 2552 w 5127"/>
              <a:gd name="T21" fmla="*/ 3151 h 5401"/>
              <a:gd name="T22" fmla="*/ 2552 w 5127"/>
              <a:gd name="T23" fmla="*/ 3391 h 5401"/>
              <a:gd name="T24" fmla="*/ 3223 w 5127"/>
              <a:gd name="T25" fmla="*/ 3271 h 5401"/>
              <a:gd name="T26" fmla="*/ 2552 w 5127"/>
              <a:gd name="T27" fmla="*/ 3151 h 5401"/>
              <a:gd name="T28" fmla="*/ 4448 w 5127"/>
              <a:gd name="T29" fmla="*/ 1442 h 5401"/>
              <a:gd name="T30" fmla="*/ 4688 w 5127"/>
              <a:gd name="T31" fmla="*/ 1442 h 5401"/>
              <a:gd name="T32" fmla="*/ 3988 w 5127"/>
              <a:gd name="T33" fmla="*/ 0 h 5401"/>
              <a:gd name="T34" fmla="*/ 0 w 5127"/>
              <a:gd name="T35" fmla="*/ 604 h 5401"/>
              <a:gd name="T36" fmla="*/ 120 w 5127"/>
              <a:gd name="T37" fmla="*/ 1792 h 5401"/>
              <a:gd name="T38" fmla="*/ 686 w 5127"/>
              <a:gd name="T39" fmla="*/ 1672 h 5401"/>
              <a:gd name="T40" fmla="*/ 240 w 5127"/>
              <a:gd name="T41" fmla="*/ 1552 h 5401"/>
              <a:gd name="T42" fmla="*/ 604 w 5127"/>
              <a:gd name="T43" fmla="*/ 240 h 5401"/>
              <a:gd name="T44" fmla="*/ 968 w 5127"/>
              <a:gd name="T45" fmla="*/ 4179 h 5401"/>
              <a:gd name="T46" fmla="*/ 3904 w 5127"/>
              <a:gd name="T47" fmla="*/ 4879 h 5401"/>
              <a:gd name="T48" fmla="*/ 3904 w 5127"/>
              <a:gd name="T49" fmla="*/ 4639 h 5401"/>
              <a:gd name="T50" fmla="*/ 1208 w 5127"/>
              <a:gd name="T51" fmla="*/ 4179 h 5401"/>
              <a:gd name="T52" fmla="*/ 1086 w 5127"/>
              <a:gd name="T53" fmla="*/ 240 h 5401"/>
              <a:gd name="T54" fmla="*/ 4448 w 5127"/>
              <a:gd name="T55" fmla="*/ 700 h 5401"/>
              <a:gd name="T56" fmla="*/ 4568 w 5127"/>
              <a:gd name="T57" fmla="*/ 2000 h 5401"/>
              <a:gd name="T58" fmla="*/ 4568 w 5127"/>
              <a:gd name="T59" fmla="*/ 2240 h 5401"/>
              <a:gd name="T60" fmla="*/ 4887 w 5127"/>
              <a:gd name="T61" fmla="*/ 2340 h 5401"/>
              <a:gd name="T62" fmla="*/ 5007 w 5127"/>
              <a:gd name="T63" fmla="*/ 3838 h 5401"/>
              <a:gd name="T64" fmla="*/ 5127 w 5127"/>
              <a:gd name="T65" fmla="*/ 2340 h 5401"/>
              <a:gd name="T66" fmla="*/ 4568 w 5127"/>
              <a:gd name="T67" fmla="*/ 5139 h 5401"/>
              <a:gd name="T68" fmla="*/ 4448 w 5127"/>
              <a:gd name="T69" fmla="*/ 5281 h 5401"/>
              <a:gd name="T70" fmla="*/ 4688 w 5127"/>
              <a:gd name="T71" fmla="*/ 5281 h 5401"/>
              <a:gd name="T72" fmla="*/ 4568 w 5127"/>
              <a:gd name="T73" fmla="*/ 5139 h 5401"/>
              <a:gd name="T74" fmla="*/ 4448 w 5127"/>
              <a:gd name="T75" fmla="*/ 2559 h 5401"/>
              <a:gd name="T76" fmla="*/ 4568 w 5127"/>
              <a:gd name="T77" fmla="*/ 4974 h 5401"/>
              <a:gd name="T78" fmla="*/ 4688 w 5127"/>
              <a:gd name="T79" fmla="*/ 2559 h 54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5127" h="5401">
                <a:moveTo>
                  <a:pt x="3473" y="1608"/>
                </a:moveTo>
                <a:cubicBezTo>
                  <a:pt x="3473" y="1674"/>
                  <a:pt x="3419" y="1728"/>
                  <a:pt x="3353" y="1728"/>
                </a:cubicBezTo>
                <a:lnTo>
                  <a:pt x="2303" y="1728"/>
                </a:lnTo>
                <a:cubicBezTo>
                  <a:pt x="2236" y="1728"/>
                  <a:pt x="2183" y="1674"/>
                  <a:pt x="2183" y="1608"/>
                </a:cubicBezTo>
                <a:cubicBezTo>
                  <a:pt x="2183" y="1542"/>
                  <a:pt x="2236" y="1488"/>
                  <a:pt x="2303" y="1488"/>
                </a:cubicBezTo>
                <a:lnTo>
                  <a:pt x="3353" y="1488"/>
                </a:lnTo>
                <a:cubicBezTo>
                  <a:pt x="3419" y="1488"/>
                  <a:pt x="3473" y="1542"/>
                  <a:pt x="3473" y="1608"/>
                </a:cubicBezTo>
                <a:close/>
                <a:moveTo>
                  <a:pt x="3103" y="2231"/>
                </a:moveTo>
                <a:cubicBezTo>
                  <a:pt x="3170" y="2231"/>
                  <a:pt x="3223" y="2178"/>
                  <a:pt x="3223" y="2111"/>
                </a:cubicBezTo>
                <a:cubicBezTo>
                  <a:pt x="3223" y="2045"/>
                  <a:pt x="3170" y="1991"/>
                  <a:pt x="3103" y="1991"/>
                </a:cubicBezTo>
                <a:lnTo>
                  <a:pt x="2552" y="1991"/>
                </a:lnTo>
                <a:cubicBezTo>
                  <a:pt x="2486" y="1991"/>
                  <a:pt x="2432" y="2045"/>
                  <a:pt x="2432" y="2111"/>
                </a:cubicBezTo>
                <a:cubicBezTo>
                  <a:pt x="2432" y="2178"/>
                  <a:pt x="2486" y="2231"/>
                  <a:pt x="2552" y="2231"/>
                </a:cubicBezTo>
                <a:lnTo>
                  <a:pt x="3103" y="2231"/>
                </a:lnTo>
                <a:close/>
                <a:moveTo>
                  <a:pt x="3473" y="2768"/>
                </a:moveTo>
                <a:cubicBezTo>
                  <a:pt x="3473" y="2701"/>
                  <a:pt x="3419" y="2648"/>
                  <a:pt x="3353" y="2648"/>
                </a:cubicBezTo>
                <a:lnTo>
                  <a:pt x="2303" y="2648"/>
                </a:lnTo>
                <a:cubicBezTo>
                  <a:pt x="2236" y="2648"/>
                  <a:pt x="2183" y="2701"/>
                  <a:pt x="2183" y="2768"/>
                </a:cubicBezTo>
                <a:cubicBezTo>
                  <a:pt x="2183" y="2834"/>
                  <a:pt x="2236" y="2888"/>
                  <a:pt x="2303" y="2888"/>
                </a:cubicBezTo>
                <a:lnTo>
                  <a:pt x="3353" y="2888"/>
                </a:lnTo>
                <a:cubicBezTo>
                  <a:pt x="3419" y="2888"/>
                  <a:pt x="3473" y="2834"/>
                  <a:pt x="3473" y="2768"/>
                </a:cubicBezTo>
                <a:close/>
                <a:moveTo>
                  <a:pt x="2552" y="3151"/>
                </a:moveTo>
                <a:cubicBezTo>
                  <a:pt x="2486" y="3151"/>
                  <a:pt x="2432" y="3205"/>
                  <a:pt x="2432" y="3271"/>
                </a:cubicBezTo>
                <a:cubicBezTo>
                  <a:pt x="2432" y="3338"/>
                  <a:pt x="2486" y="3391"/>
                  <a:pt x="2552" y="3391"/>
                </a:cubicBezTo>
                <a:lnTo>
                  <a:pt x="3103" y="3391"/>
                </a:lnTo>
                <a:cubicBezTo>
                  <a:pt x="3170" y="3391"/>
                  <a:pt x="3223" y="3338"/>
                  <a:pt x="3223" y="3271"/>
                </a:cubicBezTo>
                <a:cubicBezTo>
                  <a:pt x="3223" y="3205"/>
                  <a:pt x="3170" y="3151"/>
                  <a:pt x="3103" y="3151"/>
                </a:cubicBezTo>
                <a:lnTo>
                  <a:pt x="2552" y="3151"/>
                </a:lnTo>
                <a:close/>
                <a:moveTo>
                  <a:pt x="4448" y="700"/>
                </a:moveTo>
                <a:lnTo>
                  <a:pt x="4448" y="1442"/>
                </a:lnTo>
                <a:cubicBezTo>
                  <a:pt x="4448" y="1509"/>
                  <a:pt x="4501" y="1562"/>
                  <a:pt x="4568" y="1562"/>
                </a:cubicBezTo>
                <a:cubicBezTo>
                  <a:pt x="4634" y="1562"/>
                  <a:pt x="4688" y="1509"/>
                  <a:pt x="4688" y="1442"/>
                </a:cubicBezTo>
                <a:lnTo>
                  <a:pt x="4688" y="700"/>
                </a:lnTo>
                <a:cubicBezTo>
                  <a:pt x="4688" y="314"/>
                  <a:pt x="4374" y="0"/>
                  <a:pt x="3988" y="0"/>
                </a:cubicBezTo>
                <a:lnTo>
                  <a:pt x="604" y="0"/>
                </a:lnTo>
                <a:cubicBezTo>
                  <a:pt x="271" y="0"/>
                  <a:pt x="0" y="271"/>
                  <a:pt x="0" y="604"/>
                </a:cubicBezTo>
                <a:lnTo>
                  <a:pt x="0" y="1672"/>
                </a:lnTo>
                <a:cubicBezTo>
                  <a:pt x="0" y="1738"/>
                  <a:pt x="53" y="1792"/>
                  <a:pt x="120" y="1792"/>
                </a:cubicBezTo>
                <a:lnTo>
                  <a:pt x="566" y="1792"/>
                </a:lnTo>
                <a:cubicBezTo>
                  <a:pt x="632" y="1792"/>
                  <a:pt x="686" y="1738"/>
                  <a:pt x="686" y="1672"/>
                </a:cubicBezTo>
                <a:cubicBezTo>
                  <a:pt x="686" y="1606"/>
                  <a:pt x="632" y="1552"/>
                  <a:pt x="566" y="1552"/>
                </a:cubicBezTo>
                <a:lnTo>
                  <a:pt x="240" y="1552"/>
                </a:lnTo>
                <a:lnTo>
                  <a:pt x="240" y="604"/>
                </a:lnTo>
                <a:cubicBezTo>
                  <a:pt x="240" y="403"/>
                  <a:pt x="403" y="240"/>
                  <a:pt x="604" y="240"/>
                </a:cubicBezTo>
                <a:cubicBezTo>
                  <a:pt x="805" y="240"/>
                  <a:pt x="968" y="403"/>
                  <a:pt x="968" y="604"/>
                </a:cubicBezTo>
                <a:lnTo>
                  <a:pt x="968" y="4179"/>
                </a:lnTo>
                <a:cubicBezTo>
                  <a:pt x="968" y="4565"/>
                  <a:pt x="1282" y="4879"/>
                  <a:pt x="1668" y="4879"/>
                </a:cubicBezTo>
                <a:lnTo>
                  <a:pt x="3904" y="4879"/>
                </a:lnTo>
                <a:cubicBezTo>
                  <a:pt x="3970" y="4879"/>
                  <a:pt x="4024" y="4825"/>
                  <a:pt x="4024" y="4759"/>
                </a:cubicBezTo>
                <a:cubicBezTo>
                  <a:pt x="4024" y="4693"/>
                  <a:pt x="3970" y="4639"/>
                  <a:pt x="3904" y="4639"/>
                </a:cubicBezTo>
                <a:lnTo>
                  <a:pt x="1668" y="4639"/>
                </a:lnTo>
                <a:cubicBezTo>
                  <a:pt x="1415" y="4639"/>
                  <a:pt x="1208" y="4433"/>
                  <a:pt x="1208" y="4179"/>
                </a:cubicBezTo>
                <a:lnTo>
                  <a:pt x="1208" y="604"/>
                </a:lnTo>
                <a:cubicBezTo>
                  <a:pt x="1208" y="468"/>
                  <a:pt x="1163" y="341"/>
                  <a:pt x="1086" y="240"/>
                </a:cubicBezTo>
                <a:lnTo>
                  <a:pt x="3988" y="240"/>
                </a:lnTo>
                <a:cubicBezTo>
                  <a:pt x="4241" y="240"/>
                  <a:pt x="4448" y="446"/>
                  <a:pt x="4448" y="700"/>
                </a:cubicBezTo>
                <a:close/>
                <a:moveTo>
                  <a:pt x="4787" y="2000"/>
                </a:moveTo>
                <a:lnTo>
                  <a:pt x="4568" y="2000"/>
                </a:lnTo>
                <a:cubicBezTo>
                  <a:pt x="4501" y="2000"/>
                  <a:pt x="4448" y="2054"/>
                  <a:pt x="4448" y="2120"/>
                </a:cubicBezTo>
                <a:cubicBezTo>
                  <a:pt x="4448" y="2187"/>
                  <a:pt x="4501" y="2240"/>
                  <a:pt x="4568" y="2240"/>
                </a:cubicBezTo>
                <a:lnTo>
                  <a:pt x="4787" y="2240"/>
                </a:lnTo>
                <a:cubicBezTo>
                  <a:pt x="4842" y="2240"/>
                  <a:pt x="4887" y="2285"/>
                  <a:pt x="4887" y="2340"/>
                </a:cubicBezTo>
                <a:lnTo>
                  <a:pt x="4887" y="3718"/>
                </a:lnTo>
                <a:cubicBezTo>
                  <a:pt x="4887" y="3785"/>
                  <a:pt x="4941" y="3838"/>
                  <a:pt x="5007" y="3838"/>
                </a:cubicBezTo>
                <a:cubicBezTo>
                  <a:pt x="5073" y="3838"/>
                  <a:pt x="5127" y="3785"/>
                  <a:pt x="5127" y="3718"/>
                </a:cubicBezTo>
                <a:lnTo>
                  <a:pt x="5127" y="2340"/>
                </a:lnTo>
                <a:cubicBezTo>
                  <a:pt x="5127" y="2153"/>
                  <a:pt x="4975" y="2000"/>
                  <a:pt x="4787" y="2000"/>
                </a:cubicBezTo>
                <a:close/>
                <a:moveTo>
                  <a:pt x="4568" y="5139"/>
                </a:moveTo>
                <a:cubicBezTo>
                  <a:pt x="4501" y="5139"/>
                  <a:pt x="4448" y="5193"/>
                  <a:pt x="4448" y="5259"/>
                </a:cubicBezTo>
                <a:lnTo>
                  <a:pt x="4448" y="5281"/>
                </a:lnTo>
                <a:cubicBezTo>
                  <a:pt x="4448" y="5347"/>
                  <a:pt x="4501" y="5401"/>
                  <a:pt x="4568" y="5401"/>
                </a:cubicBezTo>
                <a:cubicBezTo>
                  <a:pt x="4634" y="5401"/>
                  <a:pt x="4688" y="5347"/>
                  <a:pt x="4688" y="5281"/>
                </a:cubicBezTo>
                <a:lnTo>
                  <a:pt x="4688" y="5259"/>
                </a:lnTo>
                <a:cubicBezTo>
                  <a:pt x="4688" y="5193"/>
                  <a:pt x="4634" y="5139"/>
                  <a:pt x="4568" y="5139"/>
                </a:cubicBezTo>
                <a:close/>
                <a:moveTo>
                  <a:pt x="4568" y="2439"/>
                </a:moveTo>
                <a:cubicBezTo>
                  <a:pt x="4501" y="2439"/>
                  <a:pt x="4448" y="2492"/>
                  <a:pt x="4448" y="2559"/>
                </a:cubicBezTo>
                <a:lnTo>
                  <a:pt x="4448" y="4854"/>
                </a:lnTo>
                <a:cubicBezTo>
                  <a:pt x="4448" y="4920"/>
                  <a:pt x="4501" y="4974"/>
                  <a:pt x="4568" y="4974"/>
                </a:cubicBezTo>
                <a:cubicBezTo>
                  <a:pt x="4634" y="4974"/>
                  <a:pt x="4688" y="4920"/>
                  <a:pt x="4688" y="4854"/>
                </a:cubicBezTo>
                <a:lnTo>
                  <a:pt x="4688" y="2559"/>
                </a:lnTo>
                <a:cubicBezTo>
                  <a:pt x="4688" y="2492"/>
                  <a:pt x="4634" y="2439"/>
                  <a:pt x="4568" y="2439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/>
          <a:p>
            <a:endParaRPr lang="zh-CN" altLang="en-US"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0F247BC-2F4D-4E7B-8717-28AC499BB1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275E5374-8FC9-432F-80BB-F06C6EB372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0FB162EE-409F-4FE3-AB7F-685129893F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0</a:t>
            </a:fld>
            <a:endParaRPr lang="zh-CN" altLang="en-US"/>
          </a:p>
        </p:txBody>
      </p:sp>
      <p:sp>
        <p:nvSpPr>
          <p:cNvPr id="6" name="íŝľíḑè">
            <a:extLst>
              <a:ext uri="{FF2B5EF4-FFF2-40B4-BE49-F238E27FC236}">
                <a16:creationId xmlns:a16="http://schemas.microsoft.com/office/drawing/2014/main" id="{8E690936-DAA5-45BC-8AB8-FF1F95F35C2D}"/>
              </a:ext>
            </a:extLst>
          </p:cNvPr>
          <p:cNvSpPr/>
          <p:nvPr/>
        </p:nvSpPr>
        <p:spPr>
          <a:xfrm>
            <a:off x="7936610" y="6267358"/>
            <a:ext cx="429618" cy="54601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2857" y="34366"/>
                </a:moveTo>
                <a:cubicBezTo>
                  <a:pt x="115000" y="24225"/>
                  <a:pt x="103571" y="25352"/>
                  <a:pt x="100714" y="23661"/>
                </a:cubicBezTo>
                <a:cubicBezTo>
                  <a:pt x="98571" y="19718"/>
                  <a:pt x="91428" y="18591"/>
                  <a:pt x="91428" y="18591"/>
                </a:cubicBezTo>
                <a:cubicBezTo>
                  <a:pt x="91428" y="7323"/>
                  <a:pt x="80000" y="8450"/>
                  <a:pt x="80000" y="8450"/>
                </a:cubicBezTo>
                <a:cubicBezTo>
                  <a:pt x="80000" y="8450"/>
                  <a:pt x="75714" y="0"/>
                  <a:pt x="64285" y="563"/>
                </a:cubicBezTo>
                <a:cubicBezTo>
                  <a:pt x="50000" y="1126"/>
                  <a:pt x="47857" y="12957"/>
                  <a:pt x="47857" y="12957"/>
                </a:cubicBezTo>
                <a:cubicBezTo>
                  <a:pt x="40000" y="12394"/>
                  <a:pt x="38571" y="18591"/>
                  <a:pt x="38571" y="18591"/>
                </a:cubicBezTo>
                <a:cubicBezTo>
                  <a:pt x="23571" y="16338"/>
                  <a:pt x="22142" y="27042"/>
                  <a:pt x="22142" y="27042"/>
                </a:cubicBezTo>
                <a:cubicBezTo>
                  <a:pt x="16428" y="25915"/>
                  <a:pt x="0" y="33239"/>
                  <a:pt x="7142" y="44507"/>
                </a:cubicBezTo>
                <a:cubicBezTo>
                  <a:pt x="15000" y="55774"/>
                  <a:pt x="30714" y="52394"/>
                  <a:pt x="30714" y="52394"/>
                </a:cubicBezTo>
                <a:cubicBezTo>
                  <a:pt x="39285" y="65352"/>
                  <a:pt x="49285" y="56901"/>
                  <a:pt x="51428" y="58591"/>
                </a:cubicBezTo>
                <a:cubicBezTo>
                  <a:pt x="54285" y="60281"/>
                  <a:pt x="57142" y="59718"/>
                  <a:pt x="57142" y="59718"/>
                </a:cubicBezTo>
                <a:cubicBezTo>
                  <a:pt x="57142" y="59718"/>
                  <a:pt x="58571" y="68169"/>
                  <a:pt x="55714" y="75492"/>
                </a:cubicBezTo>
                <a:cubicBezTo>
                  <a:pt x="52857" y="82253"/>
                  <a:pt x="51428" y="92957"/>
                  <a:pt x="51428" y="92957"/>
                </a:cubicBezTo>
                <a:cubicBezTo>
                  <a:pt x="51428" y="92957"/>
                  <a:pt x="43571" y="90704"/>
                  <a:pt x="39285" y="87887"/>
                </a:cubicBezTo>
                <a:cubicBezTo>
                  <a:pt x="35714" y="85633"/>
                  <a:pt x="35714" y="81126"/>
                  <a:pt x="35714" y="81126"/>
                </a:cubicBezTo>
                <a:cubicBezTo>
                  <a:pt x="37142" y="80563"/>
                  <a:pt x="38571" y="78309"/>
                  <a:pt x="38571" y="78309"/>
                </a:cubicBezTo>
                <a:cubicBezTo>
                  <a:pt x="44285" y="81690"/>
                  <a:pt x="49285" y="77183"/>
                  <a:pt x="48571" y="72676"/>
                </a:cubicBezTo>
                <a:cubicBezTo>
                  <a:pt x="48571" y="67605"/>
                  <a:pt x="42857" y="68169"/>
                  <a:pt x="42857" y="68169"/>
                </a:cubicBezTo>
                <a:cubicBezTo>
                  <a:pt x="42857" y="68169"/>
                  <a:pt x="42142" y="65915"/>
                  <a:pt x="40000" y="65352"/>
                </a:cubicBezTo>
                <a:cubicBezTo>
                  <a:pt x="40714" y="61971"/>
                  <a:pt x="35714" y="61408"/>
                  <a:pt x="35714" y="61408"/>
                </a:cubicBezTo>
                <a:cubicBezTo>
                  <a:pt x="35714" y="61408"/>
                  <a:pt x="32857" y="58591"/>
                  <a:pt x="27857" y="58028"/>
                </a:cubicBezTo>
                <a:cubicBezTo>
                  <a:pt x="22857" y="58028"/>
                  <a:pt x="22857" y="63098"/>
                  <a:pt x="22857" y="63098"/>
                </a:cubicBezTo>
                <a:cubicBezTo>
                  <a:pt x="22857" y="63098"/>
                  <a:pt x="18571" y="63098"/>
                  <a:pt x="18571" y="65915"/>
                </a:cubicBezTo>
                <a:cubicBezTo>
                  <a:pt x="13571" y="64225"/>
                  <a:pt x="12142" y="68169"/>
                  <a:pt x="12142" y="68169"/>
                </a:cubicBezTo>
                <a:cubicBezTo>
                  <a:pt x="12142" y="68169"/>
                  <a:pt x="7142" y="68732"/>
                  <a:pt x="5714" y="72676"/>
                </a:cubicBezTo>
                <a:cubicBezTo>
                  <a:pt x="5000" y="77746"/>
                  <a:pt x="12857" y="79436"/>
                  <a:pt x="15000" y="78873"/>
                </a:cubicBezTo>
                <a:cubicBezTo>
                  <a:pt x="15000" y="81690"/>
                  <a:pt x="27142" y="82816"/>
                  <a:pt x="29285" y="82253"/>
                </a:cubicBezTo>
                <a:cubicBezTo>
                  <a:pt x="31428" y="87323"/>
                  <a:pt x="50000" y="95774"/>
                  <a:pt x="50000" y="95774"/>
                </a:cubicBezTo>
                <a:cubicBezTo>
                  <a:pt x="50000" y="95774"/>
                  <a:pt x="50714" y="103661"/>
                  <a:pt x="50000" y="108732"/>
                </a:cubicBezTo>
                <a:cubicBezTo>
                  <a:pt x="49285" y="113802"/>
                  <a:pt x="50000" y="116056"/>
                  <a:pt x="47857" y="117746"/>
                </a:cubicBezTo>
                <a:cubicBezTo>
                  <a:pt x="45000" y="119436"/>
                  <a:pt x="40000" y="119436"/>
                  <a:pt x="37857" y="119999"/>
                </a:cubicBezTo>
                <a:cubicBezTo>
                  <a:pt x="70000" y="119999"/>
                  <a:pt x="70000" y="119999"/>
                  <a:pt x="70000" y="119999"/>
                </a:cubicBezTo>
                <a:cubicBezTo>
                  <a:pt x="69285" y="118873"/>
                  <a:pt x="62857" y="112676"/>
                  <a:pt x="60714" y="101408"/>
                </a:cubicBezTo>
                <a:cubicBezTo>
                  <a:pt x="58571" y="89014"/>
                  <a:pt x="63571" y="79436"/>
                  <a:pt x="65000" y="77746"/>
                </a:cubicBezTo>
                <a:cubicBezTo>
                  <a:pt x="70000" y="70985"/>
                  <a:pt x="76428" y="59154"/>
                  <a:pt x="76428" y="59154"/>
                </a:cubicBezTo>
                <a:cubicBezTo>
                  <a:pt x="85000" y="58028"/>
                  <a:pt x="89285" y="51830"/>
                  <a:pt x="89285" y="51830"/>
                </a:cubicBezTo>
                <a:cubicBezTo>
                  <a:pt x="89285" y="51830"/>
                  <a:pt x="101428" y="56338"/>
                  <a:pt x="109285" y="51830"/>
                </a:cubicBezTo>
                <a:cubicBezTo>
                  <a:pt x="120000" y="44507"/>
                  <a:pt x="112857" y="34366"/>
                  <a:pt x="112857" y="34366"/>
                </a:cubicBezTo>
                <a:close/>
                <a:moveTo>
                  <a:pt x="30714" y="81690"/>
                </a:moveTo>
                <a:cubicBezTo>
                  <a:pt x="32142" y="81690"/>
                  <a:pt x="33571" y="81690"/>
                  <a:pt x="33571" y="81690"/>
                </a:cubicBezTo>
                <a:cubicBezTo>
                  <a:pt x="33571" y="83380"/>
                  <a:pt x="34285" y="85070"/>
                  <a:pt x="34285" y="85070"/>
                </a:cubicBezTo>
                <a:cubicBezTo>
                  <a:pt x="32857" y="83943"/>
                  <a:pt x="30714" y="81690"/>
                  <a:pt x="30714" y="81690"/>
                </a:cubicBezTo>
                <a:close/>
                <a:moveTo>
                  <a:pt x="62857" y="72676"/>
                </a:moveTo>
                <a:cubicBezTo>
                  <a:pt x="62857" y="72676"/>
                  <a:pt x="63571" y="65352"/>
                  <a:pt x="62857" y="60845"/>
                </a:cubicBezTo>
                <a:cubicBezTo>
                  <a:pt x="70714" y="60845"/>
                  <a:pt x="70714" y="60845"/>
                  <a:pt x="70714" y="60845"/>
                </a:cubicBezTo>
                <a:cubicBezTo>
                  <a:pt x="70714" y="60845"/>
                  <a:pt x="68571" y="67605"/>
                  <a:pt x="62857" y="72676"/>
                </a:cubicBezTo>
                <a:close/>
                <a:moveTo>
                  <a:pt x="70714" y="119999"/>
                </a:moveTo>
                <a:cubicBezTo>
                  <a:pt x="70000" y="119999"/>
                  <a:pt x="70000" y="119999"/>
                  <a:pt x="70000" y="119999"/>
                </a:cubicBezTo>
                <a:cubicBezTo>
                  <a:pt x="70000" y="119999"/>
                  <a:pt x="70714" y="119999"/>
                  <a:pt x="70714" y="119999"/>
                </a:cubicBezTo>
                <a:close/>
                <a:moveTo>
                  <a:pt x="37857" y="119999"/>
                </a:moveTo>
                <a:cubicBezTo>
                  <a:pt x="37142" y="119999"/>
                  <a:pt x="37142" y="119999"/>
                  <a:pt x="37142" y="119999"/>
                </a:cubicBezTo>
                <a:cubicBezTo>
                  <a:pt x="37142" y="119999"/>
                  <a:pt x="37142" y="119999"/>
                  <a:pt x="37857" y="119999"/>
                </a:cubicBez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lIns="121898" tIns="60941" rIns="121898" bIns="60941" anchor="t" anchorCtr="0">
            <a:noAutofit/>
          </a:bodyPr>
          <a:lstStyle/>
          <a:p>
            <a:pPr>
              <a:buClr>
                <a:srgbClr val="000000"/>
              </a:buClr>
            </a:pPr>
            <a:endParaRPr sz="1200">
              <a:solidFill>
                <a:schemeClr val="dk1"/>
              </a:solidFill>
            </a:endParaRPr>
          </a:p>
        </p:txBody>
      </p:sp>
      <p:sp>
        <p:nvSpPr>
          <p:cNvPr id="42" name="ïŝḻíḑe">
            <a:extLst>
              <a:ext uri="{FF2B5EF4-FFF2-40B4-BE49-F238E27FC236}">
                <a16:creationId xmlns:a16="http://schemas.microsoft.com/office/drawing/2014/main" id="{9E908725-928F-41C1-9A23-5D67B153B969}"/>
              </a:ext>
            </a:extLst>
          </p:cNvPr>
          <p:cNvSpPr/>
          <p:nvPr/>
        </p:nvSpPr>
        <p:spPr>
          <a:xfrm>
            <a:off x="6454416" y="6161546"/>
            <a:ext cx="514270" cy="651832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70447" y="119527"/>
                </a:moveTo>
                <a:cubicBezTo>
                  <a:pt x="70447" y="119527"/>
                  <a:pt x="70447" y="119527"/>
                  <a:pt x="70447" y="119527"/>
                </a:cubicBezTo>
                <a:cubicBezTo>
                  <a:pt x="70447" y="120000"/>
                  <a:pt x="70447" y="120000"/>
                  <a:pt x="70447" y="120000"/>
                </a:cubicBezTo>
                <a:lnTo>
                  <a:pt x="70447" y="119527"/>
                </a:lnTo>
                <a:close/>
                <a:moveTo>
                  <a:pt x="38208" y="119527"/>
                </a:moveTo>
                <a:cubicBezTo>
                  <a:pt x="37611" y="119527"/>
                  <a:pt x="37611" y="119527"/>
                  <a:pt x="37611" y="119527"/>
                </a:cubicBezTo>
                <a:cubicBezTo>
                  <a:pt x="37611" y="119527"/>
                  <a:pt x="37611" y="119527"/>
                  <a:pt x="38208" y="119527"/>
                </a:cubicBezTo>
                <a:close/>
                <a:moveTo>
                  <a:pt x="112835" y="34488"/>
                </a:moveTo>
                <a:cubicBezTo>
                  <a:pt x="114626" y="24094"/>
                  <a:pt x="103283" y="25039"/>
                  <a:pt x="100895" y="23622"/>
                </a:cubicBezTo>
                <a:cubicBezTo>
                  <a:pt x="98507" y="19842"/>
                  <a:pt x="91940" y="18425"/>
                  <a:pt x="91940" y="18425"/>
                </a:cubicBezTo>
                <a:cubicBezTo>
                  <a:pt x="91343" y="7086"/>
                  <a:pt x="80000" y="8503"/>
                  <a:pt x="80000" y="8503"/>
                </a:cubicBezTo>
                <a:cubicBezTo>
                  <a:pt x="80000" y="8503"/>
                  <a:pt x="75820" y="0"/>
                  <a:pt x="64477" y="472"/>
                </a:cubicBezTo>
                <a:cubicBezTo>
                  <a:pt x="50149" y="944"/>
                  <a:pt x="48358" y="12755"/>
                  <a:pt x="48358" y="12755"/>
                </a:cubicBezTo>
                <a:cubicBezTo>
                  <a:pt x="40000" y="12755"/>
                  <a:pt x="38805" y="18897"/>
                  <a:pt x="38805" y="18897"/>
                </a:cubicBezTo>
                <a:cubicBezTo>
                  <a:pt x="23880" y="16535"/>
                  <a:pt x="22089" y="26929"/>
                  <a:pt x="22089" y="26929"/>
                </a:cubicBezTo>
                <a:cubicBezTo>
                  <a:pt x="16716" y="25511"/>
                  <a:pt x="0" y="33070"/>
                  <a:pt x="7761" y="44409"/>
                </a:cubicBezTo>
                <a:cubicBezTo>
                  <a:pt x="15522" y="55748"/>
                  <a:pt x="31044" y="51968"/>
                  <a:pt x="31044" y="51968"/>
                </a:cubicBezTo>
                <a:cubicBezTo>
                  <a:pt x="39402" y="65196"/>
                  <a:pt x="49552" y="57165"/>
                  <a:pt x="51940" y="58582"/>
                </a:cubicBezTo>
                <a:cubicBezTo>
                  <a:pt x="54328" y="60000"/>
                  <a:pt x="57313" y="59527"/>
                  <a:pt x="57313" y="59527"/>
                </a:cubicBezTo>
                <a:cubicBezTo>
                  <a:pt x="57313" y="59527"/>
                  <a:pt x="58507" y="68503"/>
                  <a:pt x="56119" y="75590"/>
                </a:cubicBezTo>
                <a:cubicBezTo>
                  <a:pt x="53134" y="82677"/>
                  <a:pt x="51343" y="93070"/>
                  <a:pt x="51343" y="93070"/>
                </a:cubicBezTo>
                <a:cubicBezTo>
                  <a:pt x="51343" y="93070"/>
                  <a:pt x="43582" y="90708"/>
                  <a:pt x="40000" y="87874"/>
                </a:cubicBezTo>
                <a:cubicBezTo>
                  <a:pt x="35820" y="85511"/>
                  <a:pt x="35820" y="80787"/>
                  <a:pt x="35820" y="80787"/>
                </a:cubicBezTo>
                <a:cubicBezTo>
                  <a:pt x="37611" y="80787"/>
                  <a:pt x="38805" y="78425"/>
                  <a:pt x="38805" y="78425"/>
                </a:cubicBezTo>
                <a:cubicBezTo>
                  <a:pt x="44179" y="81259"/>
                  <a:pt x="49552" y="77007"/>
                  <a:pt x="48955" y="72283"/>
                </a:cubicBezTo>
                <a:cubicBezTo>
                  <a:pt x="48955" y="67559"/>
                  <a:pt x="42985" y="68031"/>
                  <a:pt x="42985" y="68031"/>
                </a:cubicBezTo>
                <a:cubicBezTo>
                  <a:pt x="42985" y="68031"/>
                  <a:pt x="42985" y="65669"/>
                  <a:pt x="40000" y="65669"/>
                </a:cubicBezTo>
                <a:cubicBezTo>
                  <a:pt x="40597" y="61889"/>
                  <a:pt x="35820" y="61417"/>
                  <a:pt x="35820" y="61417"/>
                </a:cubicBezTo>
                <a:cubicBezTo>
                  <a:pt x="35820" y="61417"/>
                  <a:pt x="33432" y="58582"/>
                  <a:pt x="28059" y="58110"/>
                </a:cubicBezTo>
                <a:cubicBezTo>
                  <a:pt x="23283" y="57637"/>
                  <a:pt x="23283" y="63307"/>
                  <a:pt x="23283" y="63307"/>
                </a:cubicBezTo>
                <a:cubicBezTo>
                  <a:pt x="23283" y="63307"/>
                  <a:pt x="19104" y="62834"/>
                  <a:pt x="18507" y="65669"/>
                </a:cubicBezTo>
                <a:cubicBezTo>
                  <a:pt x="14328" y="64251"/>
                  <a:pt x="12537" y="68503"/>
                  <a:pt x="12537" y="68503"/>
                </a:cubicBezTo>
                <a:cubicBezTo>
                  <a:pt x="12537" y="68503"/>
                  <a:pt x="7164" y="68976"/>
                  <a:pt x="5970" y="72755"/>
                </a:cubicBezTo>
                <a:cubicBezTo>
                  <a:pt x="5373" y="77480"/>
                  <a:pt x="13134" y="79370"/>
                  <a:pt x="14925" y="78897"/>
                </a:cubicBezTo>
                <a:cubicBezTo>
                  <a:pt x="14925" y="81732"/>
                  <a:pt x="27462" y="82677"/>
                  <a:pt x="29253" y="82204"/>
                </a:cubicBezTo>
                <a:cubicBezTo>
                  <a:pt x="32238" y="87401"/>
                  <a:pt x="50746" y="95905"/>
                  <a:pt x="50746" y="95905"/>
                </a:cubicBezTo>
                <a:cubicBezTo>
                  <a:pt x="50746" y="95905"/>
                  <a:pt x="50746" y="103464"/>
                  <a:pt x="50149" y="108661"/>
                </a:cubicBezTo>
                <a:cubicBezTo>
                  <a:pt x="48955" y="113385"/>
                  <a:pt x="50746" y="115748"/>
                  <a:pt x="47761" y="118110"/>
                </a:cubicBezTo>
                <a:cubicBezTo>
                  <a:pt x="45373" y="119527"/>
                  <a:pt x="40000" y="119527"/>
                  <a:pt x="38208" y="119527"/>
                </a:cubicBezTo>
                <a:cubicBezTo>
                  <a:pt x="70447" y="119527"/>
                  <a:pt x="70447" y="119527"/>
                  <a:pt x="70447" y="119527"/>
                </a:cubicBezTo>
                <a:cubicBezTo>
                  <a:pt x="69253" y="118582"/>
                  <a:pt x="62686" y="112913"/>
                  <a:pt x="60895" y="101574"/>
                </a:cubicBezTo>
                <a:cubicBezTo>
                  <a:pt x="58507" y="89291"/>
                  <a:pt x="63880" y="79370"/>
                  <a:pt x="65074" y="77952"/>
                </a:cubicBezTo>
                <a:cubicBezTo>
                  <a:pt x="70447" y="70866"/>
                  <a:pt x="77014" y="59055"/>
                  <a:pt x="77014" y="59055"/>
                </a:cubicBezTo>
                <a:cubicBezTo>
                  <a:pt x="85373" y="57637"/>
                  <a:pt x="89552" y="51968"/>
                  <a:pt x="89552" y="51968"/>
                </a:cubicBezTo>
                <a:cubicBezTo>
                  <a:pt x="89552" y="51968"/>
                  <a:pt x="101492" y="56220"/>
                  <a:pt x="109253" y="51496"/>
                </a:cubicBezTo>
                <a:cubicBezTo>
                  <a:pt x="120000" y="44409"/>
                  <a:pt x="112835" y="34488"/>
                  <a:pt x="112835" y="34488"/>
                </a:cubicBezTo>
                <a:close/>
                <a:moveTo>
                  <a:pt x="31044" y="81732"/>
                </a:moveTo>
                <a:cubicBezTo>
                  <a:pt x="32238" y="81732"/>
                  <a:pt x="34029" y="81732"/>
                  <a:pt x="34029" y="81732"/>
                </a:cubicBezTo>
                <a:cubicBezTo>
                  <a:pt x="33432" y="83149"/>
                  <a:pt x="34626" y="85039"/>
                  <a:pt x="34626" y="85039"/>
                </a:cubicBezTo>
                <a:cubicBezTo>
                  <a:pt x="32835" y="83622"/>
                  <a:pt x="31044" y="81732"/>
                  <a:pt x="31044" y="81732"/>
                </a:cubicBezTo>
                <a:close/>
                <a:moveTo>
                  <a:pt x="62686" y="72283"/>
                </a:moveTo>
                <a:cubicBezTo>
                  <a:pt x="62686" y="72283"/>
                  <a:pt x="63880" y="65196"/>
                  <a:pt x="63283" y="60944"/>
                </a:cubicBezTo>
                <a:cubicBezTo>
                  <a:pt x="71044" y="60944"/>
                  <a:pt x="71044" y="60944"/>
                  <a:pt x="71044" y="60944"/>
                </a:cubicBezTo>
                <a:cubicBezTo>
                  <a:pt x="71044" y="60944"/>
                  <a:pt x="68656" y="67559"/>
                  <a:pt x="62686" y="72283"/>
                </a:cubicBez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lIns="121898" tIns="60941" rIns="121898" bIns="60941" anchor="t" anchorCtr="0">
            <a:noAutofit/>
          </a:bodyPr>
          <a:lstStyle/>
          <a:p>
            <a:pPr>
              <a:buClr>
                <a:srgbClr val="000000"/>
              </a:buClr>
            </a:pPr>
            <a:endParaRPr sz="1200">
              <a:solidFill>
                <a:schemeClr val="dk1"/>
              </a:solidFill>
            </a:endParaRPr>
          </a:p>
        </p:txBody>
      </p:sp>
      <p:sp>
        <p:nvSpPr>
          <p:cNvPr id="46" name="iṥḻîdé">
            <a:extLst>
              <a:ext uri="{FF2B5EF4-FFF2-40B4-BE49-F238E27FC236}">
                <a16:creationId xmlns:a16="http://schemas.microsoft.com/office/drawing/2014/main" id="{4DF3B86E-611A-49BA-82F0-27902789A8BF}"/>
              </a:ext>
            </a:extLst>
          </p:cNvPr>
          <p:cNvSpPr/>
          <p:nvPr/>
        </p:nvSpPr>
        <p:spPr>
          <a:xfrm>
            <a:off x="1856669" y="6002822"/>
            <a:ext cx="641252" cy="81056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70560" y="119620"/>
                </a:moveTo>
                <a:cubicBezTo>
                  <a:pt x="70080" y="119620"/>
                  <a:pt x="70080" y="119620"/>
                  <a:pt x="70080" y="119620"/>
                </a:cubicBezTo>
                <a:cubicBezTo>
                  <a:pt x="70080" y="120000"/>
                  <a:pt x="70560" y="120000"/>
                  <a:pt x="70560" y="120000"/>
                </a:cubicBezTo>
                <a:lnTo>
                  <a:pt x="70560" y="119620"/>
                </a:lnTo>
                <a:close/>
                <a:moveTo>
                  <a:pt x="37920" y="119620"/>
                </a:moveTo>
                <a:cubicBezTo>
                  <a:pt x="36960" y="119620"/>
                  <a:pt x="36960" y="119620"/>
                  <a:pt x="36960" y="119620"/>
                </a:cubicBezTo>
                <a:cubicBezTo>
                  <a:pt x="36960" y="119620"/>
                  <a:pt x="37440" y="119620"/>
                  <a:pt x="37920" y="119620"/>
                </a:cubicBezTo>
                <a:close/>
                <a:moveTo>
                  <a:pt x="112800" y="34556"/>
                </a:moveTo>
                <a:cubicBezTo>
                  <a:pt x="114720" y="24303"/>
                  <a:pt x="103200" y="25063"/>
                  <a:pt x="100800" y="23924"/>
                </a:cubicBezTo>
                <a:cubicBezTo>
                  <a:pt x="98400" y="19746"/>
                  <a:pt x="91680" y="18607"/>
                  <a:pt x="91680" y="18607"/>
                </a:cubicBezTo>
                <a:cubicBezTo>
                  <a:pt x="91680" y="7215"/>
                  <a:pt x="80160" y="8354"/>
                  <a:pt x="80160" y="8354"/>
                </a:cubicBezTo>
                <a:cubicBezTo>
                  <a:pt x="80160" y="8354"/>
                  <a:pt x="75360" y="0"/>
                  <a:pt x="64320" y="379"/>
                </a:cubicBezTo>
                <a:cubicBezTo>
                  <a:pt x="49920" y="759"/>
                  <a:pt x="48000" y="12911"/>
                  <a:pt x="48000" y="12911"/>
                </a:cubicBezTo>
                <a:cubicBezTo>
                  <a:pt x="39840" y="12531"/>
                  <a:pt x="38880" y="18607"/>
                  <a:pt x="38880" y="18607"/>
                </a:cubicBezTo>
                <a:cubicBezTo>
                  <a:pt x="24000" y="16329"/>
                  <a:pt x="22080" y="26962"/>
                  <a:pt x="22080" y="26962"/>
                </a:cubicBezTo>
                <a:cubicBezTo>
                  <a:pt x="16320" y="25822"/>
                  <a:pt x="0" y="33037"/>
                  <a:pt x="7680" y="44430"/>
                </a:cubicBezTo>
                <a:cubicBezTo>
                  <a:pt x="14880" y="55443"/>
                  <a:pt x="30720" y="52025"/>
                  <a:pt x="30720" y="52025"/>
                </a:cubicBezTo>
                <a:cubicBezTo>
                  <a:pt x="38880" y="65316"/>
                  <a:pt x="49440" y="56962"/>
                  <a:pt x="51840" y="58481"/>
                </a:cubicBezTo>
                <a:cubicBezTo>
                  <a:pt x="54240" y="60000"/>
                  <a:pt x="57600" y="59620"/>
                  <a:pt x="57600" y="59620"/>
                </a:cubicBezTo>
                <a:cubicBezTo>
                  <a:pt x="57600" y="59620"/>
                  <a:pt x="58080" y="68354"/>
                  <a:pt x="55680" y="75569"/>
                </a:cubicBezTo>
                <a:cubicBezTo>
                  <a:pt x="53280" y="82405"/>
                  <a:pt x="51360" y="93037"/>
                  <a:pt x="51360" y="93037"/>
                </a:cubicBezTo>
                <a:cubicBezTo>
                  <a:pt x="51360" y="93037"/>
                  <a:pt x="43680" y="90379"/>
                  <a:pt x="39840" y="88101"/>
                </a:cubicBezTo>
                <a:cubicBezTo>
                  <a:pt x="35520" y="85822"/>
                  <a:pt x="35520" y="80886"/>
                  <a:pt x="35520" y="80886"/>
                </a:cubicBezTo>
                <a:cubicBezTo>
                  <a:pt x="37440" y="80886"/>
                  <a:pt x="38880" y="78227"/>
                  <a:pt x="38880" y="78227"/>
                </a:cubicBezTo>
                <a:cubicBezTo>
                  <a:pt x="44160" y="81265"/>
                  <a:pt x="48960" y="77088"/>
                  <a:pt x="48960" y="72531"/>
                </a:cubicBezTo>
                <a:cubicBezTo>
                  <a:pt x="48480" y="67594"/>
                  <a:pt x="43200" y="67974"/>
                  <a:pt x="43200" y="67974"/>
                </a:cubicBezTo>
                <a:cubicBezTo>
                  <a:pt x="43200" y="67974"/>
                  <a:pt x="42720" y="66075"/>
                  <a:pt x="39840" y="65316"/>
                </a:cubicBezTo>
                <a:cubicBezTo>
                  <a:pt x="40320" y="61518"/>
                  <a:pt x="35520" y="61518"/>
                  <a:pt x="35520" y="61518"/>
                </a:cubicBezTo>
                <a:cubicBezTo>
                  <a:pt x="35520" y="61518"/>
                  <a:pt x="33120" y="58481"/>
                  <a:pt x="28320" y="58101"/>
                </a:cubicBezTo>
                <a:cubicBezTo>
                  <a:pt x="23040" y="57721"/>
                  <a:pt x="23040" y="63417"/>
                  <a:pt x="23040" y="63417"/>
                </a:cubicBezTo>
                <a:cubicBezTo>
                  <a:pt x="23040" y="63417"/>
                  <a:pt x="18720" y="63037"/>
                  <a:pt x="18240" y="65696"/>
                </a:cubicBezTo>
                <a:cubicBezTo>
                  <a:pt x="13920" y="64177"/>
                  <a:pt x="12000" y="68354"/>
                  <a:pt x="12000" y="68354"/>
                </a:cubicBezTo>
                <a:cubicBezTo>
                  <a:pt x="12000" y="68354"/>
                  <a:pt x="7200" y="68734"/>
                  <a:pt x="6240" y="72911"/>
                </a:cubicBezTo>
                <a:cubicBezTo>
                  <a:pt x="5280" y="77848"/>
                  <a:pt x="12960" y="79367"/>
                  <a:pt x="14880" y="78607"/>
                </a:cubicBezTo>
                <a:cubicBezTo>
                  <a:pt x="14880" y="82025"/>
                  <a:pt x="27360" y="82784"/>
                  <a:pt x="29280" y="82025"/>
                </a:cubicBezTo>
                <a:cubicBezTo>
                  <a:pt x="31680" y="87341"/>
                  <a:pt x="50400" y="96075"/>
                  <a:pt x="50400" y="96075"/>
                </a:cubicBezTo>
                <a:cubicBezTo>
                  <a:pt x="50400" y="96075"/>
                  <a:pt x="50400" y="103670"/>
                  <a:pt x="49920" y="108607"/>
                </a:cubicBezTo>
                <a:cubicBezTo>
                  <a:pt x="48960" y="113544"/>
                  <a:pt x="50400" y="115822"/>
                  <a:pt x="47520" y="117721"/>
                </a:cubicBezTo>
                <a:cubicBezTo>
                  <a:pt x="45600" y="119620"/>
                  <a:pt x="40320" y="119620"/>
                  <a:pt x="37920" y="119620"/>
                </a:cubicBezTo>
                <a:cubicBezTo>
                  <a:pt x="70080" y="119620"/>
                  <a:pt x="70080" y="119620"/>
                  <a:pt x="70080" y="119620"/>
                </a:cubicBezTo>
                <a:cubicBezTo>
                  <a:pt x="69120" y="118860"/>
                  <a:pt x="62880" y="112784"/>
                  <a:pt x="60480" y="101392"/>
                </a:cubicBezTo>
                <a:cubicBezTo>
                  <a:pt x="58560" y="89240"/>
                  <a:pt x="63360" y="79367"/>
                  <a:pt x="64800" y="77848"/>
                </a:cubicBezTo>
                <a:cubicBezTo>
                  <a:pt x="70080" y="71012"/>
                  <a:pt x="76800" y="59240"/>
                  <a:pt x="76800" y="59240"/>
                </a:cubicBezTo>
                <a:cubicBezTo>
                  <a:pt x="84960" y="57721"/>
                  <a:pt x="89760" y="51645"/>
                  <a:pt x="89760" y="51645"/>
                </a:cubicBezTo>
                <a:cubicBezTo>
                  <a:pt x="89760" y="51645"/>
                  <a:pt x="101280" y="56582"/>
                  <a:pt x="109440" y="51645"/>
                </a:cubicBezTo>
                <a:cubicBezTo>
                  <a:pt x="120000" y="44430"/>
                  <a:pt x="112800" y="34556"/>
                  <a:pt x="112800" y="34556"/>
                </a:cubicBezTo>
                <a:close/>
                <a:moveTo>
                  <a:pt x="30720" y="81645"/>
                </a:moveTo>
                <a:cubicBezTo>
                  <a:pt x="31680" y="81645"/>
                  <a:pt x="33600" y="81645"/>
                  <a:pt x="33600" y="81645"/>
                </a:cubicBezTo>
                <a:cubicBezTo>
                  <a:pt x="33600" y="83164"/>
                  <a:pt x="34560" y="85063"/>
                  <a:pt x="34560" y="85063"/>
                </a:cubicBezTo>
                <a:cubicBezTo>
                  <a:pt x="32640" y="83544"/>
                  <a:pt x="30720" y="81645"/>
                  <a:pt x="30720" y="81645"/>
                </a:cubicBezTo>
                <a:close/>
                <a:moveTo>
                  <a:pt x="62880" y="72531"/>
                </a:moveTo>
                <a:cubicBezTo>
                  <a:pt x="62880" y="72531"/>
                  <a:pt x="63840" y="64936"/>
                  <a:pt x="63360" y="61139"/>
                </a:cubicBezTo>
                <a:cubicBezTo>
                  <a:pt x="70560" y="61139"/>
                  <a:pt x="70560" y="61139"/>
                  <a:pt x="70560" y="61139"/>
                </a:cubicBezTo>
                <a:cubicBezTo>
                  <a:pt x="70560" y="61139"/>
                  <a:pt x="68640" y="67594"/>
                  <a:pt x="62880" y="72531"/>
                </a:cubicBez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lIns="121898" tIns="60941" rIns="121898" bIns="60941" anchor="t" anchorCtr="0">
            <a:noAutofit/>
          </a:bodyPr>
          <a:lstStyle/>
          <a:p>
            <a:pPr>
              <a:buClr>
                <a:srgbClr val="000000"/>
              </a:buClr>
            </a:pPr>
            <a:endParaRPr sz="1200">
              <a:solidFill>
                <a:schemeClr val="dk1"/>
              </a:solidFill>
            </a:endParaRPr>
          </a:p>
        </p:txBody>
      </p:sp>
      <p:sp>
        <p:nvSpPr>
          <p:cNvPr id="52" name="îS1ïde">
            <a:extLst>
              <a:ext uri="{FF2B5EF4-FFF2-40B4-BE49-F238E27FC236}">
                <a16:creationId xmlns:a16="http://schemas.microsoft.com/office/drawing/2014/main" id="{E6584C6C-ACCD-47EB-9DCA-36003971BCFB}"/>
              </a:ext>
            </a:extLst>
          </p:cNvPr>
          <p:cNvSpPr/>
          <p:nvPr/>
        </p:nvSpPr>
        <p:spPr>
          <a:xfrm>
            <a:off x="6862115" y="6002822"/>
            <a:ext cx="641252" cy="81056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70560" y="119620"/>
                </a:moveTo>
                <a:cubicBezTo>
                  <a:pt x="70080" y="119620"/>
                  <a:pt x="70080" y="119620"/>
                  <a:pt x="70080" y="119620"/>
                </a:cubicBezTo>
                <a:cubicBezTo>
                  <a:pt x="70560" y="120000"/>
                  <a:pt x="70560" y="120000"/>
                  <a:pt x="70560" y="120000"/>
                </a:cubicBezTo>
                <a:lnTo>
                  <a:pt x="70560" y="119620"/>
                </a:lnTo>
                <a:close/>
                <a:moveTo>
                  <a:pt x="37920" y="119620"/>
                </a:moveTo>
                <a:cubicBezTo>
                  <a:pt x="37440" y="119620"/>
                  <a:pt x="37440" y="119620"/>
                  <a:pt x="37440" y="119620"/>
                </a:cubicBezTo>
                <a:cubicBezTo>
                  <a:pt x="37440" y="119620"/>
                  <a:pt x="37440" y="119620"/>
                  <a:pt x="37920" y="119620"/>
                </a:cubicBezTo>
                <a:close/>
                <a:moveTo>
                  <a:pt x="112800" y="34556"/>
                </a:moveTo>
                <a:cubicBezTo>
                  <a:pt x="114720" y="24303"/>
                  <a:pt x="103200" y="25063"/>
                  <a:pt x="100800" y="23924"/>
                </a:cubicBezTo>
                <a:cubicBezTo>
                  <a:pt x="98400" y="19746"/>
                  <a:pt x="91680" y="18607"/>
                  <a:pt x="91680" y="18607"/>
                </a:cubicBezTo>
                <a:cubicBezTo>
                  <a:pt x="91680" y="7215"/>
                  <a:pt x="80160" y="8354"/>
                  <a:pt x="80160" y="8354"/>
                </a:cubicBezTo>
                <a:cubicBezTo>
                  <a:pt x="80160" y="8354"/>
                  <a:pt x="75360" y="0"/>
                  <a:pt x="64320" y="379"/>
                </a:cubicBezTo>
                <a:cubicBezTo>
                  <a:pt x="49920" y="759"/>
                  <a:pt x="48000" y="12911"/>
                  <a:pt x="48000" y="12911"/>
                </a:cubicBezTo>
                <a:cubicBezTo>
                  <a:pt x="39840" y="12531"/>
                  <a:pt x="38880" y="18607"/>
                  <a:pt x="38880" y="18607"/>
                </a:cubicBezTo>
                <a:cubicBezTo>
                  <a:pt x="24000" y="16329"/>
                  <a:pt x="22080" y="26962"/>
                  <a:pt x="22080" y="26962"/>
                </a:cubicBezTo>
                <a:cubicBezTo>
                  <a:pt x="16800" y="25822"/>
                  <a:pt x="0" y="33037"/>
                  <a:pt x="7680" y="44430"/>
                </a:cubicBezTo>
                <a:cubicBezTo>
                  <a:pt x="15360" y="55443"/>
                  <a:pt x="30720" y="52025"/>
                  <a:pt x="30720" y="52025"/>
                </a:cubicBezTo>
                <a:cubicBezTo>
                  <a:pt x="39360" y="65316"/>
                  <a:pt x="49440" y="56962"/>
                  <a:pt x="51840" y="58481"/>
                </a:cubicBezTo>
                <a:cubicBezTo>
                  <a:pt x="54240" y="60000"/>
                  <a:pt x="57600" y="59620"/>
                  <a:pt x="57600" y="59620"/>
                </a:cubicBezTo>
                <a:cubicBezTo>
                  <a:pt x="57600" y="59620"/>
                  <a:pt x="58560" y="68354"/>
                  <a:pt x="55680" y="75569"/>
                </a:cubicBezTo>
                <a:cubicBezTo>
                  <a:pt x="53280" y="82405"/>
                  <a:pt x="51360" y="93037"/>
                  <a:pt x="51360" y="93037"/>
                </a:cubicBezTo>
                <a:cubicBezTo>
                  <a:pt x="51360" y="93037"/>
                  <a:pt x="43680" y="90379"/>
                  <a:pt x="39840" y="88101"/>
                </a:cubicBezTo>
                <a:cubicBezTo>
                  <a:pt x="35520" y="85822"/>
                  <a:pt x="36000" y="80886"/>
                  <a:pt x="36000" y="80886"/>
                </a:cubicBezTo>
                <a:cubicBezTo>
                  <a:pt x="37440" y="80886"/>
                  <a:pt x="38880" y="78227"/>
                  <a:pt x="38880" y="78227"/>
                </a:cubicBezTo>
                <a:cubicBezTo>
                  <a:pt x="44160" y="81265"/>
                  <a:pt x="48960" y="77088"/>
                  <a:pt x="48960" y="72531"/>
                </a:cubicBezTo>
                <a:cubicBezTo>
                  <a:pt x="48480" y="67594"/>
                  <a:pt x="43200" y="67974"/>
                  <a:pt x="43200" y="67974"/>
                </a:cubicBezTo>
                <a:cubicBezTo>
                  <a:pt x="43200" y="67974"/>
                  <a:pt x="42720" y="66075"/>
                  <a:pt x="39840" y="65316"/>
                </a:cubicBezTo>
                <a:cubicBezTo>
                  <a:pt x="40800" y="61518"/>
                  <a:pt x="35520" y="61518"/>
                  <a:pt x="35520" y="61518"/>
                </a:cubicBezTo>
                <a:cubicBezTo>
                  <a:pt x="35520" y="61518"/>
                  <a:pt x="33120" y="58481"/>
                  <a:pt x="28320" y="58101"/>
                </a:cubicBezTo>
                <a:cubicBezTo>
                  <a:pt x="23040" y="57721"/>
                  <a:pt x="23040" y="63417"/>
                  <a:pt x="23040" y="63417"/>
                </a:cubicBezTo>
                <a:cubicBezTo>
                  <a:pt x="23040" y="63417"/>
                  <a:pt x="18720" y="63037"/>
                  <a:pt x="18240" y="65696"/>
                </a:cubicBezTo>
                <a:cubicBezTo>
                  <a:pt x="13920" y="64177"/>
                  <a:pt x="12480" y="68354"/>
                  <a:pt x="12480" y="68354"/>
                </a:cubicBezTo>
                <a:cubicBezTo>
                  <a:pt x="12480" y="68354"/>
                  <a:pt x="7200" y="68734"/>
                  <a:pt x="6240" y="72911"/>
                </a:cubicBezTo>
                <a:cubicBezTo>
                  <a:pt x="5280" y="77848"/>
                  <a:pt x="12960" y="79367"/>
                  <a:pt x="14880" y="78607"/>
                </a:cubicBezTo>
                <a:cubicBezTo>
                  <a:pt x="14880" y="82025"/>
                  <a:pt x="27360" y="82784"/>
                  <a:pt x="29280" y="82025"/>
                </a:cubicBezTo>
                <a:cubicBezTo>
                  <a:pt x="31680" y="87341"/>
                  <a:pt x="50400" y="96075"/>
                  <a:pt x="50400" y="96075"/>
                </a:cubicBezTo>
                <a:cubicBezTo>
                  <a:pt x="50400" y="96075"/>
                  <a:pt x="50880" y="103670"/>
                  <a:pt x="49920" y="108607"/>
                </a:cubicBezTo>
                <a:cubicBezTo>
                  <a:pt x="48960" y="113544"/>
                  <a:pt x="50400" y="115822"/>
                  <a:pt x="47520" y="117721"/>
                </a:cubicBezTo>
                <a:cubicBezTo>
                  <a:pt x="45600" y="119620"/>
                  <a:pt x="40320" y="119620"/>
                  <a:pt x="37920" y="119620"/>
                </a:cubicBezTo>
                <a:cubicBezTo>
                  <a:pt x="70080" y="119620"/>
                  <a:pt x="70080" y="119620"/>
                  <a:pt x="70080" y="119620"/>
                </a:cubicBezTo>
                <a:cubicBezTo>
                  <a:pt x="69120" y="118860"/>
                  <a:pt x="62880" y="112784"/>
                  <a:pt x="60480" y="101392"/>
                </a:cubicBezTo>
                <a:cubicBezTo>
                  <a:pt x="58560" y="89240"/>
                  <a:pt x="63840" y="79367"/>
                  <a:pt x="64800" y="77848"/>
                </a:cubicBezTo>
                <a:cubicBezTo>
                  <a:pt x="70560" y="71012"/>
                  <a:pt x="76800" y="59240"/>
                  <a:pt x="76800" y="59240"/>
                </a:cubicBezTo>
                <a:cubicBezTo>
                  <a:pt x="84960" y="57721"/>
                  <a:pt x="89760" y="51645"/>
                  <a:pt x="89760" y="51645"/>
                </a:cubicBezTo>
                <a:cubicBezTo>
                  <a:pt x="89760" y="51645"/>
                  <a:pt x="101280" y="56582"/>
                  <a:pt x="109440" y="51645"/>
                </a:cubicBezTo>
                <a:cubicBezTo>
                  <a:pt x="120000" y="44430"/>
                  <a:pt x="112800" y="34556"/>
                  <a:pt x="112800" y="34556"/>
                </a:cubicBezTo>
                <a:close/>
                <a:moveTo>
                  <a:pt x="31200" y="81645"/>
                </a:moveTo>
                <a:cubicBezTo>
                  <a:pt x="32160" y="81645"/>
                  <a:pt x="34080" y="81645"/>
                  <a:pt x="34080" y="81645"/>
                </a:cubicBezTo>
                <a:cubicBezTo>
                  <a:pt x="33600" y="83164"/>
                  <a:pt x="34560" y="85063"/>
                  <a:pt x="34560" y="85063"/>
                </a:cubicBezTo>
                <a:cubicBezTo>
                  <a:pt x="32640" y="83544"/>
                  <a:pt x="31200" y="81645"/>
                  <a:pt x="31200" y="81645"/>
                </a:cubicBezTo>
                <a:close/>
                <a:moveTo>
                  <a:pt x="62880" y="72531"/>
                </a:moveTo>
                <a:cubicBezTo>
                  <a:pt x="62880" y="72531"/>
                  <a:pt x="63840" y="64936"/>
                  <a:pt x="63360" y="61139"/>
                </a:cubicBezTo>
                <a:cubicBezTo>
                  <a:pt x="70560" y="61139"/>
                  <a:pt x="70560" y="61139"/>
                  <a:pt x="70560" y="61139"/>
                </a:cubicBezTo>
                <a:cubicBezTo>
                  <a:pt x="70560" y="61139"/>
                  <a:pt x="68640" y="67594"/>
                  <a:pt x="62880" y="72531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121898" tIns="60941" rIns="121898" bIns="60941" anchor="t" anchorCtr="0">
            <a:noAutofit/>
          </a:bodyPr>
          <a:lstStyle/>
          <a:p>
            <a:pPr>
              <a:buClr>
                <a:srgbClr val="000000"/>
              </a:buClr>
            </a:pPr>
            <a:endParaRPr sz="1200">
              <a:solidFill>
                <a:schemeClr val="dk1"/>
              </a:solidFill>
            </a:endParaRPr>
          </a:p>
        </p:txBody>
      </p:sp>
      <p:sp>
        <p:nvSpPr>
          <p:cNvPr id="53" name="íSľîďe">
            <a:extLst>
              <a:ext uri="{FF2B5EF4-FFF2-40B4-BE49-F238E27FC236}">
                <a16:creationId xmlns:a16="http://schemas.microsoft.com/office/drawing/2014/main" id="{912C9E1A-4A9F-43E4-A369-B098D4E12BCC}"/>
              </a:ext>
            </a:extLst>
          </p:cNvPr>
          <p:cNvSpPr/>
          <p:nvPr/>
        </p:nvSpPr>
        <p:spPr>
          <a:xfrm>
            <a:off x="7380620" y="5717114"/>
            <a:ext cx="867698" cy="1096265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07573" y="68411"/>
                </a:moveTo>
                <a:cubicBezTo>
                  <a:pt x="107573" y="68411"/>
                  <a:pt x="106153" y="64205"/>
                  <a:pt x="101538" y="65607"/>
                </a:cubicBezTo>
                <a:cubicBezTo>
                  <a:pt x="101183" y="63084"/>
                  <a:pt x="96923" y="63364"/>
                  <a:pt x="96923" y="63364"/>
                </a:cubicBezTo>
                <a:cubicBezTo>
                  <a:pt x="96923" y="63364"/>
                  <a:pt x="96923" y="57757"/>
                  <a:pt x="91597" y="58317"/>
                </a:cubicBezTo>
                <a:cubicBezTo>
                  <a:pt x="86627" y="58598"/>
                  <a:pt x="84497" y="61401"/>
                  <a:pt x="84497" y="61401"/>
                </a:cubicBezTo>
                <a:cubicBezTo>
                  <a:pt x="84497" y="61401"/>
                  <a:pt x="79526" y="61682"/>
                  <a:pt x="79881" y="65327"/>
                </a:cubicBezTo>
                <a:cubicBezTo>
                  <a:pt x="77396" y="65887"/>
                  <a:pt x="76686" y="67850"/>
                  <a:pt x="76686" y="67850"/>
                </a:cubicBezTo>
                <a:cubicBezTo>
                  <a:pt x="76686" y="67850"/>
                  <a:pt x="71360" y="67850"/>
                  <a:pt x="71005" y="72616"/>
                </a:cubicBezTo>
                <a:cubicBezTo>
                  <a:pt x="70650" y="77383"/>
                  <a:pt x="75621" y="81588"/>
                  <a:pt x="80946" y="78504"/>
                </a:cubicBezTo>
                <a:cubicBezTo>
                  <a:pt x="80946" y="78504"/>
                  <a:pt x="82366" y="80747"/>
                  <a:pt x="84142" y="81028"/>
                </a:cubicBezTo>
                <a:cubicBezTo>
                  <a:pt x="84142" y="81028"/>
                  <a:pt x="84142" y="85794"/>
                  <a:pt x="80236" y="88037"/>
                </a:cubicBezTo>
                <a:cubicBezTo>
                  <a:pt x="76331" y="90560"/>
                  <a:pt x="68520" y="92803"/>
                  <a:pt x="68520" y="92803"/>
                </a:cubicBezTo>
                <a:cubicBezTo>
                  <a:pt x="68520" y="92803"/>
                  <a:pt x="66745" y="82429"/>
                  <a:pt x="64260" y="75420"/>
                </a:cubicBezTo>
                <a:cubicBezTo>
                  <a:pt x="61420" y="68411"/>
                  <a:pt x="62485" y="59719"/>
                  <a:pt x="62485" y="59719"/>
                </a:cubicBezTo>
                <a:cubicBezTo>
                  <a:pt x="62485" y="59719"/>
                  <a:pt x="65680" y="60000"/>
                  <a:pt x="68165" y="58598"/>
                </a:cubicBezTo>
                <a:cubicBezTo>
                  <a:pt x="70650" y="57196"/>
                  <a:pt x="80946" y="65327"/>
                  <a:pt x="89112" y="52149"/>
                </a:cubicBezTo>
                <a:cubicBezTo>
                  <a:pt x="89112" y="52149"/>
                  <a:pt x="104733" y="55514"/>
                  <a:pt x="112544" y="44299"/>
                </a:cubicBezTo>
                <a:cubicBezTo>
                  <a:pt x="120000" y="33084"/>
                  <a:pt x="103313" y="25794"/>
                  <a:pt x="97988" y="26915"/>
                </a:cubicBezTo>
                <a:cubicBezTo>
                  <a:pt x="97988" y="26915"/>
                  <a:pt x="96213" y="16542"/>
                  <a:pt x="81301" y="18785"/>
                </a:cubicBezTo>
                <a:cubicBezTo>
                  <a:pt x="81301" y="18785"/>
                  <a:pt x="79881" y="12616"/>
                  <a:pt x="72071" y="12897"/>
                </a:cubicBezTo>
                <a:cubicBezTo>
                  <a:pt x="72071" y="12897"/>
                  <a:pt x="70295" y="841"/>
                  <a:pt x="55739" y="280"/>
                </a:cubicBezTo>
                <a:cubicBezTo>
                  <a:pt x="44378" y="0"/>
                  <a:pt x="39763" y="8411"/>
                  <a:pt x="39763" y="8411"/>
                </a:cubicBezTo>
                <a:cubicBezTo>
                  <a:pt x="39763" y="8411"/>
                  <a:pt x="28402" y="7289"/>
                  <a:pt x="28047" y="18504"/>
                </a:cubicBezTo>
                <a:cubicBezTo>
                  <a:pt x="28047" y="18504"/>
                  <a:pt x="21301" y="19906"/>
                  <a:pt x="18816" y="23831"/>
                </a:cubicBezTo>
                <a:cubicBezTo>
                  <a:pt x="16331" y="25233"/>
                  <a:pt x="4970" y="24392"/>
                  <a:pt x="7100" y="34485"/>
                </a:cubicBezTo>
                <a:cubicBezTo>
                  <a:pt x="7100" y="34485"/>
                  <a:pt x="0" y="44299"/>
                  <a:pt x="10295" y="51588"/>
                </a:cubicBezTo>
                <a:cubicBezTo>
                  <a:pt x="18461" y="56355"/>
                  <a:pt x="30177" y="51869"/>
                  <a:pt x="30177" y="51869"/>
                </a:cubicBezTo>
                <a:cubicBezTo>
                  <a:pt x="30177" y="51869"/>
                  <a:pt x="34792" y="57757"/>
                  <a:pt x="43313" y="59158"/>
                </a:cubicBezTo>
                <a:cubicBezTo>
                  <a:pt x="43313" y="59158"/>
                  <a:pt x="49349" y="70934"/>
                  <a:pt x="55029" y="77943"/>
                </a:cubicBezTo>
                <a:cubicBezTo>
                  <a:pt x="56094" y="79345"/>
                  <a:pt x="61420" y="89158"/>
                  <a:pt x="59289" y="101495"/>
                </a:cubicBezTo>
                <a:cubicBezTo>
                  <a:pt x="57159" y="112710"/>
                  <a:pt x="50769" y="118878"/>
                  <a:pt x="49704" y="119719"/>
                </a:cubicBezTo>
                <a:cubicBezTo>
                  <a:pt x="82011" y="119719"/>
                  <a:pt x="82011" y="119719"/>
                  <a:pt x="82011" y="119719"/>
                </a:cubicBezTo>
                <a:cubicBezTo>
                  <a:pt x="79881" y="119719"/>
                  <a:pt x="74556" y="119439"/>
                  <a:pt x="72426" y="118037"/>
                </a:cubicBezTo>
                <a:cubicBezTo>
                  <a:pt x="69585" y="115794"/>
                  <a:pt x="71005" y="113551"/>
                  <a:pt x="69940" y="108504"/>
                </a:cubicBezTo>
                <a:cubicBezTo>
                  <a:pt x="69230" y="103457"/>
                  <a:pt x="69585" y="96168"/>
                  <a:pt x="69585" y="96168"/>
                </a:cubicBezTo>
                <a:cubicBezTo>
                  <a:pt x="69585" y="96168"/>
                  <a:pt x="88047" y="87476"/>
                  <a:pt x="90887" y="82149"/>
                </a:cubicBezTo>
                <a:cubicBezTo>
                  <a:pt x="92662" y="82710"/>
                  <a:pt x="105088" y="81869"/>
                  <a:pt x="105088" y="78785"/>
                </a:cubicBezTo>
                <a:cubicBezTo>
                  <a:pt x="107218" y="79626"/>
                  <a:pt x="114674" y="77663"/>
                  <a:pt x="113964" y="72897"/>
                </a:cubicBezTo>
                <a:cubicBezTo>
                  <a:pt x="112899" y="68691"/>
                  <a:pt x="107573" y="68411"/>
                  <a:pt x="107573" y="68411"/>
                </a:cubicBezTo>
                <a:close/>
                <a:moveTo>
                  <a:pt x="49349" y="61121"/>
                </a:moveTo>
                <a:cubicBezTo>
                  <a:pt x="56449" y="60841"/>
                  <a:pt x="56449" y="60841"/>
                  <a:pt x="56449" y="60841"/>
                </a:cubicBezTo>
                <a:cubicBezTo>
                  <a:pt x="56094" y="65046"/>
                  <a:pt x="57159" y="72616"/>
                  <a:pt x="57159" y="72616"/>
                </a:cubicBezTo>
                <a:cubicBezTo>
                  <a:pt x="51479" y="67570"/>
                  <a:pt x="49349" y="61121"/>
                  <a:pt x="49349" y="61121"/>
                </a:cubicBezTo>
                <a:close/>
                <a:moveTo>
                  <a:pt x="85207" y="85233"/>
                </a:moveTo>
                <a:cubicBezTo>
                  <a:pt x="85207" y="85233"/>
                  <a:pt x="86627" y="83271"/>
                  <a:pt x="86272" y="81588"/>
                </a:cubicBezTo>
                <a:cubicBezTo>
                  <a:pt x="86272" y="81588"/>
                  <a:pt x="88047" y="81588"/>
                  <a:pt x="89112" y="81869"/>
                </a:cubicBezTo>
                <a:cubicBezTo>
                  <a:pt x="89112" y="81869"/>
                  <a:pt x="87337" y="83831"/>
                  <a:pt x="85207" y="85233"/>
                </a:cubicBezTo>
                <a:close/>
                <a:moveTo>
                  <a:pt x="82721" y="119719"/>
                </a:moveTo>
                <a:cubicBezTo>
                  <a:pt x="82011" y="119719"/>
                  <a:pt x="82011" y="119719"/>
                  <a:pt x="82011" y="119719"/>
                </a:cubicBezTo>
                <a:cubicBezTo>
                  <a:pt x="82366" y="119719"/>
                  <a:pt x="82721" y="119719"/>
                  <a:pt x="82721" y="119719"/>
                </a:cubicBezTo>
                <a:close/>
                <a:moveTo>
                  <a:pt x="49349" y="120000"/>
                </a:moveTo>
                <a:cubicBezTo>
                  <a:pt x="49349" y="120000"/>
                  <a:pt x="49349" y="120000"/>
                  <a:pt x="49704" y="119719"/>
                </a:cubicBezTo>
                <a:cubicBezTo>
                  <a:pt x="49349" y="119719"/>
                  <a:pt x="49349" y="119719"/>
                  <a:pt x="49349" y="119719"/>
                </a:cubicBezTo>
                <a:lnTo>
                  <a:pt x="49349" y="120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121898" tIns="60941" rIns="121898" bIns="60941" anchor="t" anchorCtr="0">
            <a:noAutofit/>
          </a:bodyPr>
          <a:lstStyle/>
          <a:p>
            <a:pPr>
              <a:buClr>
                <a:srgbClr val="000000"/>
              </a:buClr>
            </a:pPr>
            <a:endParaRPr sz="1200">
              <a:solidFill>
                <a:schemeClr val="dk1"/>
              </a:solidFill>
            </a:endParaRPr>
          </a:p>
        </p:txBody>
      </p:sp>
      <p:sp>
        <p:nvSpPr>
          <p:cNvPr id="54" name="ïṡļíḑe">
            <a:extLst>
              <a:ext uri="{FF2B5EF4-FFF2-40B4-BE49-F238E27FC236}">
                <a16:creationId xmlns:a16="http://schemas.microsoft.com/office/drawing/2014/main" id="{265F3978-CC8F-4F71-B3EF-53041EEA2A71}"/>
              </a:ext>
            </a:extLst>
          </p:cNvPr>
          <p:cNvSpPr/>
          <p:nvPr/>
        </p:nvSpPr>
        <p:spPr>
          <a:xfrm>
            <a:off x="5899182" y="6074776"/>
            <a:ext cx="581994" cy="738603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49162" y="120000"/>
                </a:moveTo>
                <a:cubicBezTo>
                  <a:pt x="49162" y="120000"/>
                  <a:pt x="49691" y="120000"/>
                  <a:pt x="49691" y="119583"/>
                </a:cubicBezTo>
                <a:cubicBezTo>
                  <a:pt x="49162" y="119583"/>
                  <a:pt x="49162" y="119583"/>
                  <a:pt x="49162" y="119583"/>
                </a:cubicBezTo>
                <a:lnTo>
                  <a:pt x="49162" y="120000"/>
                </a:lnTo>
                <a:close/>
                <a:moveTo>
                  <a:pt x="107841" y="68333"/>
                </a:moveTo>
                <a:cubicBezTo>
                  <a:pt x="107841" y="68333"/>
                  <a:pt x="106255" y="64166"/>
                  <a:pt x="101497" y="65416"/>
                </a:cubicBezTo>
                <a:cubicBezTo>
                  <a:pt x="101497" y="62916"/>
                  <a:pt x="97268" y="63333"/>
                  <a:pt x="97268" y="63333"/>
                </a:cubicBezTo>
                <a:cubicBezTo>
                  <a:pt x="97268" y="63333"/>
                  <a:pt x="96740" y="57500"/>
                  <a:pt x="91982" y="57916"/>
                </a:cubicBezTo>
                <a:cubicBezTo>
                  <a:pt x="86696" y="58333"/>
                  <a:pt x="84581" y="61250"/>
                  <a:pt x="84581" y="61250"/>
                </a:cubicBezTo>
                <a:cubicBezTo>
                  <a:pt x="84581" y="61250"/>
                  <a:pt x="79295" y="61666"/>
                  <a:pt x="79823" y="65416"/>
                </a:cubicBezTo>
                <a:cubicBezTo>
                  <a:pt x="77180" y="65833"/>
                  <a:pt x="77180" y="67916"/>
                  <a:pt x="77180" y="67916"/>
                </a:cubicBezTo>
                <a:cubicBezTo>
                  <a:pt x="77180" y="67916"/>
                  <a:pt x="71365" y="67500"/>
                  <a:pt x="70837" y="72500"/>
                </a:cubicBezTo>
                <a:cubicBezTo>
                  <a:pt x="70837" y="77083"/>
                  <a:pt x="75594" y="81250"/>
                  <a:pt x="81409" y="78333"/>
                </a:cubicBezTo>
                <a:cubicBezTo>
                  <a:pt x="81409" y="78333"/>
                  <a:pt x="82466" y="80833"/>
                  <a:pt x="84052" y="80833"/>
                </a:cubicBezTo>
                <a:cubicBezTo>
                  <a:pt x="84052" y="80833"/>
                  <a:pt x="84581" y="85833"/>
                  <a:pt x="80352" y="87916"/>
                </a:cubicBezTo>
                <a:cubicBezTo>
                  <a:pt x="76123" y="90416"/>
                  <a:pt x="68722" y="92916"/>
                  <a:pt x="68722" y="92916"/>
                </a:cubicBezTo>
                <a:cubicBezTo>
                  <a:pt x="68722" y="92916"/>
                  <a:pt x="66607" y="82500"/>
                  <a:pt x="63964" y="75416"/>
                </a:cubicBezTo>
                <a:cubicBezTo>
                  <a:pt x="61321" y="68333"/>
                  <a:pt x="62378" y="59583"/>
                  <a:pt x="62378" y="59583"/>
                </a:cubicBezTo>
                <a:cubicBezTo>
                  <a:pt x="62378" y="59583"/>
                  <a:pt x="65550" y="60000"/>
                  <a:pt x="68193" y="58333"/>
                </a:cubicBezTo>
                <a:cubicBezTo>
                  <a:pt x="70837" y="57083"/>
                  <a:pt x="80881" y="65000"/>
                  <a:pt x="89339" y="52083"/>
                </a:cubicBezTo>
                <a:cubicBezTo>
                  <a:pt x="89339" y="52083"/>
                  <a:pt x="105198" y="55416"/>
                  <a:pt x="112599" y="44166"/>
                </a:cubicBezTo>
                <a:cubicBezTo>
                  <a:pt x="120000" y="32916"/>
                  <a:pt x="103612" y="25416"/>
                  <a:pt x="97797" y="26666"/>
                </a:cubicBezTo>
                <a:cubicBezTo>
                  <a:pt x="97797" y="26666"/>
                  <a:pt x="96211" y="16250"/>
                  <a:pt x="81409" y="18750"/>
                </a:cubicBezTo>
                <a:cubicBezTo>
                  <a:pt x="81409" y="18750"/>
                  <a:pt x="79823" y="12500"/>
                  <a:pt x="71894" y="12916"/>
                </a:cubicBezTo>
                <a:cubicBezTo>
                  <a:pt x="71894" y="12916"/>
                  <a:pt x="70308" y="833"/>
                  <a:pt x="55506" y="0"/>
                </a:cubicBezTo>
                <a:cubicBezTo>
                  <a:pt x="44405" y="0"/>
                  <a:pt x="39647" y="8333"/>
                  <a:pt x="39647" y="8333"/>
                </a:cubicBezTo>
                <a:cubicBezTo>
                  <a:pt x="39647" y="8333"/>
                  <a:pt x="28017" y="7083"/>
                  <a:pt x="28017" y="18333"/>
                </a:cubicBezTo>
                <a:cubicBezTo>
                  <a:pt x="28017" y="18333"/>
                  <a:pt x="21145" y="19583"/>
                  <a:pt x="19030" y="23750"/>
                </a:cubicBezTo>
                <a:cubicBezTo>
                  <a:pt x="16387" y="25000"/>
                  <a:pt x="4757" y="24166"/>
                  <a:pt x="6872" y="34166"/>
                </a:cubicBezTo>
                <a:cubicBezTo>
                  <a:pt x="6872" y="34166"/>
                  <a:pt x="0" y="44166"/>
                  <a:pt x="10044" y="51666"/>
                </a:cubicBezTo>
                <a:cubicBezTo>
                  <a:pt x="18502" y="56250"/>
                  <a:pt x="30132" y="51666"/>
                  <a:pt x="30132" y="51666"/>
                </a:cubicBezTo>
                <a:cubicBezTo>
                  <a:pt x="30132" y="51666"/>
                  <a:pt x="34889" y="57500"/>
                  <a:pt x="43348" y="59166"/>
                </a:cubicBezTo>
                <a:cubicBezTo>
                  <a:pt x="43348" y="59166"/>
                  <a:pt x="49691" y="70833"/>
                  <a:pt x="54977" y="77916"/>
                </a:cubicBezTo>
                <a:cubicBezTo>
                  <a:pt x="56035" y="79166"/>
                  <a:pt x="61321" y="89166"/>
                  <a:pt x="59207" y="101666"/>
                </a:cubicBezTo>
                <a:cubicBezTo>
                  <a:pt x="57092" y="112916"/>
                  <a:pt x="50748" y="118750"/>
                  <a:pt x="49691" y="119583"/>
                </a:cubicBezTo>
                <a:cubicBezTo>
                  <a:pt x="81938" y="119583"/>
                  <a:pt x="81938" y="119583"/>
                  <a:pt x="81938" y="119583"/>
                </a:cubicBezTo>
                <a:cubicBezTo>
                  <a:pt x="79823" y="119583"/>
                  <a:pt x="74537" y="119583"/>
                  <a:pt x="72422" y="117916"/>
                </a:cubicBezTo>
                <a:cubicBezTo>
                  <a:pt x="69779" y="115833"/>
                  <a:pt x="70837" y="113750"/>
                  <a:pt x="70308" y="108750"/>
                </a:cubicBezTo>
                <a:cubicBezTo>
                  <a:pt x="69251" y="103333"/>
                  <a:pt x="69779" y="95833"/>
                  <a:pt x="69779" y="95833"/>
                </a:cubicBezTo>
                <a:cubicBezTo>
                  <a:pt x="69779" y="95833"/>
                  <a:pt x="88281" y="87500"/>
                  <a:pt x="90925" y="82083"/>
                </a:cubicBezTo>
                <a:cubicBezTo>
                  <a:pt x="93039" y="82500"/>
                  <a:pt x="105198" y="82083"/>
                  <a:pt x="105198" y="78750"/>
                </a:cubicBezTo>
                <a:cubicBezTo>
                  <a:pt x="107312" y="79583"/>
                  <a:pt x="114713" y="77500"/>
                  <a:pt x="114185" y="72916"/>
                </a:cubicBezTo>
                <a:cubicBezTo>
                  <a:pt x="113127" y="68750"/>
                  <a:pt x="107841" y="68333"/>
                  <a:pt x="107841" y="68333"/>
                </a:cubicBezTo>
                <a:close/>
                <a:moveTo>
                  <a:pt x="49162" y="60833"/>
                </a:moveTo>
                <a:cubicBezTo>
                  <a:pt x="56563" y="60833"/>
                  <a:pt x="56563" y="60833"/>
                  <a:pt x="56563" y="60833"/>
                </a:cubicBezTo>
                <a:cubicBezTo>
                  <a:pt x="56035" y="65000"/>
                  <a:pt x="57092" y="72500"/>
                  <a:pt x="57092" y="72500"/>
                </a:cubicBezTo>
                <a:cubicBezTo>
                  <a:pt x="51277" y="67500"/>
                  <a:pt x="49162" y="60833"/>
                  <a:pt x="49162" y="60833"/>
                </a:cubicBezTo>
                <a:close/>
                <a:moveTo>
                  <a:pt x="85110" y="85000"/>
                </a:moveTo>
                <a:cubicBezTo>
                  <a:pt x="85110" y="85000"/>
                  <a:pt x="86696" y="83333"/>
                  <a:pt x="86167" y="81666"/>
                </a:cubicBezTo>
                <a:cubicBezTo>
                  <a:pt x="86167" y="81666"/>
                  <a:pt x="88281" y="81666"/>
                  <a:pt x="89339" y="81666"/>
                </a:cubicBezTo>
                <a:cubicBezTo>
                  <a:pt x="89339" y="81666"/>
                  <a:pt x="87224" y="83750"/>
                  <a:pt x="85110" y="85000"/>
                </a:cubicBezTo>
                <a:close/>
                <a:moveTo>
                  <a:pt x="82995" y="119583"/>
                </a:moveTo>
                <a:cubicBezTo>
                  <a:pt x="81938" y="119583"/>
                  <a:pt x="81938" y="119583"/>
                  <a:pt x="81938" y="119583"/>
                </a:cubicBezTo>
                <a:cubicBezTo>
                  <a:pt x="82466" y="119583"/>
                  <a:pt x="82995" y="119583"/>
                  <a:pt x="82995" y="119583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lIns="121898" tIns="60941" rIns="121898" bIns="60941" anchor="t" anchorCtr="0">
            <a:noAutofit/>
          </a:bodyPr>
          <a:lstStyle/>
          <a:p>
            <a:pPr>
              <a:buClr>
                <a:srgbClr val="000000"/>
              </a:buClr>
            </a:pPr>
            <a:endParaRPr sz="1200">
              <a:solidFill>
                <a:schemeClr val="dk1"/>
              </a:solidFill>
            </a:endParaRPr>
          </a:p>
        </p:txBody>
      </p:sp>
      <p:sp>
        <p:nvSpPr>
          <p:cNvPr id="63" name="išḷiḓê">
            <a:extLst>
              <a:ext uri="{FF2B5EF4-FFF2-40B4-BE49-F238E27FC236}">
                <a16:creationId xmlns:a16="http://schemas.microsoft.com/office/drawing/2014/main" id="{E05F00EA-9460-468D-B28D-44B769F7DFAB}"/>
              </a:ext>
            </a:extLst>
          </p:cNvPr>
          <p:cNvSpPr/>
          <p:nvPr/>
        </p:nvSpPr>
        <p:spPr>
          <a:xfrm>
            <a:off x="8062081" y="5213425"/>
            <a:ext cx="1267688" cy="1599955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38137" y="119807"/>
                </a:moveTo>
                <a:cubicBezTo>
                  <a:pt x="37165" y="119807"/>
                  <a:pt x="37165" y="119807"/>
                  <a:pt x="37165" y="119807"/>
                </a:cubicBezTo>
                <a:cubicBezTo>
                  <a:pt x="37165" y="119807"/>
                  <a:pt x="37651" y="119807"/>
                  <a:pt x="38137" y="119807"/>
                </a:cubicBezTo>
                <a:close/>
                <a:moveTo>
                  <a:pt x="70445" y="119807"/>
                </a:moveTo>
                <a:cubicBezTo>
                  <a:pt x="70202" y="119807"/>
                  <a:pt x="70202" y="119807"/>
                  <a:pt x="70202" y="119807"/>
                </a:cubicBezTo>
                <a:cubicBezTo>
                  <a:pt x="70445" y="119807"/>
                  <a:pt x="70445" y="120000"/>
                  <a:pt x="70445" y="120000"/>
                </a:cubicBezTo>
                <a:lnTo>
                  <a:pt x="70445" y="119807"/>
                </a:lnTo>
                <a:close/>
                <a:moveTo>
                  <a:pt x="112712" y="34423"/>
                </a:moveTo>
                <a:cubicBezTo>
                  <a:pt x="114898" y="24230"/>
                  <a:pt x="103481" y="25000"/>
                  <a:pt x="101052" y="23846"/>
                </a:cubicBezTo>
                <a:cubicBezTo>
                  <a:pt x="98623" y="19807"/>
                  <a:pt x="91578" y="18653"/>
                  <a:pt x="91578" y="18653"/>
                </a:cubicBezTo>
                <a:cubicBezTo>
                  <a:pt x="91578" y="7115"/>
                  <a:pt x="80161" y="8269"/>
                  <a:pt x="80161" y="8269"/>
                </a:cubicBezTo>
                <a:cubicBezTo>
                  <a:pt x="80161" y="8269"/>
                  <a:pt x="75546" y="0"/>
                  <a:pt x="64129" y="192"/>
                </a:cubicBezTo>
                <a:cubicBezTo>
                  <a:pt x="49797" y="769"/>
                  <a:pt x="48097" y="12884"/>
                  <a:pt x="48097" y="12884"/>
                </a:cubicBezTo>
                <a:cubicBezTo>
                  <a:pt x="40080" y="12500"/>
                  <a:pt x="38866" y="18653"/>
                  <a:pt x="38866" y="18653"/>
                </a:cubicBezTo>
                <a:cubicBezTo>
                  <a:pt x="24048" y="16346"/>
                  <a:pt x="22105" y="26923"/>
                  <a:pt x="22105" y="26923"/>
                </a:cubicBezTo>
                <a:cubicBezTo>
                  <a:pt x="16518" y="25769"/>
                  <a:pt x="0" y="33076"/>
                  <a:pt x="7530" y="44423"/>
                </a:cubicBezTo>
                <a:cubicBezTo>
                  <a:pt x="15303" y="55576"/>
                  <a:pt x="30850" y="52115"/>
                  <a:pt x="30850" y="52115"/>
                </a:cubicBezTo>
                <a:cubicBezTo>
                  <a:pt x="39109" y="65192"/>
                  <a:pt x="49311" y="57115"/>
                  <a:pt x="51983" y="58461"/>
                </a:cubicBezTo>
                <a:cubicBezTo>
                  <a:pt x="54412" y="60000"/>
                  <a:pt x="57570" y="59807"/>
                  <a:pt x="57570" y="59807"/>
                </a:cubicBezTo>
                <a:cubicBezTo>
                  <a:pt x="57570" y="59807"/>
                  <a:pt x="58299" y="68461"/>
                  <a:pt x="55870" y="75384"/>
                </a:cubicBezTo>
                <a:cubicBezTo>
                  <a:pt x="53198" y="82500"/>
                  <a:pt x="51497" y="92884"/>
                  <a:pt x="51497" y="92884"/>
                </a:cubicBezTo>
                <a:cubicBezTo>
                  <a:pt x="51497" y="92884"/>
                  <a:pt x="43724" y="90576"/>
                  <a:pt x="39838" y="88076"/>
                </a:cubicBezTo>
                <a:cubicBezTo>
                  <a:pt x="35708" y="85769"/>
                  <a:pt x="35951" y="80961"/>
                  <a:pt x="35951" y="80961"/>
                </a:cubicBezTo>
                <a:cubicBezTo>
                  <a:pt x="37651" y="80769"/>
                  <a:pt x="38866" y="78461"/>
                  <a:pt x="38866" y="78461"/>
                </a:cubicBezTo>
                <a:cubicBezTo>
                  <a:pt x="44453" y="81538"/>
                  <a:pt x="49311" y="77307"/>
                  <a:pt x="48825" y="72500"/>
                </a:cubicBezTo>
                <a:cubicBezTo>
                  <a:pt x="48582" y="67692"/>
                  <a:pt x="43238" y="67884"/>
                  <a:pt x="43238" y="67884"/>
                </a:cubicBezTo>
                <a:cubicBezTo>
                  <a:pt x="43238" y="67884"/>
                  <a:pt x="42510" y="65961"/>
                  <a:pt x="40080" y="65384"/>
                </a:cubicBezTo>
                <a:cubicBezTo>
                  <a:pt x="40566" y="61730"/>
                  <a:pt x="35708" y="61346"/>
                  <a:pt x="35708" y="61346"/>
                </a:cubicBezTo>
                <a:cubicBezTo>
                  <a:pt x="35708" y="61346"/>
                  <a:pt x="33279" y="58461"/>
                  <a:pt x="28178" y="58076"/>
                </a:cubicBezTo>
                <a:cubicBezTo>
                  <a:pt x="23319" y="57692"/>
                  <a:pt x="23076" y="63269"/>
                  <a:pt x="23076" y="63269"/>
                </a:cubicBezTo>
                <a:cubicBezTo>
                  <a:pt x="23076" y="63269"/>
                  <a:pt x="18947" y="63076"/>
                  <a:pt x="18461" y="65576"/>
                </a:cubicBezTo>
                <a:cubicBezTo>
                  <a:pt x="14089" y="64038"/>
                  <a:pt x="12388" y="68461"/>
                  <a:pt x="12388" y="68461"/>
                </a:cubicBezTo>
                <a:cubicBezTo>
                  <a:pt x="12388" y="68461"/>
                  <a:pt x="7287" y="68846"/>
                  <a:pt x="6072" y="72884"/>
                </a:cubicBezTo>
                <a:cubicBezTo>
                  <a:pt x="5344" y="77692"/>
                  <a:pt x="12874" y="79615"/>
                  <a:pt x="15060" y="78653"/>
                </a:cubicBezTo>
                <a:cubicBezTo>
                  <a:pt x="15060" y="81923"/>
                  <a:pt x="27206" y="82692"/>
                  <a:pt x="29149" y="82115"/>
                </a:cubicBezTo>
                <a:cubicBezTo>
                  <a:pt x="31821" y="87500"/>
                  <a:pt x="50526" y="96153"/>
                  <a:pt x="50526" y="96153"/>
                </a:cubicBezTo>
                <a:cubicBezTo>
                  <a:pt x="50526" y="96153"/>
                  <a:pt x="50769" y="103653"/>
                  <a:pt x="49797" y="108653"/>
                </a:cubicBezTo>
                <a:cubicBezTo>
                  <a:pt x="49068" y="113653"/>
                  <a:pt x="50283" y="115961"/>
                  <a:pt x="47611" y="117884"/>
                </a:cubicBezTo>
                <a:cubicBezTo>
                  <a:pt x="45425" y="119615"/>
                  <a:pt x="40080" y="119807"/>
                  <a:pt x="38137" y="119807"/>
                </a:cubicBezTo>
                <a:cubicBezTo>
                  <a:pt x="70202" y="119807"/>
                  <a:pt x="70202" y="119807"/>
                  <a:pt x="70202" y="119807"/>
                </a:cubicBezTo>
                <a:cubicBezTo>
                  <a:pt x="69230" y="118846"/>
                  <a:pt x="62914" y="112884"/>
                  <a:pt x="60728" y="101538"/>
                </a:cubicBezTo>
                <a:cubicBezTo>
                  <a:pt x="58542" y="89038"/>
                  <a:pt x="63643" y="79230"/>
                  <a:pt x="65101" y="77884"/>
                </a:cubicBezTo>
                <a:cubicBezTo>
                  <a:pt x="70445" y="70961"/>
                  <a:pt x="76761" y="59230"/>
                  <a:pt x="76761" y="59230"/>
                </a:cubicBezTo>
                <a:cubicBezTo>
                  <a:pt x="85020" y="57692"/>
                  <a:pt x="89635" y="51730"/>
                  <a:pt x="89635" y="51730"/>
                </a:cubicBezTo>
                <a:cubicBezTo>
                  <a:pt x="89635" y="51730"/>
                  <a:pt x="101295" y="56346"/>
                  <a:pt x="109554" y="51538"/>
                </a:cubicBezTo>
                <a:cubicBezTo>
                  <a:pt x="120000" y="44423"/>
                  <a:pt x="112712" y="34423"/>
                  <a:pt x="112712" y="34423"/>
                </a:cubicBezTo>
                <a:close/>
                <a:moveTo>
                  <a:pt x="31093" y="81730"/>
                </a:moveTo>
                <a:cubicBezTo>
                  <a:pt x="32064" y="81730"/>
                  <a:pt x="33765" y="81538"/>
                  <a:pt x="33765" y="81538"/>
                </a:cubicBezTo>
                <a:cubicBezTo>
                  <a:pt x="33522" y="83269"/>
                  <a:pt x="34736" y="85192"/>
                  <a:pt x="34736" y="85192"/>
                </a:cubicBezTo>
                <a:cubicBezTo>
                  <a:pt x="32793" y="83653"/>
                  <a:pt x="31093" y="81730"/>
                  <a:pt x="31093" y="81730"/>
                </a:cubicBezTo>
                <a:close/>
                <a:moveTo>
                  <a:pt x="62914" y="72500"/>
                </a:moveTo>
                <a:cubicBezTo>
                  <a:pt x="62914" y="72500"/>
                  <a:pt x="63886" y="65192"/>
                  <a:pt x="63400" y="60961"/>
                </a:cubicBezTo>
                <a:cubicBezTo>
                  <a:pt x="70688" y="60961"/>
                  <a:pt x="70688" y="60961"/>
                  <a:pt x="70688" y="60961"/>
                </a:cubicBezTo>
                <a:cubicBezTo>
                  <a:pt x="70688" y="60961"/>
                  <a:pt x="68502" y="67500"/>
                  <a:pt x="62914" y="7250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lIns="121898" tIns="60941" rIns="121898" bIns="60941" anchor="t" anchorCtr="0">
            <a:noAutofit/>
          </a:bodyPr>
          <a:lstStyle/>
          <a:p>
            <a:pPr>
              <a:buClr>
                <a:srgbClr val="000000"/>
              </a:buClr>
            </a:pPr>
            <a:endParaRPr sz="1200">
              <a:solidFill>
                <a:schemeClr val="dk1"/>
              </a:solidFill>
            </a:endParaRPr>
          </a:p>
        </p:txBody>
      </p:sp>
      <p:sp>
        <p:nvSpPr>
          <p:cNvPr id="64" name="íṥ1ïḍè">
            <a:extLst>
              <a:ext uri="{FF2B5EF4-FFF2-40B4-BE49-F238E27FC236}">
                <a16:creationId xmlns:a16="http://schemas.microsoft.com/office/drawing/2014/main" id="{C73A5225-94FA-497A-821D-C1BF0BB530DB}"/>
              </a:ext>
            </a:extLst>
          </p:cNvPr>
          <p:cNvSpPr/>
          <p:nvPr/>
        </p:nvSpPr>
        <p:spPr>
          <a:xfrm>
            <a:off x="10762530" y="4948882"/>
            <a:ext cx="1475090" cy="1864498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49460" y="120000"/>
                </a:moveTo>
                <a:cubicBezTo>
                  <a:pt x="49460" y="120000"/>
                  <a:pt x="49669" y="119834"/>
                  <a:pt x="49669" y="119834"/>
                </a:cubicBezTo>
                <a:cubicBezTo>
                  <a:pt x="49460" y="119834"/>
                  <a:pt x="49460" y="119834"/>
                  <a:pt x="49460" y="119834"/>
                </a:cubicBezTo>
                <a:lnTo>
                  <a:pt x="49460" y="120000"/>
                </a:lnTo>
                <a:close/>
                <a:moveTo>
                  <a:pt x="82852" y="119834"/>
                </a:moveTo>
                <a:cubicBezTo>
                  <a:pt x="82017" y="119834"/>
                  <a:pt x="82017" y="119834"/>
                  <a:pt x="82017" y="119834"/>
                </a:cubicBezTo>
                <a:cubicBezTo>
                  <a:pt x="82434" y="119834"/>
                  <a:pt x="82852" y="119834"/>
                  <a:pt x="82852" y="119834"/>
                </a:cubicBezTo>
                <a:close/>
                <a:moveTo>
                  <a:pt x="107686" y="68335"/>
                </a:moveTo>
                <a:cubicBezTo>
                  <a:pt x="107686" y="68335"/>
                  <a:pt x="106017" y="64044"/>
                  <a:pt x="101634" y="65529"/>
                </a:cubicBezTo>
                <a:cubicBezTo>
                  <a:pt x="101217" y="63053"/>
                  <a:pt x="97043" y="63218"/>
                  <a:pt x="97043" y="63218"/>
                </a:cubicBezTo>
                <a:cubicBezTo>
                  <a:pt x="97043" y="63218"/>
                  <a:pt x="96834" y="57771"/>
                  <a:pt x="91826" y="58101"/>
                </a:cubicBezTo>
                <a:cubicBezTo>
                  <a:pt x="86817" y="58596"/>
                  <a:pt x="84313" y="61403"/>
                  <a:pt x="84313" y="61403"/>
                </a:cubicBezTo>
                <a:cubicBezTo>
                  <a:pt x="84313" y="61403"/>
                  <a:pt x="79513" y="61733"/>
                  <a:pt x="79930" y="65364"/>
                </a:cubicBezTo>
                <a:cubicBezTo>
                  <a:pt x="77426" y="65859"/>
                  <a:pt x="77008" y="67840"/>
                  <a:pt x="77008" y="67840"/>
                </a:cubicBezTo>
                <a:cubicBezTo>
                  <a:pt x="77008" y="67840"/>
                  <a:pt x="71373" y="67675"/>
                  <a:pt x="71165" y="72462"/>
                </a:cubicBezTo>
                <a:cubicBezTo>
                  <a:pt x="70747" y="77248"/>
                  <a:pt x="75547" y="81375"/>
                  <a:pt x="81182" y="78404"/>
                </a:cubicBezTo>
                <a:cubicBezTo>
                  <a:pt x="81182" y="78404"/>
                  <a:pt x="82434" y="80715"/>
                  <a:pt x="84104" y="81045"/>
                </a:cubicBezTo>
                <a:cubicBezTo>
                  <a:pt x="84104" y="81045"/>
                  <a:pt x="84313" y="85667"/>
                  <a:pt x="80347" y="88143"/>
                </a:cubicBezTo>
                <a:cubicBezTo>
                  <a:pt x="76173" y="90453"/>
                  <a:pt x="68660" y="92929"/>
                  <a:pt x="68660" y="92929"/>
                </a:cubicBezTo>
                <a:cubicBezTo>
                  <a:pt x="68660" y="92929"/>
                  <a:pt x="66782" y="82530"/>
                  <a:pt x="64278" y="75433"/>
                </a:cubicBezTo>
                <a:cubicBezTo>
                  <a:pt x="61565" y="68335"/>
                  <a:pt x="62400" y="59752"/>
                  <a:pt x="62400" y="59752"/>
                </a:cubicBezTo>
                <a:cubicBezTo>
                  <a:pt x="62400" y="59752"/>
                  <a:pt x="65739" y="59917"/>
                  <a:pt x="68034" y="58431"/>
                </a:cubicBezTo>
                <a:cubicBezTo>
                  <a:pt x="70539" y="56946"/>
                  <a:pt x="80765" y="65199"/>
                  <a:pt x="89113" y="52159"/>
                </a:cubicBezTo>
                <a:cubicBezTo>
                  <a:pt x="89113" y="52159"/>
                  <a:pt x="104973" y="55460"/>
                  <a:pt x="112486" y="44236"/>
                </a:cubicBezTo>
                <a:cubicBezTo>
                  <a:pt x="120000" y="33177"/>
                  <a:pt x="103513" y="25584"/>
                  <a:pt x="97878" y="26905"/>
                </a:cubicBezTo>
                <a:cubicBezTo>
                  <a:pt x="97878" y="26905"/>
                  <a:pt x="96000" y="16341"/>
                  <a:pt x="81182" y="18651"/>
                </a:cubicBezTo>
                <a:cubicBezTo>
                  <a:pt x="81182" y="18651"/>
                  <a:pt x="79930" y="12379"/>
                  <a:pt x="72000" y="12709"/>
                </a:cubicBezTo>
                <a:cubicBezTo>
                  <a:pt x="72000" y="12709"/>
                  <a:pt x="70121" y="825"/>
                  <a:pt x="55721" y="165"/>
                </a:cubicBezTo>
                <a:cubicBezTo>
                  <a:pt x="44452" y="0"/>
                  <a:pt x="39860" y="8253"/>
                  <a:pt x="39860" y="8253"/>
                </a:cubicBezTo>
                <a:cubicBezTo>
                  <a:pt x="39860" y="8253"/>
                  <a:pt x="28382" y="7097"/>
                  <a:pt x="28173" y="18486"/>
                </a:cubicBezTo>
                <a:cubicBezTo>
                  <a:pt x="28173" y="18486"/>
                  <a:pt x="21495" y="19807"/>
                  <a:pt x="18991" y="23768"/>
                </a:cubicBezTo>
                <a:cubicBezTo>
                  <a:pt x="16486" y="25089"/>
                  <a:pt x="5217" y="24264"/>
                  <a:pt x="7304" y="34332"/>
                </a:cubicBezTo>
                <a:cubicBezTo>
                  <a:pt x="7304" y="34332"/>
                  <a:pt x="0" y="44236"/>
                  <a:pt x="10434" y="51664"/>
                </a:cubicBezTo>
                <a:cubicBezTo>
                  <a:pt x="18573" y="56451"/>
                  <a:pt x="30260" y="51829"/>
                  <a:pt x="30260" y="51829"/>
                </a:cubicBezTo>
                <a:cubicBezTo>
                  <a:pt x="30260" y="51829"/>
                  <a:pt x="34852" y="57771"/>
                  <a:pt x="43200" y="59092"/>
                </a:cubicBezTo>
                <a:cubicBezTo>
                  <a:pt x="43200" y="59092"/>
                  <a:pt x="49669" y="70976"/>
                  <a:pt x="54886" y="77909"/>
                </a:cubicBezTo>
                <a:cubicBezTo>
                  <a:pt x="56347" y="79229"/>
                  <a:pt x="61356" y="89133"/>
                  <a:pt x="59269" y="101513"/>
                </a:cubicBezTo>
                <a:cubicBezTo>
                  <a:pt x="57182" y="112737"/>
                  <a:pt x="50921" y="118679"/>
                  <a:pt x="49669" y="119834"/>
                </a:cubicBezTo>
                <a:cubicBezTo>
                  <a:pt x="82017" y="119834"/>
                  <a:pt x="82017" y="119834"/>
                  <a:pt x="82017" y="119834"/>
                </a:cubicBezTo>
                <a:cubicBezTo>
                  <a:pt x="79930" y="119834"/>
                  <a:pt x="74504" y="119504"/>
                  <a:pt x="72417" y="118019"/>
                </a:cubicBezTo>
                <a:cubicBezTo>
                  <a:pt x="69704" y="115873"/>
                  <a:pt x="70956" y="113562"/>
                  <a:pt x="70121" y="108610"/>
                </a:cubicBezTo>
                <a:cubicBezTo>
                  <a:pt x="69286" y="103493"/>
                  <a:pt x="69495" y="96066"/>
                  <a:pt x="69495" y="96066"/>
                </a:cubicBezTo>
                <a:cubicBezTo>
                  <a:pt x="69495" y="96066"/>
                  <a:pt x="88069" y="87482"/>
                  <a:pt x="90782" y="82035"/>
                </a:cubicBezTo>
                <a:cubicBezTo>
                  <a:pt x="92869" y="82696"/>
                  <a:pt x="105182" y="81870"/>
                  <a:pt x="104973" y="78734"/>
                </a:cubicBezTo>
                <a:cubicBezTo>
                  <a:pt x="107269" y="79559"/>
                  <a:pt x="114782" y="77744"/>
                  <a:pt x="113947" y="72792"/>
                </a:cubicBezTo>
                <a:cubicBezTo>
                  <a:pt x="112904" y="68830"/>
                  <a:pt x="107686" y="68335"/>
                  <a:pt x="107686" y="68335"/>
                </a:cubicBezTo>
                <a:close/>
                <a:moveTo>
                  <a:pt x="49252" y="61072"/>
                </a:moveTo>
                <a:cubicBezTo>
                  <a:pt x="56765" y="60907"/>
                  <a:pt x="56765" y="60907"/>
                  <a:pt x="56765" y="60907"/>
                </a:cubicBezTo>
                <a:cubicBezTo>
                  <a:pt x="56139" y="65034"/>
                  <a:pt x="57182" y="72462"/>
                  <a:pt x="57182" y="72462"/>
                </a:cubicBezTo>
                <a:cubicBezTo>
                  <a:pt x="51339" y="67510"/>
                  <a:pt x="49252" y="61072"/>
                  <a:pt x="49252" y="61072"/>
                </a:cubicBezTo>
                <a:close/>
                <a:moveTo>
                  <a:pt x="85356" y="85171"/>
                </a:moveTo>
                <a:cubicBezTo>
                  <a:pt x="85356" y="85171"/>
                  <a:pt x="86608" y="83191"/>
                  <a:pt x="86191" y="81540"/>
                </a:cubicBezTo>
                <a:cubicBezTo>
                  <a:pt x="86191" y="81540"/>
                  <a:pt x="88069" y="81705"/>
                  <a:pt x="89113" y="81705"/>
                </a:cubicBezTo>
                <a:cubicBezTo>
                  <a:pt x="89113" y="81705"/>
                  <a:pt x="87234" y="83686"/>
                  <a:pt x="85356" y="8517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lIns="121898" tIns="60941" rIns="121898" bIns="60941" anchor="t" anchorCtr="0">
            <a:noAutofit/>
          </a:bodyPr>
          <a:lstStyle/>
          <a:p>
            <a:pPr>
              <a:buClr>
                <a:srgbClr val="000000"/>
              </a:buClr>
            </a:pPr>
            <a:endParaRPr sz="1200">
              <a:solidFill>
                <a:schemeClr val="dk1"/>
              </a:solidFill>
            </a:endParaRPr>
          </a:p>
        </p:txBody>
      </p:sp>
      <p:sp>
        <p:nvSpPr>
          <p:cNvPr id="65" name="íSḻïde">
            <a:extLst>
              <a:ext uri="{FF2B5EF4-FFF2-40B4-BE49-F238E27FC236}">
                <a16:creationId xmlns:a16="http://schemas.microsoft.com/office/drawing/2014/main" id="{02C17C95-3770-4549-AE76-26F7533CE996}"/>
              </a:ext>
            </a:extLst>
          </p:cNvPr>
          <p:cNvSpPr/>
          <p:nvPr/>
        </p:nvSpPr>
        <p:spPr>
          <a:xfrm>
            <a:off x="9687430" y="5890654"/>
            <a:ext cx="730137" cy="92272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82526" y="119666"/>
                </a:moveTo>
                <a:cubicBezTo>
                  <a:pt x="81684" y="119666"/>
                  <a:pt x="81684" y="119666"/>
                  <a:pt x="81684" y="119666"/>
                </a:cubicBezTo>
                <a:cubicBezTo>
                  <a:pt x="82105" y="119666"/>
                  <a:pt x="82526" y="119666"/>
                  <a:pt x="82526" y="119666"/>
                </a:cubicBezTo>
                <a:close/>
                <a:moveTo>
                  <a:pt x="107789" y="68333"/>
                </a:moveTo>
                <a:cubicBezTo>
                  <a:pt x="107789" y="68333"/>
                  <a:pt x="106105" y="64000"/>
                  <a:pt x="101473" y="65666"/>
                </a:cubicBezTo>
                <a:cubicBezTo>
                  <a:pt x="101052" y="63000"/>
                  <a:pt x="96842" y="63333"/>
                  <a:pt x="96842" y="63333"/>
                </a:cubicBezTo>
                <a:cubicBezTo>
                  <a:pt x="96842" y="63333"/>
                  <a:pt x="96842" y="57666"/>
                  <a:pt x="91789" y="58000"/>
                </a:cubicBezTo>
                <a:cubicBezTo>
                  <a:pt x="86736" y="58333"/>
                  <a:pt x="84210" y="61333"/>
                  <a:pt x="84210" y="61333"/>
                </a:cubicBezTo>
                <a:cubicBezTo>
                  <a:pt x="84210" y="61333"/>
                  <a:pt x="79157" y="61666"/>
                  <a:pt x="80000" y="65333"/>
                </a:cubicBezTo>
                <a:cubicBezTo>
                  <a:pt x="77473" y="65666"/>
                  <a:pt x="76631" y="67666"/>
                  <a:pt x="76631" y="67666"/>
                </a:cubicBezTo>
                <a:cubicBezTo>
                  <a:pt x="76631" y="67666"/>
                  <a:pt x="71157" y="67666"/>
                  <a:pt x="71157" y="72333"/>
                </a:cubicBezTo>
                <a:cubicBezTo>
                  <a:pt x="70736" y="77333"/>
                  <a:pt x="75368" y="81333"/>
                  <a:pt x="80842" y="78333"/>
                </a:cubicBezTo>
                <a:cubicBezTo>
                  <a:pt x="80842" y="78333"/>
                  <a:pt x="82105" y="80666"/>
                  <a:pt x="84210" y="81000"/>
                </a:cubicBezTo>
                <a:cubicBezTo>
                  <a:pt x="84210" y="81000"/>
                  <a:pt x="84210" y="85666"/>
                  <a:pt x="80000" y="88000"/>
                </a:cubicBezTo>
                <a:cubicBezTo>
                  <a:pt x="76210" y="90333"/>
                  <a:pt x="68631" y="92666"/>
                  <a:pt x="68631" y="92666"/>
                </a:cubicBezTo>
                <a:cubicBezTo>
                  <a:pt x="68631" y="92666"/>
                  <a:pt x="66526" y="82333"/>
                  <a:pt x="63999" y="75333"/>
                </a:cubicBezTo>
                <a:cubicBezTo>
                  <a:pt x="61473" y="68333"/>
                  <a:pt x="62315" y="59666"/>
                  <a:pt x="62315" y="59666"/>
                </a:cubicBezTo>
                <a:cubicBezTo>
                  <a:pt x="62315" y="59666"/>
                  <a:pt x="65684" y="60000"/>
                  <a:pt x="67789" y="58333"/>
                </a:cubicBezTo>
                <a:cubicBezTo>
                  <a:pt x="70315" y="57000"/>
                  <a:pt x="80842" y="65333"/>
                  <a:pt x="88842" y="52000"/>
                </a:cubicBezTo>
                <a:cubicBezTo>
                  <a:pt x="88842" y="52000"/>
                  <a:pt x="104842" y="55333"/>
                  <a:pt x="112421" y="44333"/>
                </a:cubicBezTo>
                <a:cubicBezTo>
                  <a:pt x="119999" y="33000"/>
                  <a:pt x="103157" y="25666"/>
                  <a:pt x="97684" y="26666"/>
                </a:cubicBezTo>
                <a:cubicBezTo>
                  <a:pt x="97684" y="26666"/>
                  <a:pt x="96000" y="16333"/>
                  <a:pt x="81263" y="18666"/>
                </a:cubicBezTo>
                <a:cubicBezTo>
                  <a:pt x="81263" y="18666"/>
                  <a:pt x="80000" y="12333"/>
                  <a:pt x="72000" y="12666"/>
                </a:cubicBezTo>
                <a:cubicBezTo>
                  <a:pt x="72000" y="12666"/>
                  <a:pt x="69894" y="666"/>
                  <a:pt x="55578" y="0"/>
                </a:cubicBezTo>
                <a:cubicBezTo>
                  <a:pt x="44210" y="0"/>
                  <a:pt x="39578" y="8000"/>
                  <a:pt x="39578" y="8000"/>
                </a:cubicBezTo>
                <a:cubicBezTo>
                  <a:pt x="39578" y="8000"/>
                  <a:pt x="28210" y="7000"/>
                  <a:pt x="28210" y="18333"/>
                </a:cubicBezTo>
                <a:cubicBezTo>
                  <a:pt x="28210" y="18333"/>
                  <a:pt x="21473" y="19666"/>
                  <a:pt x="18947" y="23666"/>
                </a:cubicBezTo>
                <a:cubicBezTo>
                  <a:pt x="16421" y="25000"/>
                  <a:pt x="5052" y="24000"/>
                  <a:pt x="7157" y="34333"/>
                </a:cubicBezTo>
                <a:cubicBezTo>
                  <a:pt x="7157" y="34333"/>
                  <a:pt x="0" y="44333"/>
                  <a:pt x="10105" y="51666"/>
                </a:cubicBezTo>
                <a:cubicBezTo>
                  <a:pt x="18526" y="56333"/>
                  <a:pt x="30315" y="51666"/>
                  <a:pt x="30315" y="51666"/>
                </a:cubicBezTo>
                <a:cubicBezTo>
                  <a:pt x="30315" y="51666"/>
                  <a:pt x="34947" y="57666"/>
                  <a:pt x="42947" y="59000"/>
                </a:cubicBezTo>
                <a:cubicBezTo>
                  <a:pt x="42947" y="59000"/>
                  <a:pt x="49263" y="71000"/>
                  <a:pt x="54736" y="77666"/>
                </a:cubicBezTo>
                <a:cubicBezTo>
                  <a:pt x="56000" y="79333"/>
                  <a:pt x="61473" y="89000"/>
                  <a:pt x="58947" y="101333"/>
                </a:cubicBezTo>
                <a:cubicBezTo>
                  <a:pt x="56842" y="112666"/>
                  <a:pt x="50526" y="118666"/>
                  <a:pt x="49684" y="119666"/>
                </a:cubicBezTo>
                <a:cubicBezTo>
                  <a:pt x="81684" y="119666"/>
                  <a:pt x="81684" y="119666"/>
                  <a:pt x="81684" y="119666"/>
                </a:cubicBezTo>
                <a:cubicBezTo>
                  <a:pt x="79578" y="119666"/>
                  <a:pt x="74526" y="119666"/>
                  <a:pt x="72421" y="118000"/>
                </a:cubicBezTo>
                <a:cubicBezTo>
                  <a:pt x="69473" y="116000"/>
                  <a:pt x="70736" y="113666"/>
                  <a:pt x="69894" y="108666"/>
                </a:cubicBezTo>
                <a:cubicBezTo>
                  <a:pt x="69052" y="103666"/>
                  <a:pt x="69473" y="96000"/>
                  <a:pt x="69473" y="96000"/>
                </a:cubicBezTo>
                <a:cubicBezTo>
                  <a:pt x="69473" y="96000"/>
                  <a:pt x="88000" y="87333"/>
                  <a:pt x="90526" y="82000"/>
                </a:cubicBezTo>
                <a:cubicBezTo>
                  <a:pt x="92631" y="82666"/>
                  <a:pt x="104842" y="82000"/>
                  <a:pt x="104842" y="78666"/>
                </a:cubicBezTo>
                <a:cubicBezTo>
                  <a:pt x="106947" y="79333"/>
                  <a:pt x="114526" y="77666"/>
                  <a:pt x="113684" y="72666"/>
                </a:cubicBezTo>
                <a:cubicBezTo>
                  <a:pt x="112842" y="68666"/>
                  <a:pt x="107789" y="68333"/>
                  <a:pt x="107789" y="68333"/>
                </a:cubicBezTo>
                <a:close/>
                <a:moveTo>
                  <a:pt x="49263" y="61000"/>
                </a:moveTo>
                <a:cubicBezTo>
                  <a:pt x="56421" y="61000"/>
                  <a:pt x="56421" y="61000"/>
                  <a:pt x="56421" y="61000"/>
                </a:cubicBezTo>
                <a:cubicBezTo>
                  <a:pt x="56000" y="64999"/>
                  <a:pt x="57263" y="72333"/>
                  <a:pt x="57263" y="72333"/>
                </a:cubicBezTo>
                <a:cubicBezTo>
                  <a:pt x="51368" y="67333"/>
                  <a:pt x="49263" y="61000"/>
                  <a:pt x="49263" y="61000"/>
                </a:cubicBezTo>
                <a:close/>
                <a:moveTo>
                  <a:pt x="85052" y="85000"/>
                </a:moveTo>
                <a:cubicBezTo>
                  <a:pt x="85052" y="85000"/>
                  <a:pt x="86315" y="83000"/>
                  <a:pt x="85894" y="81666"/>
                </a:cubicBezTo>
                <a:cubicBezTo>
                  <a:pt x="85894" y="81666"/>
                  <a:pt x="88000" y="81666"/>
                  <a:pt x="88842" y="81666"/>
                </a:cubicBezTo>
                <a:cubicBezTo>
                  <a:pt x="88842" y="81666"/>
                  <a:pt x="87157" y="83666"/>
                  <a:pt x="85052" y="85000"/>
                </a:cubicBezTo>
                <a:close/>
                <a:moveTo>
                  <a:pt x="49263" y="120000"/>
                </a:moveTo>
                <a:cubicBezTo>
                  <a:pt x="49263" y="120000"/>
                  <a:pt x="49263" y="120000"/>
                  <a:pt x="49684" y="119666"/>
                </a:cubicBezTo>
                <a:cubicBezTo>
                  <a:pt x="49263" y="119666"/>
                  <a:pt x="49263" y="119666"/>
                  <a:pt x="49263" y="119666"/>
                </a:cubicBezTo>
                <a:lnTo>
                  <a:pt x="49263" y="120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121898" tIns="60941" rIns="121898" bIns="60941" anchor="t" anchorCtr="0">
            <a:noAutofit/>
          </a:bodyPr>
          <a:lstStyle/>
          <a:p>
            <a:pPr>
              <a:buClr>
                <a:srgbClr val="000000"/>
              </a:buClr>
            </a:pPr>
            <a:endParaRPr sz="1200">
              <a:solidFill>
                <a:schemeClr val="dk1"/>
              </a:solidFill>
            </a:endParaRPr>
          </a:p>
        </p:txBody>
      </p:sp>
      <p:sp>
        <p:nvSpPr>
          <p:cNvPr id="66" name="ïṡļíďé">
            <a:extLst>
              <a:ext uri="{FF2B5EF4-FFF2-40B4-BE49-F238E27FC236}">
                <a16:creationId xmlns:a16="http://schemas.microsoft.com/office/drawing/2014/main" id="{0E11EDC9-CFF6-4725-A67F-A32402DBCA55}"/>
              </a:ext>
            </a:extLst>
          </p:cNvPr>
          <p:cNvSpPr/>
          <p:nvPr/>
        </p:nvSpPr>
        <p:spPr>
          <a:xfrm>
            <a:off x="10476824" y="5985892"/>
            <a:ext cx="653948" cy="82749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70588" y="119628"/>
                </a:moveTo>
                <a:cubicBezTo>
                  <a:pt x="70588" y="119628"/>
                  <a:pt x="70588" y="119628"/>
                  <a:pt x="70588" y="119628"/>
                </a:cubicBezTo>
                <a:cubicBezTo>
                  <a:pt x="70588" y="120000"/>
                  <a:pt x="70588" y="120000"/>
                  <a:pt x="70588" y="120000"/>
                </a:cubicBezTo>
                <a:lnTo>
                  <a:pt x="70588" y="119628"/>
                </a:lnTo>
                <a:close/>
                <a:moveTo>
                  <a:pt x="38117" y="119628"/>
                </a:moveTo>
                <a:cubicBezTo>
                  <a:pt x="37176" y="119628"/>
                  <a:pt x="37176" y="119628"/>
                  <a:pt x="37176" y="119628"/>
                </a:cubicBezTo>
                <a:cubicBezTo>
                  <a:pt x="37176" y="119628"/>
                  <a:pt x="37647" y="119628"/>
                  <a:pt x="38117" y="119628"/>
                </a:cubicBezTo>
                <a:close/>
                <a:moveTo>
                  <a:pt x="112941" y="34551"/>
                </a:moveTo>
                <a:cubicBezTo>
                  <a:pt x="114823" y="24148"/>
                  <a:pt x="103529" y="25263"/>
                  <a:pt x="101176" y="23777"/>
                </a:cubicBezTo>
                <a:cubicBezTo>
                  <a:pt x="98823" y="19690"/>
                  <a:pt x="91764" y="18575"/>
                  <a:pt x="91764" y="18575"/>
                </a:cubicBezTo>
                <a:cubicBezTo>
                  <a:pt x="91764" y="7058"/>
                  <a:pt x="80470" y="8544"/>
                  <a:pt x="80470" y="8544"/>
                </a:cubicBezTo>
                <a:cubicBezTo>
                  <a:pt x="80470" y="8544"/>
                  <a:pt x="75764" y="0"/>
                  <a:pt x="64470" y="371"/>
                </a:cubicBezTo>
                <a:cubicBezTo>
                  <a:pt x="49882" y="1114"/>
                  <a:pt x="48000" y="13003"/>
                  <a:pt x="48000" y="13003"/>
                </a:cubicBezTo>
                <a:cubicBezTo>
                  <a:pt x="40000" y="12631"/>
                  <a:pt x="39058" y="18947"/>
                  <a:pt x="39058" y="18947"/>
                </a:cubicBezTo>
                <a:cubicBezTo>
                  <a:pt x="24000" y="16346"/>
                  <a:pt x="22117" y="27120"/>
                  <a:pt x="22117" y="27120"/>
                </a:cubicBezTo>
                <a:cubicBezTo>
                  <a:pt x="16470" y="25634"/>
                  <a:pt x="0" y="33065"/>
                  <a:pt x="7529" y="44582"/>
                </a:cubicBezTo>
                <a:cubicBezTo>
                  <a:pt x="15058" y="55727"/>
                  <a:pt x="31058" y="52383"/>
                  <a:pt x="31058" y="52383"/>
                </a:cubicBezTo>
                <a:cubicBezTo>
                  <a:pt x="39058" y="65386"/>
                  <a:pt x="49411" y="57213"/>
                  <a:pt x="52235" y="58699"/>
                </a:cubicBezTo>
                <a:cubicBezTo>
                  <a:pt x="54588" y="59814"/>
                  <a:pt x="57882" y="59814"/>
                  <a:pt x="57882" y="59814"/>
                </a:cubicBezTo>
                <a:cubicBezTo>
                  <a:pt x="57882" y="59814"/>
                  <a:pt x="58352" y="68359"/>
                  <a:pt x="56000" y="75417"/>
                </a:cubicBezTo>
                <a:cubicBezTo>
                  <a:pt x="53176" y="82476"/>
                  <a:pt x="51294" y="92879"/>
                  <a:pt x="51294" y="92879"/>
                </a:cubicBezTo>
                <a:cubicBezTo>
                  <a:pt x="51294" y="92879"/>
                  <a:pt x="43764" y="90650"/>
                  <a:pt x="40000" y="88049"/>
                </a:cubicBezTo>
                <a:cubicBezTo>
                  <a:pt x="35764" y="85820"/>
                  <a:pt x="35764" y="80990"/>
                  <a:pt x="35764" y="80990"/>
                </a:cubicBezTo>
                <a:cubicBezTo>
                  <a:pt x="37647" y="80619"/>
                  <a:pt x="39058" y="78390"/>
                  <a:pt x="39058" y="78390"/>
                </a:cubicBezTo>
                <a:cubicBezTo>
                  <a:pt x="44705" y="81362"/>
                  <a:pt x="49411" y="77275"/>
                  <a:pt x="48941" y="72445"/>
                </a:cubicBezTo>
                <a:cubicBezTo>
                  <a:pt x="48941" y="67616"/>
                  <a:pt x="43294" y="67987"/>
                  <a:pt x="43294" y="67987"/>
                </a:cubicBezTo>
                <a:cubicBezTo>
                  <a:pt x="43294" y="67987"/>
                  <a:pt x="42823" y="65758"/>
                  <a:pt x="40000" y="65386"/>
                </a:cubicBezTo>
                <a:cubicBezTo>
                  <a:pt x="40470" y="61671"/>
                  <a:pt x="35764" y="61300"/>
                  <a:pt x="35764" y="61300"/>
                </a:cubicBezTo>
                <a:cubicBezTo>
                  <a:pt x="35764" y="61300"/>
                  <a:pt x="33411" y="58699"/>
                  <a:pt x="28235" y="58328"/>
                </a:cubicBezTo>
                <a:cubicBezTo>
                  <a:pt x="23529" y="57956"/>
                  <a:pt x="23058" y="63529"/>
                  <a:pt x="23058" y="63529"/>
                </a:cubicBezTo>
                <a:cubicBezTo>
                  <a:pt x="23058" y="63529"/>
                  <a:pt x="18823" y="63157"/>
                  <a:pt x="18352" y="65758"/>
                </a:cubicBezTo>
                <a:cubicBezTo>
                  <a:pt x="14117" y="64272"/>
                  <a:pt x="12235" y="68359"/>
                  <a:pt x="12235" y="68359"/>
                </a:cubicBezTo>
                <a:cubicBezTo>
                  <a:pt x="12235" y="68359"/>
                  <a:pt x="7529" y="68730"/>
                  <a:pt x="6117" y="72817"/>
                </a:cubicBezTo>
                <a:cubicBezTo>
                  <a:pt x="5176" y="77647"/>
                  <a:pt x="12705" y="79504"/>
                  <a:pt x="15058" y="78761"/>
                </a:cubicBezTo>
                <a:cubicBezTo>
                  <a:pt x="15058" y="82105"/>
                  <a:pt x="27294" y="82476"/>
                  <a:pt x="29176" y="82105"/>
                </a:cubicBezTo>
                <a:cubicBezTo>
                  <a:pt x="32000" y="87306"/>
                  <a:pt x="50823" y="96222"/>
                  <a:pt x="50823" y="96222"/>
                </a:cubicBezTo>
                <a:cubicBezTo>
                  <a:pt x="50823" y="96222"/>
                  <a:pt x="50823" y="103653"/>
                  <a:pt x="49882" y="108482"/>
                </a:cubicBezTo>
                <a:cubicBezTo>
                  <a:pt x="49411" y="113684"/>
                  <a:pt x="50352" y="115913"/>
                  <a:pt x="47529" y="117770"/>
                </a:cubicBezTo>
                <a:cubicBezTo>
                  <a:pt x="45647" y="119628"/>
                  <a:pt x="40470" y="119628"/>
                  <a:pt x="38117" y="119628"/>
                </a:cubicBezTo>
                <a:cubicBezTo>
                  <a:pt x="70588" y="119628"/>
                  <a:pt x="70588" y="119628"/>
                  <a:pt x="70588" y="119628"/>
                </a:cubicBezTo>
                <a:cubicBezTo>
                  <a:pt x="69176" y="118885"/>
                  <a:pt x="63058" y="112941"/>
                  <a:pt x="60705" y="101424"/>
                </a:cubicBezTo>
                <a:cubicBezTo>
                  <a:pt x="58823" y="89164"/>
                  <a:pt x="64000" y="79504"/>
                  <a:pt x="65411" y="78018"/>
                </a:cubicBezTo>
                <a:cubicBezTo>
                  <a:pt x="70588" y="70959"/>
                  <a:pt x="76705" y="59071"/>
                  <a:pt x="76705" y="59071"/>
                </a:cubicBezTo>
                <a:cubicBezTo>
                  <a:pt x="85176" y="57585"/>
                  <a:pt x="89882" y="52012"/>
                  <a:pt x="89882" y="52012"/>
                </a:cubicBezTo>
                <a:cubicBezTo>
                  <a:pt x="89882" y="52012"/>
                  <a:pt x="101647" y="56470"/>
                  <a:pt x="109647" y="51640"/>
                </a:cubicBezTo>
                <a:cubicBezTo>
                  <a:pt x="120000" y="44582"/>
                  <a:pt x="112941" y="34551"/>
                  <a:pt x="112941" y="34551"/>
                </a:cubicBezTo>
                <a:close/>
                <a:moveTo>
                  <a:pt x="31058" y="81733"/>
                </a:moveTo>
                <a:cubicBezTo>
                  <a:pt x="32000" y="81733"/>
                  <a:pt x="33882" y="81733"/>
                  <a:pt x="33882" y="81733"/>
                </a:cubicBezTo>
                <a:cubicBezTo>
                  <a:pt x="33411" y="83219"/>
                  <a:pt x="34823" y="85077"/>
                  <a:pt x="34823" y="85077"/>
                </a:cubicBezTo>
                <a:cubicBezTo>
                  <a:pt x="32941" y="83591"/>
                  <a:pt x="31058" y="81733"/>
                  <a:pt x="31058" y="81733"/>
                </a:cubicBezTo>
                <a:close/>
                <a:moveTo>
                  <a:pt x="63058" y="72445"/>
                </a:moveTo>
                <a:cubicBezTo>
                  <a:pt x="63058" y="72445"/>
                  <a:pt x="64000" y="65015"/>
                  <a:pt x="63529" y="60928"/>
                </a:cubicBezTo>
                <a:cubicBezTo>
                  <a:pt x="71058" y="60928"/>
                  <a:pt x="71058" y="60928"/>
                  <a:pt x="71058" y="60928"/>
                </a:cubicBezTo>
                <a:cubicBezTo>
                  <a:pt x="71058" y="60928"/>
                  <a:pt x="68705" y="67616"/>
                  <a:pt x="63058" y="72445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121898" tIns="60941" rIns="121898" bIns="60941" anchor="t" anchorCtr="0">
            <a:noAutofit/>
          </a:bodyPr>
          <a:lstStyle/>
          <a:p>
            <a:pPr>
              <a:buClr>
                <a:srgbClr val="000000"/>
              </a:buClr>
            </a:pPr>
            <a:endParaRPr sz="1200">
              <a:solidFill>
                <a:schemeClr val="dk1"/>
              </a:solidFill>
            </a:endParaRPr>
          </a:p>
        </p:txBody>
      </p:sp>
      <p:sp>
        <p:nvSpPr>
          <p:cNvPr id="67" name="ïsḷîḑè">
            <a:extLst>
              <a:ext uri="{FF2B5EF4-FFF2-40B4-BE49-F238E27FC236}">
                <a16:creationId xmlns:a16="http://schemas.microsoft.com/office/drawing/2014/main" id="{1523B36D-9644-486A-ABC6-9A713F76E709}"/>
              </a:ext>
            </a:extLst>
          </p:cNvPr>
          <p:cNvSpPr/>
          <p:nvPr/>
        </p:nvSpPr>
        <p:spPr>
          <a:xfrm>
            <a:off x="9101203" y="5985892"/>
            <a:ext cx="653948" cy="82749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38117" y="119628"/>
                </a:moveTo>
                <a:cubicBezTo>
                  <a:pt x="37176" y="119628"/>
                  <a:pt x="37176" y="119628"/>
                  <a:pt x="37176" y="119628"/>
                </a:cubicBezTo>
                <a:cubicBezTo>
                  <a:pt x="37176" y="119628"/>
                  <a:pt x="37647" y="119628"/>
                  <a:pt x="38117" y="119628"/>
                </a:cubicBezTo>
                <a:close/>
                <a:moveTo>
                  <a:pt x="70588" y="119628"/>
                </a:moveTo>
                <a:cubicBezTo>
                  <a:pt x="70588" y="119628"/>
                  <a:pt x="70588" y="119628"/>
                  <a:pt x="70588" y="119628"/>
                </a:cubicBezTo>
                <a:cubicBezTo>
                  <a:pt x="70588" y="120000"/>
                  <a:pt x="70588" y="120000"/>
                  <a:pt x="70588" y="120000"/>
                </a:cubicBezTo>
                <a:lnTo>
                  <a:pt x="70588" y="119628"/>
                </a:lnTo>
                <a:close/>
                <a:moveTo>
                  <a:pt x="112941" y="34551"/>
                </a:moveTo>
                <a:cubicBezTo>
                  <a:pt x="115294" y="24148"/>
                  <a:pt x="103529" y="25263"/>
                  <a:pt x="101176" y="23777"/>
                </a:cubicBezTo>
                <a:cubicBezTo>
                  <a:pt x="98823" y="19690"/>
                  <a:pt x="91764" y="18575"/>
                  <a:pt x="91764" y="18575"/>
                </a:cubicBezTo>
                <a:cubicBezTo>
                  <a:pt x="91764" y="7058"/>
                  <a:pt x="80470" y="8544"/>
                  <a:pt x="80470" y="8544"/>
                </a:cubicBezTo>
                <a:cubicBezTo>
                  <a:pt x="80470" y="8544"/>
                  <a:pt x="75764" y="0"/>
                  <a:pt x="64470" y="371"/>
                </a:cubicBezTo>
                <a:cubicBezTo>
                  <a:pt x="49882" y="1114"/>
                  <a:pt x="48000" y="13003"/>
                  <a:pt x="48000" y="13003"/>
                </a:cubicBezTo>
                <a:cubicBezTo>
                  <a:pt x="40470" y="12631"/>
                  <a:pt x="39058" y="18947"/>
                  <a:pt x="39058" y="18947"/>
                </a:cubicBezTo>
                <a:cubicBezTo>
                  <a:pt x="24000" y="16346"/>
                  <a:pt x="22117" y="27120"/>
                  <a:pt x="22117" y="27120"/>
                </a:cubicBezTo>
                <a:cubicBezTo>
                  <a:pt x="16941" y="25634"/>
                  <a:pt x="0" y="33065"/>
                  <a:pt x="7529" y="44582"/>
                </a:cubicBezTo>
                <a:cubicBezTo>
                  <a:pt x="15529" y="55727"/>
                  <a:pt x="31058" y="52383"/>
                  <a:pt x="31058" y="52383"/>
                </a:cubicBezTo>
                <a:cubicBezTo>
                  <a:pt x="39529" y="65386"/>
                  <a:pt x="49411" y="57213"/>
                  <a:pt x="52235" y="58699"/>
                </a:cubicBezTo>
                <a:cubicBezTo>
                  <a:pt x="54588" y="59814"/>
                  <a:pt x="57882" y="59814"/>
                  <a:pt x="57882" y="59814"/>
                </a:cubicBezTo>
                <a:cubicBezTo>
                  <a:pt x="57882" y="59814"/>
                  <a:pt x="58352" y="68359"/>
                  <a:pt x="56000" y="75417"/>
                </a:cubicBezTo>
                <a:cubicBezTo>
                  <a:pt x="53176" y="82476"/>
                  <a:pt x="51764" y="92879"/>
                  <a:pt x="51764" y="92879"/>
                </a:cubicBezTo>
                <a:cubicBezTo>
                  <a:pt x="51764" y="92879"/>
                  <a:pt x="43764" y="90650"/>
                  <a:pt x="40000" y="88049"/>
                </a:cubicBezTo>
                <a:cubicBezTo>
                  <a:pt x="35764" y="85820"/>
                  <a:pt x="35764" y="80990"/>
                  <a:pt x="35764" y="80990"/>
                </a:cubicBezTo>
                <a:cubicBezTo>
                  <a:pt x="37647" y="80619"/>
                  <a:pt x="39058" y="78390"/>
                  <a:pt x="39058" y="78390"/>
                </a:cubicBezTo>
                <a:cubicBezTo>
                  <a:pt x="44705" y="81362"/>
                  <a:pt x="49411" y="77275"/>
                  <a:pt x="48941" y="72445"/>
                </a:cubicBezTo>
                <a:cubicBezTo>
                  <a:pt x="48941" y="67616"/>
                  <a:pt x="43294" y="67987"/>
                  <a:pt x="43294" y="67987"/>
                </a:cubicBezTo>
                <a:cubicBezTo>
                  <a:pt x="43294" y="67987"/>
                  <a:pt x="42823" y="65758"/>
                  <a:pt x="40000" y="65386"/>
                </a:cubicBezTo>
                <a:cubicBezTo>
                  <a:pt x="40941" y="61671"/>
                  <a:pt x="35764" y="61300"/>
                  <a:pt x="35764" y="61300"/>
                </a:cubicBezTo>
                <a:cubicBezTo>
                  <a:pt x="35764" y="61300"/>
                  <a:pt x="33411" y="58699"/>
                  <a:pt x="28235" y="58328"/>
                </a:cubicBezTo>
                <a:cubicBezTo>
                  <a:pt x="23529" y="57956"/>
                  <a:pt x="23058" y="63529"/>
                  <a:pt x="23058" y="63529"/>
                </a:cubicBezTo>
                <a:cubicBezTo>
                  <a:pt x="23058" y="63529"/>
                  <a:pt x="18823" y="63157"/>
                  <a:pt x="18352" y="65758"/>
                </a:cubicBezTo>
                <a:cubicBezTo>
                  <a:pt x="14117" y="64272"/>
                  <a:pt x="12235" y="68359"/>
                  <a:pt x="12235" y="68359"/>
                </a:cubicBezTo>
                <a:cubicBezTo>
                  <a:pt x="12235" y="68359"/>
                  <a:pt x="7529" y="68730"/>
                  <a:pt x="6117" y="72817"/>
                </a:cubicBezTo>
                <a:cubicBezTo>
                  <a:pt x="5176" y="77647"/>
                  <a:pt x="13176" y="79504"/>
                  <a:pt x="15058" y="78761"/>
                </a:cubicBezTo>
                <a:cubicBezTo>
                  <a:pt x="15058" y="82105"/>
                  <a:pt x="27294" y="82476"/>
                  <a:pt x="29176" y="82105"/>
                </a:cubicBezTo>
                <a:cubicBezTo>
                  <a:pt x="32000" y="87306"/>
                  <a:pt x="50823" y="96222"/>
                  <a:pt x="50823" y="96222"/>
                </a:cubicBezTo>
                <a:cubicBezTo>
                  <a:pt x="50823" y="96222"/>
                  <a:pt x="50823" y="103653"/>
                  <a:pt x="49882" y="108482"/>
                </a:cubicBezTo>
                <a:cubicBezTo>
                  <a:pt x="49411" y="113684"/>
                  <a:pt x="50352" y="115913"/>
                  <a:pt x="48000" y="117770"/>
                </a:cubicBezTo>
                <a:cubicBezTo>
                  <a:pt x="45647" y="119628"/>
                  <a:pt x="40470" y="119628"/>
                  <a:pt x="38117" y="119628"/>
                </a:cubicBezTo>
                <a:cubicBezTo>
                  <a:pt x="70588" y="119628"/>
                  <a:pt x="70588" y="119628"/>
                  <a:pt x="70588" y="119628"/>
                </a:cubicBezTo>
                <a:cubicBezTo>
                  <a:pt x="69176" y="118885"/>
                  <a:pt x="63058" y="112941"/>
                  <a:pt x="60705" y="101424"/>
                </a:cubicBezTo>
                <a:cubicBezTo>
                  <a:pt x="58823" y="89164"/>
                  <a:pt x="64000" y="79504"/>
                  <a:pt x="65411" y="78018"/>
                </a:cubicBezTo>
                <a:cubicBezTo>
                  <a:pt x="70588" y="70959"/>
                  <a:pt x="77176" y="59071"/>
                  <a:pt x="77176" y="59071"/>
                </a:cubicBezTo>
                <a:cubicBezTo>
                  <a:pt x="85176" y="57585"/>
                  <a:pt x="89882" y="52012"/>
                  <a:pt x="89882" y="52012"/>
                </a:cubicBezTo>
                <a:cubicBezTo>
                  <a:pt x="89882" y="52012"/>
                  <a:pt x="101647" y="56470"/>
                  <a:pt x="109647" y="51640"/>
                </a:cubicBezTo>
                <a:cubicBezTo>
                  <a:pt x="120000" y="44582"/>
                  <a:pt x="112941" y="34551"/>
                  <a:pt x="112941" y="34551"/>
                </a:cubicBezTo>
                <a:close/>
                <a:moveTo>
                  <a:pt x="31058" y="81733"/>
                </a:moveTo>
                <a:cubicBezTo>
                  <a:pt x="32000" y="81733"/>
                  <a:pt x="33882" y="81733"/>
                  <a:pt x="33882" y="81733"/>
                </a:cubicBezTo>
                <a:cubicBezTo>
                  <a:pt x="33411" y="83219"/>
                  <a:pt x="34823" y="85077"/>
                  <a:pt x="34823" y="85077"/>
                </a:cubicBezTo>
                <a:cubicBezTo>
                  <a:pt x="32941" y="83591"/>
                  <a:pt x="31058" y="81733"/>
                  <a:pt x="31058" y="81733"/>
                </a:cubicBezTo>
                <a:close/>
                <a:moveTo>
                  <a:pt x="63058" y="72445"/>
                </a:moveTo>
                <a:cubicBezTo>
                  <a:pt x="63058" y="72445"/>
                  <a:pt x="64000" y="65015"/>
                  <a:pt x="63529" y="60928"/>
                </a:cubicBezTo>
                <a:cubicBezTo>
                  <a:pt x="71058" y="60928"/>
                  <a:pt x="71058" y="60928"/>
                  <a:pt x="71058" y="60928"/>
                </a:cubicBezTo>
                <a:cubicBezTo>
                  <a:pt x="71058" y="60928"/>
                  <a:pt x="68705" y="67616"/>
                  <a:pt x="63058" y="72445"/>
                </a:cubicBez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lIns="121898" tIns="60941" rIns="121898" bIns="60941" anchor="t" anchorCtr="0">
            <a:noAutofit/>
          </a:bodyPr>
          <a:lstStyle/>
          <a:p>
            <a:pPr>
              <a:buClr>
                <a:srgbClr val="000000"/>
              </a:buClr>
            </a:pPr>
            <a:endParaRPr sz="1200">
              <a:solidFill>
                <a:schemeClr val="dk1"/>
              </a:solidFill>
            </a:endParaRPr>
          </a:p>
        </p:txBody>
      </p:sp>
      <p:sp>
        <p:nvSpPr>
          <p:cNvPr id="68" name="íŝḻïḍè">
            <a:extLst>
              <a:ext uri="{FF2B5EF4-FFF2-40B4-BE49-F238E27FC236}">
                <a16:creationId xmlns:a16="http://schemas.microsoft.com/office/drawing/2014/main" id="{325BF13C-796C-458A-B620-13BC7FD07CBD}"/>
              </a:ext>
            </a:extLst>
          </p:cNvPr>
          <p:cNvSpPr/>
          <p:nvPr/>
        </p:nvSpPr>
        <p:spPr>
          <a:xfrm>
            <a:off x="8749891" y="6294876"/>
            <a:ext cx="410569" cy="5185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70500" y="120000"/>
                </a:moveTo>
                <a:cubicBezTo>
                  <a:pt x="69750" y="120000"/>
                  <a:pt x="69750" y="120000"/>
                  <a:pt x="69750" y="120000"/>
                </a:cubicBezTo>
                <a:cubicBezTo>
                  <a:pt x="70500" y="120000"/>
                  <a:pt x="70500" y="120000"/>
                  <a:pt x="70500" y="120000"/>
                </a:cubicBezTo>
                <a:close/>
                <a:moveTo>
                  <a:pt x="112500" y="34455"/>
                </a:moveTo>
                <a:cubicBezTo>
                  <a:pt x="114750" y="24356"/>
                  <a:pt x="103500" y="24950"/>
                  <a:pt x="100500" y="23762"/>
                </a:cubicBezTo>
                <a:cubicBezTo>
                  <a:pt x="98250" y="19603"/>
                  <a:pt x="91500" y="18415"/>
                  <a:pt x="91500" y="18415"/>
                </a:cubicBezTo>
                <a:cubicBezTo>
                  <a:pt x="91500" y="7128"/>
                  <a:pt x="80250" y="8316"/>
                  <a:pt x="80250" y="8316"/>
                </a:cubicBezTo>
                <a:cubicBezTo>
                  <a:pt x="80250" y="8316"/>
                  <a:pt x="75000" y="0"/>
                  <a:pt x="63750" y="0"/>
                </a:cubicBezTo>
                <a:cubicBezTo>
                  <a:pt x="49500" y="594"/>
                  <a:pt x="48000" y="12475"/>
                  <a:pt x="48000" y="12475"/>
                </a:cubicBezTo>
                <a:cubicBezTo>
                  <a:pt x="39750" y="12475"/>
                  <a:pt x="38250" y="18415"/>
                  <a:pt x="38250" y="18415"/>
                </a:cubicBezTo>
                <a:cubicBezTo>
                  <a:pt x="24000" y="16039"/>
                  <a:pt x="21750" y="26732"/>
                  <a:pt x="21750" y="26732"/>
                </a:cubicBezTo>
                <a:cubicBezTo>
                  <a:pt x="16500" y="25544"/>
                  <a:pt x="0" y="33267"/>
                  <a:pt x="7500" y="43960"/>
                </a:cubicBezTo>
                <a:cubicBezTo>
                  <a:pt x="15000" y="55247"/>
                  <a:pt x="30750" y="52277"/>
                  <a:pt x="30750" y="52277"/>
                </a:cubicBezTo>
                <a:cubicBezTo>
                  <a:pt x="39000" y="65346"/>
                  <a:pt x="49500" y="57029"/>
                  <a:pt x="51750" y="58217"/>
                </a:cubicBezTo>
                <a:cubicBezTo>
                  <a:pt x="54000" y="60000"/>
                  <a:pt x="57000" y="59405"/>
                  <a:pt x="57000" y="59405"/>
                </a:cubicBezTo>
                <a:cubicBezTo>
                  <a:pt x="57000" y="59405"/>
                  <a:pt x="58500" y="68316"/>
                  <a:pt x="55500" y="75445"/>
                </a:cubicBezTo>
                <a:cubicBezTo>
                  <a:pt x="53250" y="82574"/>
                  <a:pt x="51000" y="92673"/>
                  <a:pt x="51000" y="92673"/>
                </a:cubicBezTo>
                <a:cubicBezTo>
                  <a:pt x="51000" y="92673"/>
                  <a:pt x="43500" y="90297"/>
                  <a:pt x="39750" y="87920"/>
                </a:cubicBezTo>
                <a:cubicBezTo>
                  <a:pt x="35250" y="85544"/>
                  <a:pt x="36000" y="80792"/>
                  <a:pt x="36000" y="80792"/>
                </a:cubicBezTo>
                <a:cubicBezTo>
                  <a:pt x="37500" y="80792"/>
                  <a:pt x="39000" y="78415"/>
                  <a:pt x="39000" y="78415"/>
                </a:cubicBezTo>
                <a:cubicBezTo>
                  <a:pt x="44250" y="81386"/>
                  <a:pt x="48750" y="77227"/>
                  <a:pt x="48750" y="72475"/>
                </a:cubicBezTo>
                <a:cubicBezTo>
                  <a:pt x="48750" y="67722"/>
                  <a:pt x="42750" y="67722"/>
                  <a:pt x="42750" y="67722"/>
                </a:cubicBezTo>
                <a:cubicBezTo>
                  <a:pt x="42750" y="67722"/>
                  <a:pt x="42750" y="65940"/>
                  <a:pt x="39750" y="65346"/>
                </a:cubicBezTo>
                <a:cubicBezTo>
                  <a:pt x="40500" y="61782"/>
                  <a:pt x="35250" y="61188"/>
                  <a:pt x="35250" y="61188"/>
                </a:cubicBezTo>
                <a:cubicBezTo>
                  <a:pt x="35250" y="61188"/>
                  <a:pt x="33000" y="58217"/>
                  <a:pt x="27750" y="58217"/>
                </a:cubicBezTo>
                <a:cubicBezTo>
                  <a:pt x="23250" y="57623"/>
                  <a:pt x="22500" y="62970"/>
                  <a:pt x="22500" y="62970"/>
                </a:cubicBezTo>
                <a:cubicBezTo>
                  <a:pt x="22500" y="62970"/>
                  <a:pt x="18750" y="62970"/>
                  <a:pt x="18000" y="65346"/>
                </a:cubicBezTo>
                <a:cubicBezTo>
                  <a:pt x="13500" y="64158"/>
                  <a:pt x="12000" y="68316"/>
                  <a:pt x="12000" y="68316"/>
                </a:cubicBezTo>
                <a:cubicBezTo>
                  <a:pt x="12000" y="68316"/>
                  <a:pt x="6750" y="68910"/>
                  <a:pt x="6000" y="72475"/>
                </a:cubicBezTo>
                <a:cubicBezTo>
                  <a:pt x="5250" y="77821"/>
                  <a:pt x="12750" y="79603"/>
                  <a:pt x="15000" y="78415"/>
                </a:cubicBezTo>
                <a:cubicBezTo>
                  <a:pt x="15000" y="81980"/>
                  <a:pt x="27000" y="82574"/>
                  <a:pt x="29250" y="81980"/>
                </a:cubicBezTo>
                <a:cubicBezTo>
                  <a:pt x="31500" y="87326"/>
                  <a:pt x="50250" y="96237"/>
                  <a:pt x="50250" y="96237"/>
                </a:cubicBezTo>
                <a:cubicBezTo>
                  <a:pt x="50250" y="96237"/>
                  <a:pt x="50250" y="103366"/>
                  <a:pt x="49500" y="108712"/>
                </a:cubicBezTo>
                <a:cubicBezTo>
                  <a:pt x="48750" y="113465"/>
                  <a:pt x="50250" y="115841"/>
                  <a:pt x="47250" y="117623"/>
                </a:cubicBezTo>
                <a:cubicBezTo>
                  <a:pt x="45000" y="119405"/>
                  <a:pt x="39750" y="119405"/>
                  <a:pt x="38250" y="120000"/>
                </a:cubicBezTo>
                <a:cubicBezTo>
                  <a:pt x="69750" y="120000"/>
                  <a:pt x="69750" y="120000"/>
                  <a:pt x="69750" y="120000"/>
                </a:cubicBezTo>
                <a:cubicBezTo>
                  <a:pt x="69000" y="118811"/>
                  <a:pt x="63000" y="112871"/>
                  <a:pt x="60750" y="101584"/>
                </a:cubicBezTo>
                <a:cubicBezTo>
                  <a:pt x="58500" y="89108"/>
                  <a:pt x="63750" y="79009"/>
                  <a:pt x="64500" y="77821"/>
                </a:cubicBezTo>
                <a:cubicBezTo>
                  <a:pt x="70500" y="70693"/>
                  <a:pt x="76500" y="58811"/>
                  <a:pt x="76500" y="58811"/>
                </a:cubicBezTo>
                <a:cubicBezTo>
                  <a:pt x="84750" y="57623"/>
                  <a:pt x="89250" y="51683"/>
                  <a:pt x="89250" y="51683"/>
                </a:cubicBezTo>
                <a:cubicBezTo>
                  <a:pt x="89250" y="51683"/>
                  <a:pt x="101250" y="56435"/>
                  <a:pt x="109500" y="51683"/>
                </a:cubicBezTo>
                <a:cubicBezTo>
                  <a:pt x="120000" y="43960"/>
                  <a:pt x="112500" y="34455"/>
                  <a:pt x="112500" y="34455"/>
                </a:cubicBezTo>
                <a:close/>
                <a:moveTo>
                  <a:pt x="30750" y="81386"/>
                </a:moveTo>
                <a:cubicBezTo>
                  <a:pt x="31500" y="81386"/>
                  <a:pt x="33750" y="81386"/>
                  <a:pt x="33750" y="81386"/>
                </a:cubicBezTo>
                <a:cubicBezTo>
                  <a:pt x="33000" y="83168"/>
                  <a:pt x="34500" y="84950"/>
                  <a:pt x="34500" y="84950"/>
                </a:cubicBezTo>
                <a:cubicBezTo>
                  <a:pt x="32250" y="83762"/>
                  <a:pt x="30750" y="81386"/>
                  <a:pt x="30750" y="81386"/>
                </a:cubicBezTo>
                <a:close/>
                <a:moveTo>
                  <a:pt x="62250" y="72475"/>
                </a:moveTo>
                <a:cubicBezTo>
                  <a:pt x="62250" y="72475"/>
                  <a:pt x="63750" y="64752"/>
                  <a:pt x="63000" y="60594"/>
                </a:cubicBezTo>
                <a:cubicBezTo>
                  <a:pt x="70500" y="61188"/>
                  <a:pt x="70500" y="61188"/>
                  <a:pt x="70500" y="61188"/>
                </a:cubicBezTo>
                <a:cubicBezTo>
                  <a:pt x="70500" y="61188"/>
                  <a:pt x="68250" y="67128"/>
                  <a:pt x="62250" y="72475"/>
                </a:cubicBezTo>
                <a:close/>
                <a:moveTo>
                  <a:pt x="38250" y="120000"/>
                </a:moveTo>
                <a:cubicBezTo>
                  <a:pt x="36750" y="120000"/>
                  <a:pt x="36750" y="120000"/>
                  <a:pt x="36750" y="120000"/>
                </a:cubicBezTo>
                <a:cubicBezTo>
                  <a:pt x="36750" y="120000"/>
                  <a:pt x="37500" y="120000"/>
                  <a:pt x="38250" y="120000"/>
                </a:cubicBez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lIns="121898" tIns="60941" rIns="121898" bIns="60941" anchor="t" anchorCtr="0">
            <a:noAutofit/>
          </a:bodyPr>
          <a:lstStyle/>
          <a:p>
            <a:pPr>
              <a:buClr>
                <a:srgbClr val="000000"/>
              </a:buClr>
            </a:pPr>
            <a:endParaRPr sz="1200">
              <a:solidFill>
                <a:schemeClr val="dk1"/>
              </a:solidFill>
            </a:endParaRPr>
          </a:p>
        </p:txBody>
      </p:sp>
      <p:sp>
        <p:nvSpPr>
          <p:cNvPr id="56" name="ïśliḓé">
            <a:extLst>
              <a:ext uri="{FF2B5EF4-FFF2-40B4-BE49-F238E27FC236}">
                <a16:creationId xmlns:a16="http://schemas.microsoft.com/office/drawing/2014/main" id="{DE7947C9-CDF7-4F44-8EC7-0D3DB3567AF0}"/>
              </a:ext>
            </a:extLst>
          </p:cNvPr>
          <p:cNvSpPr/>
          <p:nvPr/>
        </p:nvSpPr>
        <p:spPr>
          <a:xfrm>
            <a:off x="-22060" y="5171098"/>
            <a:ext cx="1301548" cy="1642281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70532" y="119812"/>
                </a:moveTo>
                <a:cubicBezTo>
                  <a:pt x="70295" y="119812"/>
                  <a:pt x="70295" y="119812"/>
                  <a:pt x="70295" y="119812"/>
                </a:cubicBezTo>
                <a:cubicBezTo>
                  <a:pt x="70532" y="119812"/>
                  <a:pt x="70532" y="120000"/>
                  <a:pt x="70532" y="120000"/>
                </a:cubicBezTo>
                <a:lnTo>
                  <a:pt x="70532" y="119812"/>
                </a:lnTo>
                <a:close/>
                <a:moveTo>
                  <a:pt x="38106" y="119812"/>
                </a:moveTo>
                <a:cubicBezTo>
                  <a:pt x="37159" y="119812"/>
                  <a:pt x="37159" y="119812"/>
                  <a:pt x="37159" y="119812"/>
                </a:cubicBezTo>
                <a:cubicBezTo>
                  <a:pt x="37159" y="119812"/>
                  <a:pt x="37633" y="119812"/>
                  <a:pt x="38106" y="119812"/>
                </a:cubicBezTo>
                <a:close/>
                <a:moveTo>
                  <a:pt x="112662" y="34258"/>
                </a:moveTo>
                <a:cubicBezTo>
                  <a:pt x="114792" y="24149"/>
                  <a:pt x="103431" y="25085"/>
                  <a:pt x="101065" y="23775"/>
                </a:cubicBezTo>
                <a:cubicBezTo>
                  <a:pt x="98698" y="19656"/>
                  <a:pt x="91834" y="18533"/>
                  <a:pt x="91834" y="18533"/>
                </a:cubicBezTo>
                <a:cubicBezTo>
                  <a:pt x="91597" y="7113"/>
                  <a:pt x="80236" y="8237"/>
                  <a:pt x="80236" y="8237"/>
                </a:cubicBezTo>
                <a:cubicBezTo>
                  <a:pt x="80236" y="8237"/>
                  <a:pt x="75502" y="0"/>
                  <a:pt x="64142" y="187"/>
                </a:cubicBezTo>
                <a:cubicBezTo>
                  <a:pt x="49940" y="748"/>
                  <a:pt x="48047" y="12730"/>
                  <a:pt x="48047" y="12730"/>
                </a:cubicBezTo>
                <a:cubicBezTo>
                  <a:pt x="40000" y="12542"/>
                  <a:pt x="38816" y="18720"/>
                  <a:pt x="38816" y="18720"/>
                </a:cubicBezTo>
                <a:cubicBezTo>
                  <a:pt x="23905" y="16287"/>
                  <a:pt x="22011" y="26957"/>
                  <a:pt x="22011" y="26957"/>
                </a:cubicBezTo>
                <a:cubicBezTo>
                  <a:pt x="16568" y="25647"/>
                  <a:pt x="0" y="33135"/>
                  <a:pt x="7573" y="44368"/>
                </a:cubicBezTo>
                <a:cubicBezTo>
                  <a:pt x="15147" y="55600"/>
                  <a:pt x="30769" y="52230"/>
                  <a:pt x="30769" y="52230"/>
                </a:cubicBezTo>
                <a:cubicBezTo>
                  <a:pt x="39053" y="65335"/>
                  <a:pt x="49467" y="57098"/>
                  <a:pt x="51834" y="58408"/>
                </a:cubicBezTo>
                <a:cubicBezTo>
                  <a:pt x="54437" y="59906"/>
                  <a:pt x="57514" y="59719"/>
                  <a:pt x="57514" y="59719"/>
                </a:cubicBezTo>
                <a:cubicBezTo>
                  <a:pt x="57514" y="59719"/>
                  <a:pt x="58461" y="68330"/>
                  <a:pt x="55857" y="75444"/>
                </a:cubicBezTo>
                <a:cubicBezTo>
                  <a:pt x="53254" y="82558"/>
                  <a:pt x="51360" y="92854"/>
                  <a:pt x="51360" y="92854"/>
                </a:cubicBezTo>
                <a:cubicBezTo>
                  <a:pt x="51360" y="92854"/>
                  <a:pt x="43786" y="90421"/>
                  <a:pt x="39763" y="88174"/>
                </a:cubicBezTo>
                <a:cubicBezTo>
                  <a:pt x="35739" y="85741"/>
                  <a:pt x="35739" y="81060"/>
                  <a:pt x="35739" y="81060"/>
                </a:cubicBezTo>
                <a:cubicBezTo>
                  <a:pt x="37633" y="80686"/>
                  <a:pt x="38816" y="78439"/>
                  <a:pt x="38816" y="78439"/>
                </a:cubicBezTo>
                <a:cubicBezTo>
                  <a:pt x="44497" y="81435"/>
                  <a:pt x="49230" y="77316"/>
                  <a:pt x="48994" y="72449"/>
                </a:cubicBezTo>
                <a:cubicBezTo>
                  <a:pt x="48520" y="67769"/>
                  <a:pt x="43076" y="67769"/>
                  <a:pt x="43076" y="67769"/>
                </a:cubicBezTo>
                <a:cubicBezTo>
                  <a:pt x="43076" y="67769"/>
                  <a:pt x="42603" y="65897"/>
                  <a:pt x="40000" y="65335"/>
                </a:cubicBezTo>
                <a:cubicBezTo>
                  <a:pt x="40473" y="61591"/>
                  <a:pt x="35502" y="61404"/>
                  <a:pt x="35502" y="61404"/>
                </a:cubicBezTo>
                <a:cubicBezTo>
                  <a:pt x="35502" y="61404"/>
                  <a:pt x="33372" y="58595"/>
                  <a:pt x="28165" y="58221"/>
                </a:cubicBezTo>
                <a:cubicBezTo>
                  <a:pt x="23195" y="57659"/>
                  <a:pt x="22958" y="63276"/>
                  <a:pt x="22958" y="63276"/>
                </a:cubicBezTo>
                <a:cubicBezTo>
                  <a:pt x="22958" y="63276"/>
                  <a:pt x="18934" y="63088"/>
                  <a:pt x="18461" y="65522"/>
                </a:cubicBezTo>
                <a:cubicBezTo>
                  <a:pt x="13964" y="64024"/>
                  <a:pt x="12307" y="68330"/>
                  <a:pt x="12307" y="68330"/>
                </a:cubicBezTo>
                <a:cubicBezTo>
                  <a:pt x="12307" y="68330"/>
                  <a:pt x="7100" y="68705"/>
                  <a:pt x="6153" y="72823"/>
                </a:cubicBezTo>
                <a:cubicBezTo>
                  <a:pt x="5207" y="77691"/>
                  <a:pt x="12781" y="79563"/>
                  <a:pt x="14911" y="78627"/>
                </a:cubicBezTo>
                <a:cubicBezTo>
                  <a:pt x="14911" y="81996"/>
                  <a:pt x="27218" y="82558"/>
                  <a:pt x="29112" y="81996"/>
                </a:cubicBezTo>
                <a:cubicBezTo>
                  <a:pt x="31952" y="87425"/>
                  <a:pt x="50414" y="96037"/>
                  <a:pt x="50414" y="96037"/>
                </a:cubicBezTo>
                <a:cubicBezTo>
                  <a:pt x="50414" y="96037"/>
                  <a:pt x="50650" y="103525"/>
                  <a:pt x="49940" y="108580"/>
                </a:cubicBezTo>
                <a:cubicBezTo>
                  <a:pt x="49230" y="113634"/>
                  <a:pt x="50414" y="115881"/>
                  <a:pt x="47573" y="117940"/>
                </a:cubicBezTo>
                <a:cubicBezTo>
                  <a:pt x="45443" y="119625"/>
                  <a:pt x="40236" y="119812"/>
                  <a:pt x="38106" y="119812"/>
                </a:cubicBezTo>
                <a:cubicBezTo>
                  <a:pt x="70295" y="119812"/>
                  <a:pt x="70295" y="119812"/>
                  <a:pt x="70295" y="119812"/>
                </a:cubicBezTo>
                <a:cubicBezTo>
                  <a:pt x="69112" y="118876"/>
                  <a:pt x="62958" y="112886"/>
                  <a:pt x="60828" y="101466"/>
                </a:cubicBezTo>
                <a:cubicBezTo>
                  <a:pt x="58698" y="89110"/>
                  <a:pt x="63668" y="79375"/>
                  <a:pt x="65088" y="77878"/>
                </a:cubicBezTo>
                <a:cubicBezTo>
                  <a:pt x="70532" y="70951"/>
                  <a:pt x="76686" y="59157"/>
                  <a:pt x="76686" y="59157"/>
                </a:cubicBezTo>
                <a:cubicBezTo>
                  <a:pt x="84970" y="57659"/>
                  <a:pt x="89704" y="51669"/>
                  <a:pt x="89704" y="51669"/>
                </a:cubicBezTo>
                <a:cubicBezTo>
                  <a:pt x="89704" y="51669"/>
                  <a:pt x="101301" y="56349"/>
                  <a:pt x="109585" y="51669"/>
                </a:cubicBezTo>
                <a:cubicBezTo>
                  <a:pt x="120000" y="44368"/>
                  <a:pt x="112662" y="34258"/>
                  <a:pt x="112662" y="34258"/>
                </a:cubicBezTo>
                <a:close/>
                <a:moveTo>
                  <a:pt x="31005" y="81809"/>
                </a:moveTo>
                <a:cubicBezTo>
                  <a:pt x="31952" y="81622"/>
                  <a:pt x="33846" y="81622"/>
                  <a:pt x="33846" y="81622"/>
                </a:cubicBezTo>
                <a:cubicBezTo>
                  <a:pt x="33372" y="83307"/>
                  <a:pt x="34792" y="85179"/>
                  <a:pt x="34792" y="85179"/>
                </a:cubicBezTo>
                <a:cubicBezTo>
                  <a:pt x="32662" y="83681"/>
                  <a:pt x="31005" y="81809"/>
                  <a:pt x="31005" y="81809"/>
                </a:cubicBezTo>
                <a:close/>
                <a:moveTo>
                  <a:pt x="62721" y="72449"/>
                </a:moveTo>
                <a:cubicBezTo>
                  <a:pt x="62721" y="72449"/>
                  <a:pt x="63905" y="65148"/>
                  <a:pt x="63431" y="60842"/>
                </a:cubicBezTo>
                <a:cubicBezTo>
                  <a:pt x="70769" y="61029"/>
                  <a:pt x="70769" y="61029"/>
                  <a:pt x="70769" y="61029"/>
                </a:cubicBezTo>
                <a:cubicBezTo>
                  <a:pt x="70769" y="61029"/>
                  <a:pt x="68639" y="67394"/>
                  <a:pt x="62721" y="72449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lIns="121898" tIns="60941" rIns="121898" bIns="60941" anchor="t" anchorCtr="0">
            <a:noAutofit/>
          </a:bodyPr>
          <a:lstStyle/>
          <a:p>
            <a:pPr>
              <a:buClr>
                <a:srgbClr val="000000"/>
              </a:buClr>
            </a:pPr>
            <a:endParaRPr sz="1200">
              <a:solidFill>
                <a:schemeClr val="dk1"/>
              </a:solidFill>
            </a:endParaRPr>
          </a:p>
        </p:txBody>
      </p:sp>
      <p:sp>
        <p:nvSpPr>
          <p:cNvPr id="57" name="ïṥḷïḋê">
            <a:extLst>
              <a:ext uri="{FF2B5EF4-FFF2-40B4-BE49-F238E27FC236}">
                <a16:creationId xmlns:a16="http://schemas.microsoft.com/office/drawing/2014/main" id="{2BB9EE1C-3824-49B9-8BDB-B2FF47A05DBB}"/>
              </a:ext>
            </a:extLst>
          </p:cNvPr>
          <p:cNvSpPr/>
          <p:nvPr/>
        </p:nvSpPr>
        <p:spPr>
          <a:xfrm>
            <a:off x="1986068" y="5717114"/>
            <a:ext cx="867698" cy="1096265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82721" y="119719"/>
                </a:moveTo>
                <a:cubicBezTo>
                  <a:pt x="81656" y="119719"/>
                  <a:pt x="81656" y="119719"/>
                  <a:pt x="81656" y="119719"/>
                </a:cubicBezTo>
                <a:cubicBezTo>
                  <a:pt x="82366" y="119719"/>
                  <a:pt x="82721" y="119719"/>
                  <a:pt x="82721" y="119719"/>
                </a:cubicBezTo>
                <a:close/>
                <a:moveTo>
                  <a:pt x="49349" y="120000"/>
                </a:moveTo>
                <a:cubicBezTo>
                  <a:pt x="49349" y="120000"/>
                  <a:pt x="49349" y="120000"/>
                  <a:pt x="49704" y="119719"/>
                </a:cubicBezTo>
                <a:cubicBezTo>
                  <a:pt x="49349" y="119719"/>
                  <a:pt x="49349" y="119719"/>
                  <a:pt x="49349" y="119719"/>
                </a:cubicBezTo>
                <a:lnTo>
                  <a:pt x="49349" y="120000"/>
                </a:lnTo>
                <a:close/>
                <a:moveTo>
                  <a:pt x="107573" y="68411"/>
                </a:moveTo>
                <a:cubicBezTo>
                  <a:pt x="107573" y="68411"/>
                  <a:pt x="106153" y="64205"/>
                  <a:pt x="101538" y="65607"/>
                </a:cubicBezTo>
                <a:cubicBezTo>
                  <a:pt x="101183" y="63084"/>
                  <a:pt x="96923" y="63364"/>
                  <a:pt x="96923" y="63364"/>
                </a:cubicBezTo>
                <a:cubicBezTo>
                  <a:pt x="96923" y="63364"/>
                  <a:pt x="96568" y="57757"/>
                  <a:pt x="91597" y="58317"/>
                </a:cubicBezTo>
                <a:cubicBezTo>
                  <a:pt x="86627" y="58598"/>
                  <a:pt x="84142" y="61401"/>
                  <a:pt x="84142" y="61401"/>
                </a:cubicBezTo>
                <a:cubicBezTo>
                  <a:pt x="84142" y="61401"/>
                  <a:pt x="79171" y="61682"/>
                  <a:pt x="79881" y="65327"/>
                </a:cubicBezTo>
                <a:cubicBezTo>
                  <a:pt x="77396" y="65887"/>
                  <a:pt x="76686" y="67850"/>
                  <a:pt x="76686" y="67850"/>
                </a:cubicBezTo>
                <a:cubicBezTo>
                  <a:pt x="76686" y="67850"/>
                  <a:pt x="71360" y="67850"/>
                  <a:pt x="71005" y="72616"/>
                </a:cubicBezTo>
                <a:cubicBezTo>
                  <a:pt x="70650" y="77383"/>
                  <a:pt x="75621" y="81588"/>
                  <a:pt x="80946" y="78504"/>
                </a:cubicBezTo>
                <a:cubicBezTo>
                  <a:pt x="80946" y="78504"/>
                  <a:pt x="82366" y="80747"/>
                  <a:pt x="84142" y="81028"/>
                </a:cubicBezTo>
                <a:cubicBezTo>
                  <a:pt x="84142" y="81028"/>
                  <a:pt x="84142" y="85794"/>
                  <a:pt x="80236" y="88037"/>
                </a:cubicBezTo>
                <a:cubicBezTo>
                  <a:pt x="76331" y="90560"/>
                  <a:pt x="68520" y="92803"/>
                  <a:pt x="68520" y="92803"/>
                </a:cubicBezTo>
                <a:cubicBezTo>
                  <a:pt x="68520" y="92803"/>
                  <a:pt x="66745" y="82429"/>
                  <a:pt x="64260" y="75420"/>
                </a:cubicBezTo>
                <a:cubicBezTo>
                  <a:pt x="61420" y="68411"/>
                  <a:pt x="62485" y="59719"/>
                  <a:pt x="62485" y="59719"/>
                </a:cubicBezTo>
                <a:cubicBezTo>
                  <a:pt x="62485" y="59719"/>
                  <a:pt x="65680" y="60000"/>
                  <a:pt x="68165" y="58598"/>
                </a:cubicBezTo>
                <a:cubicBezTo>
                  <a:pt x="70650" y="57196"/>
                  <a:pt x="80591" y="65327"/>
                  <a:pt x="89112" y="52149"/>
                </a:cubicBezTo>
                <a:cubicBezTo>
                  <a:pt x="89112" y="52149"/>
                  <a:pt x="104733" y="55514"/>
                  <a:pt x="112189" y="44299"/>
                </a:cubicBezTo>
                <a:cubicBezTo>
                  <a:pt x="120000" y="33084"/>
                  <a:pt x="103313" y="25794"/>
                  <a:pt x="97988" y="26915"/>
                </a:cubicBezTo>
                <a:cubicBezTo>
                  <a:pt x="97988" y="26915"/>
                  <a:pt x="95857" y="16542"/>
                  <a:pt x="80946" y="18785"/>
                </a:cubicBezTo>
                <a:cubicBezTo>
                  <a:pt x="80946" y="18785"/>
                  <a:pt x="79881" y="12616"/>
                  <a:pt x="72071" y="12897"/>
                </a:cubicBezTo>
                <a:cubicBezTo>
                  <a:pt x="72071" y="12897"/>
                  <a:pt x="69940" y="841"/>
                  <a:pt x="55739" y="280"/>
                </a:cubicBezTo>
                <a:cubicBezTo>
                  <a:pt x="44378" y="0"/>
                  <a:pt x="39763" y="8411"/>
                  <a:pt x="39763" y="8411"/>
                </a:cubicBezTo>
                <a:cubicBezTo>
                  <a:pt x="39763" y="8411"/>
                  <a:pt x="28402" y="7289"/>
                  <a:pt x="28047" y="18504"/>
                </a:cubicBezTo>
                <a:cubicBezTo>
                  <a:pt x="28047" y="18504"/>
                  <a:pt x="21301" y="19906"/>
                  <a:pt x="18816" y="23831"/>
                </a:cubicBezTo>
                <a:cubicBezTo>
                  <a:pt x="16331" y="25233"/>
                  <a:pt x="4970" y="24392"/>
                  <a:pt x="7100" y="34485"/>
                </a:cubicBezTo>
                <a:cubicBezTo>
                  <a:pt x="7100" y="34485"/>
                  <a:pt x="0" y="44299"/>
                  <a:pt x="10295" y="51588"/>
                </a:cubicBezTo>
                <a:cubicBezTo>
                  <a:pt x="18461" y="56355"/>
                  <a:pt x="30177" y="51869"/>
                  <a:pt x="30177" y="51869"/>
                </a:cubicBezTo>
                <a:cubicBezTo>
                  <a:pt x="30177" y="51869"/>
                  <a:pt x="34792" y="57757"/>
                  <a:pt x="42958" y="59158"/>
                </a:cubicBezTo>
                <a:cubicBezTo>
                  <a:pt x="42958" y="59158"/>
                  <a:pt x="49349" y="70934"/>
                  <a:pt x="54674" y="77943"/>
                </a:cubicBezTo>
                <a:cubicBezTo>
                  <a:pt x="56094" y="79345"/>
                  <a:pt x="61420" y="89158"/>
                  <a:pt x="59289" y="101495"/>
                </a:cubicBezTo>
                <a:cubicBezTo>
                  <a:pt x="56804" y="112710"/>
                  <a:pt x="50769" y="118878"/>
                  <a:pt x="49704" y="119719"/>
                </a:cubicBezTo>
                <a:cubicBezTo>
                  <a:pt x="81656" y="119719"/>
                  <a:pt x="81656" y="119719"/>
                  <a:pt x="81656" y="119719"/>
                </a:cubicBezTo>
                <a:cubicBezTo>
                  <a:pt x="79881" y="119719"/>
                  <a:pt x="74556" y="119439"/>
                  <a:pt x="72426" y="118037"/>
                </a:cubicBezTo>
                <a:cubicBezTo>
                  <a:pt x="69585" y="115794"/>
                  <a:pt x="70650" y="113551"/>
                  <a:pt x="69940" y="108504"/>
                </a:cubicBezTo>
                <a:cubicBezTo>
                  <a:pt x="69230" y="103457"/>
                  <a:pt x="69585" y="96168"/>
                  <a:pt x="69585" y="96168"/>
                </a:cubicBezTo>
                <a:cubicBezTo>
                  <a:pt x="69585" y="96168"/>
                  <a:pt x="88047" y="87476"/>
                  <a:pt x="90887" y="82149"/>
                </a:cubicBezTo>
                <a:cubicBezTo>
                  <a:pt x="92662" y="82710"/>
                  <a:pt x="105088" y="81869"/>
                  <a:pt x="105088" y="78785"/>
                </a:cubicBezTo>
                <a:cubicBezTo>
                  <a:pt x="107218" y="79626"/>
                  <a:pt x="114674" y="77663"/>
                  <a:pt x="113964" y="72897"/>
                </a:cubicBezTo>
                <a:cubicBezTo>
                  <a:pt x="112544" y="68691"/>
                  <a:pt x="107573" y="68411"/>
                  <a:pt x="107573" y="68411"/>
                </a:cubicBezTo>
                <a:close/>
                <a:moveTo>
                  <a:pt x="48994" y="61121"/>
                </a:moveTo>
                <a:cubicBezTo>
                  <a:pt x="56449" y="60841"/>
                  <a:pt x="56449" y="60841"/>
                  <a:pt x="56449" y="60841"/>
                </a:cubicBezTo>
                <a:cubicBezTo>
                  <a:pt x="56094" y="65046"/>
                  <a:pt x="57159" y="72616"/>
                  <a:pt x="57159" y="72616"/>
                </a:cubicBezTo>
                <a:cubicBezTo>
                  <a:pt x="51479" y="67570"/>
                  <a:pt x="48994" y="61121"/>
                  <a:pt x="48994" y="61121"/>
                </a:cubicBezTo>
                <a:close/>
                <a:moveTo>
                  <a:pt x="85207" y="85233"/>
                </a:moveTo>
                <a:cubicBezTo>
                  <a:pt x="85207" y="85233"/>
                  <a:pt x="86272" y="83271"/>
                  <a:pt x="85917" y="81588"/>
                </a:cubicBezTo>
                <a:cubicBezTo>
                  <a:pt x="85917" y="81588"/>
                  <a:pt x="88047" y="81588"/>
                  <a:pt x="89112" y="81869"/>
                </a:cubicBezTo>
                <a:cubicBezTo>
                  <a:pt x="89112" y="81869"/>
                  <a:pt x="86982" y="83831"/>
                  <a:pt x="85207" y="85233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lIns="121898" tIns="60941" rIns="121898" bIns="60941" anchor="t" anchorCtr="0">
            <a:noAutofit/>
          </a:bodyPr>
          <a:lstStyle/>
          <a:p>
            <a:pPr>
              <a:buClr>
                <a:srgbClr val="000000"/>
              </a:buClr>
            </a:pPr>
            <a:endParaRPr sz="1200">
              <a:solidFill>
                <a:schemeClr val="dk1"/>
              </a:solidFill>
            </a:endParaRPr>
          </a:p>
        </p:txBody>
      </p:sp>
      <p:sp>
        <p:nvSpPr>
          <p:cNvPr id="58" name="islíḍe">
            <a:extLst>
              <a:ext uri="{FF2B5EF4-FFF2-40B4-BE49-F238E27FC236}">
                <a16:creationId xmlns:a16="http://schemas.microsoft.com/office/drawing/2014/main" id="{38E0852E-3229-4466-BE62-E266E1EA16C4}"/>
              </a:ext>
            </a:extLst>
          </p:cNvPr>
          <p:cNvSpPr/>
          <p:nvPr/>
        </p:nvSpPr>
        <p:spPr>
          <a:xfrm>
            <a:off x="4292879" y="5890654"/>
            <a:ext cx="732254" cy="92272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49263" y="120000"/>
                </a:moveTo>
                <a:cubicBezTo>
                  <a:pt x="49263" y="120000"/>
                  <a:pt x="49263" y="120000"/>
                  <a:pt x="49684" y="119666"/>
                </a:cubicBezTo>
                <a:cubicBezTo>
                  <a:pt x="49263" y="119666"/>
                  <a:pt x="49263" y="119666"/>
                  <a:pt x="49263" y="119666"/>
                </a:cubicBezTo>
                <a:lnTo>
                  <a:pt x="49263" y="120000"/>
                </a:lnTo>
                <a:close/>
                <a:moveTo>
                  <a:pt x="107368" y="68333"/>
                </a:moveTo>
                <a:cubicBezTo>
                  <a:pt x="107368" y="68333"/>
                  <a:pt x="105684" y="64000"/>
                  <a:pt x="101473" y="65666"/>
                </a:cubicBezTo>
                <a:cubicBezTo>
                  <a:pt x="101052" y="63000"/>
                  <a:pt x="96842" y="63333"/>
                  <a:pt x="96842" y="63333"/>
                </a:cubicBezTo>
                <a:cubicBezTo>
                  <a:pt x="96842" y="63333"/>
                  <a:pt x="96421" y="57666"/>
                  <a:pt x="91368" y="58000"/>
                </a:cubicBezTo>
                <a:cubicBezTo>
                  <a:pt x="86736" y="58333"/>
                  <a:pt x="84210" y="61333"/>
                  <a:pt x="84210" y="61333"/>
                </a:cubicBezTo>
                <a:cubicBezTo>
                  <a:pt x="84210" y="61333"/>
                  <a:pt x="79157" y="61666"/>
                  <a:pt x="80000" y="65333"/>
                </a:cubicBezTo>
                <a:cubicBezTo>
                  <a:pt x="77052" y="65666"/>
                  <a:pt x="76631" y="67666"/>
                  <a:pt x="76631" y="67666"/>
                </a:cubicBezTo>
                <a:cubicBezTo>
                  <a:pt x="76631" y="67666"/>
                  <a:pt x="71157" y="67666"/>
                  <a:pt x="70736" y="72333"/>
                </a:cubicBezTo>
                <a:cubicBezTo>
                  <a:pt x="70736" y="77333"/>
                  <a:pt x="75368" y="81333"/>
                  <a:pt x="80842" y="78333"/>
                </a:cubicBezTo>
                <a:cubicBezTo>
                  <a:pt x="80842" y="78333"/>
                  <a:pt x="82105" y="80666"/>
                  <a:pt x="83789" y="81000"/>
                </a:cubicBezTo>
                <a:cubicBezTo>
                  <a:pt x="83789" y="81000"/>
                  <a:pt x="84210" y="85666"/>
                  <a:pt x="80000" y="88000"/>
                </a:cubicBezTo>
                <a:cubicBezTo>
                  <a:pt x="76210" y="90333"/>
                  <a:pt x="68210" y="92666"/>
                  <a:pt x="68210" y="92666"/>
                </a:cubicBezTo>
                <a:cubicBezTo>
                  <a:pt x="68210" y="92666"/>
                  <a:pt x="66526" y="82333"/>
                  <a:pt x="63999" y="75333"/>
                </a:cubicBezTo>
                <a:cubicBezTo>
                  <a:pt x="61473" y="68333"/>
                  <a:pt x="62315" y="59666"/>
                  <a:pt x="62315" y="59666"/>
                </a:cubicBezTo>
                <a:cubicBezTo>
                  <a:pt x="62315" y="59666"/>
                  <a:pt x="65263" y="60000"/>
                  <a:pt x="67789" y="58333"/>
                </a:cubicBezTo>
                <a:cubicBezTo>
                  <a:pt x="70315" y="57000"/>
                  <a:pt x="80842" y="65333"/>
                  <a:pt x="88842" y="52000"/>
                </a:cubicBezTo>
                <a:cubicBezTo>
                  <a:pt x="88842" y="52000"/>
                  <a:pt x="104842" y="55333"/>
                  <a:pt x="112421" y="44333"/>
                </a:cubicBezTo>
                <a:cubicBezTo>
                  <a:pt x="119999" y="33000"/>
                  <a:pt x="103157" y="25666"/>
                  <a:pt x="97684" y="26666"/>
                </a:cubicBezTo>
                <a:cubicBezTo>
                  <a:pt x="97684" y="26666"/>
                  <a:pt x="96000" y="16333"/>
                  <a:pt x="80842" y="18666"/>
                </a:cubicBezTo>
                <a:cubicBezTo>
                  <a:pt x="80842" y="18666"/>
                  <a:pt x="79578" y="12333"/>
                  <a:pt x="72000" y="12666"/>
                </a:cubicBezTo>
                <a:cubicBezTo>
                  <a:pt x="72000" y="12666"/>
                  <a:pt x="69894" y="666"/>
                  <a:pt x="55578" y="0"/>
                </a:cubicBezTo>
                <a:cubicBezTo>
                  <a:pt x="44210" y="0"/>
                  <a:pt x="39578" y="8000"/>
                  <a:pt x="39578" y="8000"/>
                </a:cubicBezTo>
                <a:cubicBezTo>
                  <a:pt x="39578" y="8000"/>
                  <a:pt x="28210" y="7000"/>
                  <a:pt x="28210" y="18333"/>
                </a:cubicBezTo>
                <a:cubicBezTo>
                  <a:pt x="28210" y="18333"/>
                  <a:pt x="21052" y="19666"/>
                  <a:pt x="18947" y="23666"/>
                </a:cubicBezTo>
                <a:cubicBezTo>
                  <a:pt x="16421" y="25000"/>
                  <a:pt x="5052" y="24000"/>
                  <a:pt x="7157" y="34333"/>
                </a:cubicBezTo>
                <a:cubicBezTo>
                  <a:pt x="7157" y="34333"/>
                  <a:pt x="0" y="44333"/>
                  <a:pt x="10105" y="51666"/>
                </a:cubicBezTo>
                <a:cubicBezTo>
                  <a:pt x="18526" y="56333"/>
                  <a:pt x="29894" y="51666"/>
                  <a:pt x="29894" y="51666"/>
                </a:cubicBezTo>
                <a:cubicBezTo>
                  <a:pt x="29894" y="51666"/>
                  <a:pt x="34526" y="57666"/>
                  <a:pt x="42947" y="59000"/>
                </a:cubicBezTo>
                <a:cubicBezTo>
                  <a:pt x="42947" y="59000"/>
                  <a:pt x="49263" y="71000"/>
                  <a:pt x="54736" y="77666"/>
                </a:cubicBezTo>
                <a:cubicBezTo>
                  <a:pt x="56000" y="79333"/>
                  <a:pt x="61052" y="89000"/>
                  <a:pt x="58947" y="101333"/>
                </a:cubicBezTo>
                <a:cubicBezTo>
                  <a:pt x="56842" y="112666"/>
                  <a:pt x="50526" y="118666"/>
                  <a:pt x="49684" y="119666"/>
                </a:cubicBezTo>
                <a:cubicBezTo>
                  <a:pt x="81684" y="119666"/>
                  <a:pt x="81684" y="119666"/>
                  <a:pt x="81684" y="119666"/>
                </a:cubicBezTo>
                <a:cubicBezTo>
                  <a:pt x="79578" y="119666"/>
                  <a:pt x="74526" y="119666"/>
                  <a:pt x="72000" y="118000"/>
                </a:cubicBezTo>
                <a:cubicBezTo>
                  <a:pt x="69473" y="116000"/>
                  <a:pt x="70736" y="113666"/>
                  <a:pt x="69894" y="108666"/>
                </a:cubicBezTo>
                <a:cubicBezTo>
                  <a:pt x="69052" y="103666"/>
                  <a:pt x="69473" y="96000"/>
                  <a:pt x="69473" y="96000"/>
                </a:cubicBezTo>
                <a:cubicBezTo>
                  <a:pt x="69473" y="96000"/>
                  <a:pt x="88000" y="87333"/>
                  <a:pt x="90526" y="82000"/>
                </a:cubicBezTo>
                <a:cubicBezTo>
                  <a:pt x="92631" y="82666"/>
                  <a:pt x="104842" y="82000"/>
                  <a:pt x="104842" y="78666"/>
                </a:cubicBezTo>
                <a:cubicBezTo>
                  <a:pt x="106947" y="79333"/>
                  <a:pt x="114526" y="77666"/>
                  <a:pt x="113684" y="72666"/>
                </a:cubicBezTo>
                <a:cubicBezTo>
                  <a:pt x="112421" y="68666"/>
                  <a:pt x="107368" y="68333"/>
                  <a:pt x="107368" y="68333"/>
                </a:cubicBezTo>
                <a:close/>
                <a:moveTo>
                  <a:pt x="48842" y="61000"/>
                </a:moveTo>
                <a:cubicBezTo>
                  <a:pt x="56421" y="61000"/>
                  <a:pt x="56421" y="61000"/>
                  <a:pt x="56421" y="61000"/>
                </a:cubicBezTo>
                <a:cubicBezTo>
                  <a:pt x="56000" y="64999"/>
                  <a:pt x="56842" y="72333"/>
                  <a:pt x="56842" y="72333"/>
                </a:cubicBezTo>
                <a:cubicBezTo>
                  <a:pt x="51368" y="67333"/>
                  <a:pt x="48842" y="61000"/>
                  <a:pt x="48842" y="61000"/>
                </a:cubicBezTo>
                <a:close/>
                <a:moveTo>
                  <a:pt x="85052" y="85000"/>
                </a:moveTo>
                <a:cubicBezTo>
                  <a:pt x="85052" y="85000"/>
                  <a:pt x="86315" y="83000"/>
                  <a:pt x="85894" y="81666"/>
                </a:cubicBezTo>
                <a:cubicBezTo>
                  <a:pt x="85894" y="81666"/>
                  <a:pt x="88000" y="81666"/>
                  <a:pt x="88842" y="81666"/>
                </a:cubicBezTo>
                <a:cubicBezTo>
                  <a:pt x="88842" y="81666"/>
                  <a:pt x="87157" y="83666"/>
                  <a:pt x="85052" y="85000"/>
                </a:cubicBezTo>
                <a:close/>
                <a:moveTo>
                  <a:pt x="82526" y="119666"/>
                </a:moveTo>
                <a:cubicBezTo>
                  <a:pt x="81684" y="119666"/>
                  <a:pt x="81684" y="119666"/>
                  <a:pt x="81684" y="119666"/>
                </a:cubicBezTo>
                <a:cubicBezTo>
                  <a:pt x="82105" y="119666"/>
                  <a:pt x="82526" y="119666"/>
                  <a:pt x="82526" y="119666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121898" tIns="60941" rIns="121898" bIns="60941" anchor="t" anchorCtr="0">
            <a:noAutofit/>
          </a:bodyPr>
          <a:lstStyle/>
          <a:p>
            <a:pPr>
              <a:buClr>
                <a:srgbClr val="000000"/>
              </a:buClr>
            </a:pPr>
            <a:endParaRPr sz="1200">
              <a:solidFill>
                <a:schemeClr val="dk1"/>
              </a:solidFill>
            </a:endParaRPr>
          </a:p>
        </p:txBody>
      </p:sp>
      <p:sp>
        <p:nvSpPr>
          <p:cNvPr id="59" name="îṧḻiḍé">
            <a:extLst>
              <a:ext uri="{FF2B5EF4-FFF2-40B4-BE49-F238E27FC236}">
                <a16:creationId xmlns:a16="http://schemas.microsoft.com/office/drawing/2014/main" id="{A1DA9D16-31C2-44A2-B203-303B2E724E1A}"/>
              </a:ext>
            </a:extLst>
          </p:cNvPr>
          <p:cNvSpPr/>
          <p:nvPr/>
        </p:nvSpPr>
        <p:spPr>
          <a:xfrm>
            <a:off x="3708769" y="5985892"/>
            <a:ext cx="653948" cy="82749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38117" y="119628"/>
                </a:moveTo>
                <a:cubicBezTo>
                  <a:pt x="37176" y="119628"/>
                  <a:pt x="37176" y="119628"/>
                  <a:pt x="37176" y="119628"/>
                </a:cubicBezTo>
                <a:cubicBezTo>
                  <a:pt x="37176" y="119628"/>
                  <a:pt x="37647" y="119628"/>
                  <a:pt x="38117" y="119628"/>
                </a:cubicBezTo>
                <a:close/>
                <a:moveTo>
                  <a:pt x="70588" y="119628"/>
                </a:moveTo>
                <a:cubicBezTo>
                  <a:pt x="70588" y="119628"/>
                  <a:pt x="70588" y="119628"/>
                  <a:pt x="70588" y="119628"/>
                </a:cubicBezTo>
                <a:cubicBezTo>
                  <a:pt x="70588" y="120000"/>
                  <a:pt x="70588" y="120000"/>
                  <a:pt x="70588" y="120000"/>
                </a:cubicBezTo>
                <a:lnTo>
                  <a:pt x="70588" y="119628"/>
                </a:lnTo>
                <a:close/>
                <a:moveTo>
                  <a:pt x="112941" y="34551"/>
                </a:moveTo>
                <a:cubicBezTo>
                  <a:pt x="114823" y="24148"/>
                  <a:pt x="103529" y="25263"/>
                  <a:pt x="101176" y="23777"/>
                </a:cubicBezTo>
                <a:cubicBezTo>
                  <a:pt x="98823" y="19690"/>
                  <a:pt x="91764" y="18575"/>
                  <a:pt x="91764" y="18575"/>
                </a:cubicBezTo>
                <a:cubicBezTo>
                  <a:pt x="91764" y="7058"/>
                  <a:pt x="80470" y="8544"/>
                  <a:pt x="80470" y="8544"/>
                </a:cubicBezTo>
                <a:cubicBezTo>
                  <a:pt x="80470" y="8544"/>
                  <a:pt x="75764" y="0"/>
                  <a:pt x="64470" y="371"/>
                </a:cubicBezTo>
                <a:cubicBezTo>
                  <a:pt x="49882" y="1114"/>
                  <a:pt x="48000" y="13003"/>
                  <a:pt x="48000" y="13003"/>
                </a:cubicBezTo>
                <a:cubicBezTo>
                  <a:pt x="40000" y="12631"/>
                  <a:pt x="39058" y="18947"/>
                  <a:pt x="39058" y="18947"/>
                </a:cubicBezTo>
                <a:cubicBezTo>
                  <a:pt x="24000" y="16346"/>
                  <a:pt x="22117" y="27120"/>
                  <a:pt x="22117" y="27120"/>
                </a:cubicBezTo>
                <a:cubicBezTo>
                  <a:pt x="16470" y="25634"/>
                  <a:pt x="0" y="33065"/>
                  <a:pt x="7529" y="44582"/>
                </a:cubicBezTo>
                <a:cubicBezTo>
                  <a:pt x="15058" y="55727"/>
                  <a:pt x="31058" y="52383"/>
                  <a:pt x="31058" y="52383"/>
                </a:cubicBezTo>
                <a:cubicBezTo>
                  <a:pt x="39058" y="65386"/>
                  <a:pt x="49411" y="57213"/>
                  <a:pt x="51764" y="58699"/>
                </a:cubicBezTo>
                <a:cubicBezTo>
                  <a:pt x="54588" y="59814"/>
                  <a:pt x="57882" y="59814"/>
                  <a:pt x="57882" y="59814"/>
                </a:cubicBezTo>
                <a:cubicBezTo>
                  <a:pt x="57882" y="59814"/>
                  <a:pt x="58352" y="68359"/>
                  <a:pt x="56000" y="75417"/>
                </a:cubicBezTo>
                <a:cubicBezTo>
                  <a:pt x="53176" y="82476"/>
                  <a:pt x="51294" y="92879"/>
                  <a:pt x="51294" y="92879"/>
                </a:cubicBezTo>
                <a:cubicBezTo>
                  <a:pt x="51294" y="92879"/>
                  <a:pt x="43764" y="90650"/>
                  <a:pt x="40000" y="88049"/>
                </a:cubicBezTo>
                <a:cubicBezTo>
                  <a:pt x="35764" y="85820"/>
                  <a:pt x="35764" y="80990"/>
                  <a:pt x="35764" y="80990"/>
                </a:cubicBezTo>
                <a:cubicBezTo>
                  <a:pt x="37647" y="80619"/>
                  <a:pt x="39058" y="78390"/>
                  <a:pt x="39058" y="78390"/>
                </a:cubicBezTo>
                <a:cubicBezTo>
                  <a:pt x="44705" y="81362"/>
                  <a:pt x="49411" y="77275"/>
                  <a:pt x="48941" y="72445"/>
                </a:cubicBezTo>
                <a:cubicBezTo>
                  <a:pt x="48941" y="67616"/>
                  <a:pt x="43294" y="67987"/>
                  <a:pt x="43294" y="67987"/>
                </a:cubicBezTo>
                <a:cubicBezTo>
                  <a:pt x="43294" y="67987"/>
                  <a:pt x="42823" y="65758"/>
                  <a:pt x="40000" y="65386"/>
                </a:cubicBezTo>
                <a:cubicBezTo>
                  <a:pt x="40470" y="61671"/>
                  <a:pt x="35764" y="61300"/>
                  <a:pt x="35764" y="61300"/>
                </a:cubicBezTo>
                <a:cubicBezTo>
                  <a:pt x="35764" y="61300"/>
                  <a:pt x="33411" y="58699"/>
                  <a:pt x="28235" y="58328"/>
                </a:cubicBezTo>
                <a:cubicBezTo>
                  <a:pt x="23529" y="57956"/>
                  <a:pt x="23058" y="63529"/>
                  <a:pt x="23058" y="63529"/>
                </a:cubicBezTo>
                <a:cubicBezTo>
                  <a:pt x="23058" y="63529"/>
                  <a:pt x="18823" y="63157"/>
                  <a:pt x="18352" y="65758"/>
                </a:cubicBezTo>
                <a:cubicBezTo>
                  <a:pt x="14117" y="64272"/>
                  <a:pt x="12235" y="68359"/>
                  <a:pt x="12235" y="68359"/>
                </a:cubicBezTo>
                <a:cubicBezTo>
                  <a:pt x="12235" y="68359"/>
                  <a:pt x="7529" y="68730"/>
                  <a:pt x="6117" y="72817"/>
                </a:cubicBezTo>
                <a:cubicBezTo>
                  <a:pt x="5176" y="77647"/>
                  <a:pt x="12705" y="79504"/>
                  <a:pt x="15058" y="78761"/>
                </a:cubicBezTo>
                <a:cubicBezTo>
                  <a:pt x="15058" y="82105"/>
                  <a:pt x="27294" y="82476"/>
                  <a:pt x="29176" y="82105"/>
                </a:cubicBezTo>
                <a:cubicBezTo>
                  <a:pt x="32000" y="87306"/>
                  <a:pt x="50352" y="96222"/>
                  <a:pt x="50352" y="96222"/>
                </a:cubicBezTo>
                <a:cubicBezTo>
                  <a:pt x="50352" y="96222"/>
                  <a:pt x="50823" y="103653"/>
                  <a:pt x="49882" y="108482"/>
                </a:cubicBezTo>
                <a:cubicBezTo>
                  <a:pt x="49411" y="113684"/>
                  <a:pt x="50352" y="115913"/>
                  <a:pt x="47529" y="117770"/>
                </a:cubicBezTo>
                <a:cubicBezTo>
                  <a:pt x="45647" y="119628"/>
                  <a:pt x="40470" y="119628"/>
                  <a:pt x="38117" y="119628"/>
                </a:cubicBezTo>
                <a:cubicBezTo>
                  <a:pt x="70588" y="119628"/>
                  <a:pt x="70588" y="119628"/>
                  <a:pt x="70588" y="119628"/>
                </a:cubicBezTo>
                <a:cubicBezTo>
                  <a:pt x="69176" y="118885"/>
                  <a:pt x="63058" y="112941"/>
                  <a:pt x="60705" y="101424"/>
                </a:cubicBezTo>
                <a:cubicBezTo>
                  <a:pt x="58823" y="89164"/>
                  <a:pt x="64000" y="79504"/>
                  <a:pt x="64941" y="78018"/>
                </a:cubicBezTo>
                <a:cubicBezTo>
                  <a:pt x="70588" y="70959"/>
                  <a:pt x="76705" y="59071"/>
                  <a:pt x="76705" y="59071"/>
                </a:cubicBezTo>
                <a:cubicBezTo>
                  <a:pt x="85176" y="57585"/>
                  <a:pt x="89882" y="52012"/>
                  <a:pt x="89882" y="52012"/>
                </a:cubicBezTo>
                <a:cubicBezTo>
                  <a:pt x="89882" y="52012"/>
                  <a:pt x="101647" y="56470"/>
                  <a:pt x="109647" y="51640"/>
                </a:cubicBezTo>
                <a:cubicBezTo>
                  <a:pt x="120000" y="44582"/>
                  <a:pt x="112941" y="34551"/>
                  <a:pt x="112941" y="34551"/>
                </a:cubicBezTo>
                <a:close/>
                <a:moveTo>
                  <a:pt x="31058" y="81733"/>
                </a:moveTo>
                <a:cubicBezTo>
                  <a:pt x="32000" y="81733"/>
                  <a:pt x="33882" y="81733"/>
                  <a:pt x="33882" y="81733"/>
                </a:cubicBezTo>
                <a:cubicBezTo>
                  <a:pt x="33411" y="83219"/>
                  <a:pt x="34823" y="85077"/>
                  <a:pt x="34823" y="85077"/>
                </a:cubicBezTo>
                <a:cubicBezTo>
                  <a:pt x="32941" y="83591"/>
                  <a:pt x="31058" y="81733"/>
                  <a:pt x="31058" y="81733"/>
                </a:cubicBezTo>
                <a:close/>
                <a:moveTo>
                  <a:pt x="63058" y="72445"/>
                </a:moveTo>
                <a:cubicBezTo>
                  <a:pt x="63058" y="72445"/>
                  <a:pt x="64000" y="65015"/>
                  <a:pt x="63529" y="60928"/>
                </a:cubicBezTo>
                <a:cubicBezTo>
                  <a:pt x="71058" y="60928"/>
                  <a:pt x="71058" y="60928"/>
                  <a:pt x="71058" y="60928"/>
                </a:cubicBezTo>
                <a:cubicBezTo>
                  <a:pt x="71058" y="60928"/>
                  <a:pt x="68705" y="67616"/>
                  <a:pt x="63058" y="72445"/>
                </a:cubicBez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lIns="121898" tIns="60941" rIns="121898" bIns="60941" anchor="t" anchorCtr="0">
            <a:noAutofit/>
          </a:bodyPr>
          <a:lstStyle/>
          <a:p>
            <a:pPr>
              <a:buClr>
                <a:srgbClr val="000000"/>
              </a:buClr>
            </a:pPr>
            <a:endParaRPr sz="1200">
              <a:solidFill>
                <a:schemeClr val="dk1"/>
              </a:solidFill>
            </a:endParaRPr>
          </a:p>
        </p:txBody>
      </p:sp>
      <p:sp>
        <p:nvSpPr>
          <p:cNvPr id="60" name="iṥḻïḑé">
            <a:extLst>
              <a:ext uri="{FF2B5EF4-FFF2-40B4-BE49-F238E27FC236}">
                <a16:creationId xmlns:a16="http://schemas.microsoft.com/office/drawing/2014/main" id="{BAF36589-2620-46C0-8BA1-71E58476E524}"/>
              </a:ext>
            </a:extLst>
          </p:cNvPr>
          <p:cNvSpPr/>
          <p:nvPr/>
        </p:nvSpPr>
        <p:spPr>
          <a:xfrm>
            <a:off x="5224068" y="5171098"/>
            <a:ext cx="1301548" cy="1642281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70532" y="119812"/>
                </a:moveTo>
                <a:cubicBezTo>
                  <a:pt x="70295" y="119812"/>
                  <a:pt x="70295" y="119812"/>
                  <a:pt x="70295" y="119812"/>
                </a:cubicBezTo>
                <a:cubicBezTo>
                  <a:pt x="70532" y="119812"/>
                  <a:pt x="70532" y="120000"/>
                  <a:pt x="70532" y="120000"/>
                </a:cubicBezTo>
                <a:lnTo>
                  <a:pt x="70532" y="119812"/>
                </a:lnTo>
                <a:close/>
                <a:moveTo>
                  <a:pt x="38106" y="119812"/>
                </a:moveTo>
                <a:cubicBezTo>
                  <a:pt x="37159" y="119812"/>
                  <a:pt x="37159" y="119812"/>
                  <a:pt x="37159" y="119812"/>
                </a:cubicBezTo>
                <a:cubicBezTo>
                  <a:pt x="37159" y="119812"/>
                  <a:pt x="37633" y="119812"/>
                  <a:pt x="38106" y="119812"/>
                </a:cubicBezTo>
                <a:close/>
                <a:moveTo>
                  <a:pt x="112899" y="34258"/>
                </a:moveTo>
                <a:cubicBezTo>
                  <a:pt x="115029" y="24149"/>
                  <a:pt x="103431" y="25085"/>
                  <a:pt x="101065" y="23775"/>
                </a:cubicBezTo>
                <a:cubicBezTo>
                  <a:pt x="98698" y="19656"/>
                  <a:pt x="91834" y="18533"/>
                  <a:pt x="91834" y="18533"/>
                </a:cubicBezTo>
                <a:cubicBezTo>
                  <a:pt x="91597" y="7113"/>
                  <a:pt x="80236" y="8237"/>
                  <a:pt x="80236" y="8237"/>
                </a:cubicBezTo>
                <a:cubicBezTo>
                  <a:pt x="80236" y="8237"/>
                  <a:pt x="75739" y="0"/>
                  <a:pt x="64142" y="187"/>
                </a:cubicBezTo>
                <a:cubicBezTo>
                  <a:pt x="49940" y="748"/>
                  <a:pt x="48047" y="12730"/>
                  <a:pt x="48047" y="12730"/>
                </a:cubicBezTo>
                <a:cubicBezTo>
                  <a:pt x="40000" y="12542"/>
                  <a:pt x="38816" y="18720"/>
                  <a:pt x="38816" y="18720"/>
                </a:cubicBezTo>
                <a:cubicBezTo>
                  <a:pt x="23905" y="16287"/>
                  <a:pt x="22011" y="26957"/>
                  <a:pt x="22011" y="26957"/>
                </a:cubicBezTo>
                <a:cubicBezTo>
                  <a:pt x="16568" y="25647"/>
                  <a:pt x="0" y="33135"/>
                  <a:pt x="7573" y="44368"/>
                </a:cubicBezTo>
                <a:cubicBezTo>
                  <a:pt x="15147" y="55600"/>
                  <a:pt x="31005" y="52230"/>
                  <a:pt x="31005" y="52230"/>
                </a:cubicBezTo>
                <a:cubicBezTo>
                  <a:pt x="39289" y="65335"/>
                  <a:pt x="49467" y="57098"/>
                  <a:pt x="51834" y="58408"/>
                </a:cubicBezTo>
                <a:cubicBezTo>
                  <a:pt x="54437" y="59906"/>
                  <a:pt x="57514" y="59719"/>
                  <a:pt x="57514" y="59719"/>
                </a:cubicBezTo>
                <a:cubicBezTo>
                  <a:pt x="57514" y="59719"/>
                  <a:pt x="58461" y="68330"/>
                  <a:pt x="55857" y="75444"/>
                </a:cubicBezTo>
                <a:cubicBezTo>
                  <a:pt x="53254" y="82558"/>
                  <a:pt x="51360" y="92854"/>
                  <a:pt x="51360" y="92854"/>
                </a:cubicBezTo>
                <a:cubicBezTo>
                  <a:pt x="51360" y="92854"/>
                  <a:pt x="43786" y="90421"/>
                  <a:pt x="39763" y="88174"/>
                </a:cubicBezTo>
                <a:cubicBezTo>
                  <a:pt x="35739" y="85741"/>
                  <a:pt x="35739" y="81060"/>
                  <a:pt x="35739" y="81060"/>
                </a:cubicBezTo>
                <a:cubicBezTo>
                  <a:pt x="37633" y="80686"/>
                  <a:pt x="38816" y="78439"/>
                  <a:pt x="38816" y="78439"/>
                </a:cubicBezTo>
                <a:cubicBezTo>
                  <a:pt x="44497" y="81435"/>
                  <a:pt x="49230" y="77316"/>
                  <a:pt x="48994" y="72449"/>
                </a:cubicBezTo>
                <a:cubicBezTo>
                  <a:pt x="48757" y="67769"/>
                  <a:pt x="43076" y="67769"/>
                  <a:pt x="43076" y="67769"/>
                </a:cubicBezTo>
                <a:cubicBezTo>
                  <a:pt x="43076" y="67769"/>
                  <a:pt x="42603" y="65897"/>
                  <a:pt x="40000" y="65335"/>
                </a:cubicBezTo>
                <a:cubicBezTo>
                  <a:pt x="40710" y="61591"/>
                  <a:pt x="35739" y="61404"/>
                  <a:pt x="35739" y="61404"/>
                </a:cubicBezTo>
                <a:cubicBezTo>
                  <a:pt x="35739" y="61404"/>
                  <a:pt x="33372" y="58595"/>
                  <a:pt x="28165" y="58221"/>
                </a:cubicBezTo>
                <a:cubicBezTo>
                  <a:pt x="23195" y="57659"/>
                  <a:pt x="22958" y="63276"/>
                  <a:pt x="22958" y="63276"/>
                </a:cubicBezTo>
                <a:cubicBezTo>
                  <a:pt x="22958" y="63276"/>
                  <a:pt x="18934" y="63088"/>
                  <a:pt x="18461" y="65522"/>
                </a:cubicBezTo>
                <a:cubicBezTo>
                  <a:pt x="13964" y="64024"/>
                  <a:pt x="12307" y="68330"/>
                  <a:pt x="12307" y="68330"/>
                </a:cubicBezTo>
                <a:cubicBezTo>
                  <a:pt x="12307" y="68330"/>
                  <a:pt x="7337" y="68705"/>
                  <a:pt x="6153" y="72823"/>
                </a:cubicBezTo>
                <a:cubicBezTo>
                  <a:pt x="5207" y="77691"/>
                  <a:pt x="12781" y="79563"/>
                  <a:pt x="15147" y="78627"/>
                </a:cubicBezTo>
                <a:cubicBezTo>
                  <a:pt x="14911" y="81996"/>
                  <a:pt x="27218" y="82558"/>
                  <a:pt x="29112" y="81996"/>
                </a:cubicBezTo>
                <a:cubicBezTo>
                  <a:pt x="31952" y="87425"/>
                  <a:pt x="50414" y="96037"/>
                  <a:pt x="50414" y="96037"/>
                </a:cubicBezTo>
                <a:cubicBezTo>
                  <a:pt x="50414" y="96037"/>
                  <a:pt x="50650" y="103525"/>
                  <a:pt x="49940" y="108580"/>
                </a:cubicBezTo>
                <a:cubicBezTo>
                  <a:pt x="49230" y="113634"/>
                  <a:pt x="50414" y="115881"/>
                  <a:pt x="47573" y="117940"/>
                </a:cubicBezTo>
                <a:cubicBezTo>
                  <a:pt x="45443" y="119625"/>
                  <a:pt x="40236" y="119812"/>
                  <a:pt x="38106" y="119812"/>
                </a:cubicBezTo>
                <a:cubicBezTo>
                  <a:pt x="70295" y="119812"/>
                  <a:pt x="70295" y="119812"/>
                  <a:pt x="70295" y="119812"/>
                </a:cubicBezTo>
                <a:cubicBezTo>
                  <a:pt x="69112" y="118876"/>
                  <a:pt x="62958" y="112886"/>
                  <a:pt x="60828" y="101466"/>
                </a:cubicBezTo>
                <a:cubicBezTo>
                  <a:pt x="58698" y="89110"/>
                  <a:pt x="63668" y="79375"/>
                  <a:pt x="65088" y="77878"/>
                </a:cubicBezTo>
                <a:cubicBezTo>
                  <a:pt x="70532" y="70951"/>
                  <a:pt x="76923" y="59157"/>
                  <a:pt x="76923" y="59157"/>
                </a:cubicBezTo>
                <a:cubicBezTo>
                  <a:pt x="85207" y="57659"/>
                  <a:pt x="89704" y="51669"/>
                  <a:pt x="89704" y="51669"/>
                </a:cubicBezTo>
                <a:cubicBezTo>
                  <a:pt x="89704" y="51669"/>
                  <a:pt x="101301" y="56349"/>
                  <a:pt x="109585" y="51669"/>
                </a:cubicBezTo>
                <a:cubicBezTo>
                  <a:pt x="120000" y="44368"/>
                  <a:pt x="112899" y="34258"/>
                  <a:pt x="112899" y="34258"/>
                </a:cubicBezTo>
                <a:close/>
                <a:moveTo>
                  <a:pt x="31005" y="81809"/>
                </a:moveTo>
                <a:cubicBezTo>
                  <a:pt x="31952" y="81622"/>
                  <a:pt x="33846" y="81622"/>
                  <a:pt x="33846" y="81622"/>
                </a:cubicBezTo>
                <a:cubicBezTo>
                  <a:pt x="33609" y="83307"/>
                  <a:pt x="34792" y="85179"/>
                  <a:pt x="34792" y="85179"/>
                </a:cubicBezTo>
                <a:cubicBezTo>
                  <a:pt x="32899" y="83681"/>
                  <a:pt x="31005" y="81809"/>
                  <a:pt x="31005" y="81809"/>
                </a:cubicBezTo>
                <a:close/>
                <a:moveTo>
                  <a:pt x="62958" y="72449"/>
                </a:moveTo>
                <a:cubicBezTo>
                  <a:pt x="62958" y="72449"/>
                  <a:pt x="63905" y="65148"/>
                  <a:pt x="63431" y="60842"/>
                </a:cubicBezTo>
                <a:cubicBezTo>
                  <a:pt x="70769" y="61029"/>
                  <a:pt x="70769" y="61029"/>
                  <a:pt x="70769" y="61029"/>
                </a:cubicBezTo>
                <a:cubicBezTo>
                  <a:pt x="70769" y="61029"/>
                  <a:pt x="68639" y="67394"/>
                  <a:pt x="62958" y="7244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121898" tIns="60941" rIns="121898" bIns="60941" anchor="t" anchorCtr="0">
            <a:noAutofit/>
          </a:bodyPr>
          <a:lstStyle/>
          <a:p>
            <a:pPr>
              <a:buClr>
                <a:srgbClr val="000000"/>
              </a:buClr>
            </a:pPr>
            <a:endParaRPr sz="1200">
              <a:solidFill>
                <a:schemeClr val="dk1"/>
              </a:solidFill>
            </a:endParaRPr>
          </a:p>
        </p:txBody>
      </p:sp>
      <p:sp>
        <p:nvSpPr>
          <p:cNvPr id="61" name="îṥļîḓê">
            <a:extLst>
              <a:ext uri="{FF2B5EF4-FFF2-40B4-BE49-F238E27FC236}">
                <a16:creationId xmlns:a16="http://schemas.microsoft.com/office/drawing/2014/main" id="{9CA28918-F200-4660-B7A2-73506F5B914E}"/>
              </a:ext>
            </a:extLst>
          </p:cNvPr>
          <p:cNvSpPr/>
          <p:nvPr/>
        </p:nvSpPr>
        <p:spPr>
          <a:xfrm>
            <a:off x="2669646" y="5213425"/>
            <a:ext cx="1265571" cy="1599955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70588" y="119807"/>
                </a:moveTo>
                <a:cubicBezTo>
                  <a:pt x="70344" y="119807"/>
                  <a:pt x="70344" y="119807"/>
                  <a:pt x="70344" y="119807"/>
                </a:cubicBezTo>
                <a:cubicBezTo>
                  <a:pt x="70588" y="119807"/>
                  <a:pt x="70588" y="120000"/>
                  <a:pt x="70588" y="120000"/>
                </a:cubicBezTo>
                <a:lnTo>
                  <a:pt x="70588" y="119807"/>
                </a:lnTo>
                <a:close/>
                <a:moveTo>
                  <a:pt x="38215" y="119807"/>
                </a:moveTo>
                <a:cubicBezTo>
                  <a:pt x="37241" y="119807"/>
                  <a:pt x="37241" y="119807"/>
                  <a:pt x="37241" y="119807"/>
                </a:cubicBezTo>
                <a:cubicBezTo>
                  <a:pt x="37241" y="119807"/>
                  <a:pt x="37728" y="119807"/>
                  <a:pt x="38215" y="119807"/>
                </a:cubicBezTo>
                <a:close/>
                <a:moveTo>
                  <a:pt x="112941" y="34423"/>
                </a:moveTo>
                <a:cubicBezTo>
                  <a:pt x="114888" y="24230"/>
                  <a:pt x="103448" y="25000"/>
                  <a:pt x="101014" y="23846"/>
                </a:cubicBezTo>
                <a:cubicBezTo>
                  <a:pt x="98823" y="19807"/>
                  <a:pt x="91764" y="18653"/>
                  <a:pt x="91764" y="18653"/>
                </a:cubicBezTo>
                <a:cubicBezTo>
                  <a:pt x="91764" y="7115"/>
                  <a:pt x="80324" y="8269"/>
                  <a:pt x="80324" y="8269"/>
                </a:cubicBezTo>
                <a:cubicBezTo>
                  <a:pt x="80324" y="8269"/>
                  <a:pt x="75699" y="0"/>
                  <a:pt x="64259" y="192"/>
                </a:cubicBezTo>
                <a:cubicBezTo>
                  <a:pt x="49898" y="769"/>
                  <a:pt x="47951" y="12884"/>
                  <a:pt x="47951" y="12884"/>
                </a:cubicBezTo>
                <a:cubicBezTo>
                  <a:pt x="40162" y="12500"/>
                  <a:pt x="38945" y="18653"/>
                  <a:pt x="38945" y="18653"/>
                </a:cubicBezTo>
                <a:cubicBezTo>
                  <a:pt x="23853" y="16346"/>
                  <a:pt x="22150" y="26923"/>
                  <a:pt x="22150" y="26923"/>
                </a:cubicBezTo>
                <a:cubicBezTo>
                  <a:pt x="16551" y="25769"/>
                  <a:pt x="0" y="33076"/>
                  <a:pt x="7545" y="44423"/>
                </a:cubicBezTo>
                <a:cubicBezTo>
                  <a:pt x="15091" y="55576"/>
                  <a:pt x="30912" y="52115"/>
                  <a:pt x="30912" y="52115"/>
                </a:cubicBezTo>
                <a:cubicBezTo>
                  <a:pt x="39188" y="65192"/>
                  <a:pt x="49411" y="57115"/>
                  <a:pt x="51845" y="58461"/>
                </a:cubicBezTo>
                <a:cubicBezTo>
                  <a:pt x="54523" y="60000"/>
                  <a:pt x="57687" y="59807"/>
                  <a:pt x="57687" y="59807"/>
                </a:cubicBezTo>
                <a:cubicBezTo>
                  <a:pt x="57687" y="59807"/>
                  <a:pt x="58417" y="68461"/>
                  <a:pt x="55740" y="75384"/>
                </a:cubicBezTo>
                <a:cubicBezTo>
                  <a:pt x="53306" y="82500"/>
                  <a:pt x="51359" y="92884"/>
                  <a:pt x="51359" y="92884"/>
                </a:cubicBezTo>
                <a:cubicBezTo>
                  <a:pt x="51359" y="92884"/>
                  <a:pt x="43813" y="90576"/>
                  <a:pt x="39675" y="88076"/>
                </a:cubicBezTo>
                <a:cubicBezTo>
                  <a:pt x="35780" y="85769"/>
                  <a:pt x="35780" y="80961"/>
                  <a:pt x="35780" y="80961"/>
                </a:cubicBezTo>
                <a:cubicBezTo>
                  <a:pt x="37728" y="80769"/>
                  <a:pt x="38945" y="78461"/>
                  <a:pt x="38945" y="78461"/>
                </a:cubicBezTo>
                <a:cubicBezTo>
                  <a:pt x="44543" y="81538"/>
                  <a:pt x="49168" y="77307"/>
                  <a:pt x="48924" y="72500"/>
                </a:cubicBezTo>
                <a:cubicBezTo>
                  <a:pt x="48681" y="67692"/>
                  <a:pt x="43083" y="67884"/>
                  <a:pt x="43083" y="67884"/>
                </a:cubicBezTo>
                <a:cubicBezTo>
                  <a:pt x="43083" y="67884"/>
                  <a:pt x="42596" y="65961"/>
                  <a:pt x="40162" y="65384"/>
                </a:cubicBezTo>
                <a:cubicBezTo>
                  <a:pt x="40649" y="61730"/>
                  <a:pt x="35537" y="61346"/>
                  <a:pt x="35537" y="61346"/>
                </a:cubicBezTo>
                <a:cubicBezTo>
                  <a:pt x="35537" y="61346"/>
                  <a:pt x="33346" y="58461"/>
                  <a:pt x="28235" y="58076"/>
                </a:cubicBezTo>
                <a:cubicBezTo>
                  <a:pt x="23367" y="57692"/>
                  <a:pt x="22880" y="63269"/>
                  <a:pt x="22880" y="63269"/>
                </a:cubicBezTo>
                <a:cubicBezTo>
                  <a:pt x="22880" y="63269"/>
                  <a:pt x="18742" y="63076"/>
                  <a:pt x="18498" y="65576"/>
                </a:cubicBezTo>
                <a:cubicBezTo>
                  <a:pt x="13874" y="64038"/>
                  <a:pt x="12170" y="68461"/>
                  <a:pt x="12170" y="68461"/>
                </a:cubicBezTo>
                <a:cubicBezTo>
                  <a:pt x="12170" y="68461"/>
                  <a:pt x="7302" y="68846"/>
                  <a:pt x="6085" y="72884"/>
                </a:cubicBezTo>
                <a:cubicBezTo>
                  <a:pt x="5354" y="77692"/>
                  <a:pt x="12900" y="79615"/>
                  <a:pt x="15091" y="78653"/>
                </a:cubicBezTo>
                <a:cubicBezTo>
                  <a:pt x="14847" y="81923"/>
                  <a:pt x="27261" y="82692"/>
                  <a:pt x="29208" y="82115"/>
                </a:cubicBezTo>
                <a:cubicBezTo>
                  <a:pt x="31886" y="87500"/>
                  <a:pt x="50628" y="96153"/>
                  <a:pt x="50628" y="96153"/>
                </a:cubicBezTo>
                <a:cubicBezTo>
                  <a:pt x="50628" y="96153"/>
                  <a:pt x="50628" y="103653"/>
                  <a:pt x="49898" y="108653"/>
                </a:cubicBezTo>
                <a:cubicBezTo>
                  <a:pt x="49168" y="113653"/>
                  <a:pt x="50385" y="115961"/>
                  <a:pt x="47707" y="117884"/>
                </a:cubicBezTo>
                <a:cubicBezTo>
                  <a:pt x="45517" y="119615"/>
                  <a:pt x="40162" y="119807"/>
                  <a:pt x="38215" y="119807"/>
                </a:cubicBezTo>
                <a:cubicBezTo>
                  <a:pt x="70344" y="119807"/>
                  <a:pt x="70344" y="119807"/>
                  <a:pt x="70344" y="119807"/>
                </a:cubicBezTo>
                <a:cubicBezTo>
                  <a:pt x="69371" y="118846"/>
                  <a:pt x="63042" y="112884"/>
                  <a:pt x="60851" y="101538"/>
                </a:cubicBezTo>
                <a:cubicBezTo>
                  <a:pt x="58661" y="89038"/>
                  <a:pt x="63772" y="79230"/>
                  <a:pt x="65233" y="77884"/>
                </a:cubicBezTo>
                <a:cubicBezTo>
                  <a:pt x="70588" y="70961"/>
                  <a:pt x="76916" y="59230"/>
                  <a:pt x="76916" y="59230"/>
                </a:cubicBezTo>
                <a:cubicBezTo>
                  <a:pt x="85192" y="57692"/>
                  <a:pt x="89817" y="51730"/>
                  <a:pt x="89817" y="51730"/>
                </a:cubicBezTo>
                <a:cubicBezTo>
                  <a:pt x="89817" y="51730"/>
                  <a:pt x="101501" y="56346"/>
                  <a:pt x="109776" y="51538"/>
                </a:cubicBezTo>
                <a:cubicBezTo>
                  <a:pt x="120000" y="44423"/>
                  <a:pt x="112941" y="34423"/>
                  <a:pt x="112941" y="34423"/>
                </a:cubicBezTo>
                <a:close/>
                <a:moveTo>
                  <a:pt x="30912" y="81730"/>
                </a:moveTo>
                <a:cubicBezTo>
                  <a:pt x="31886" y="81730"/>
                  <a:pt x="33833" y="81538"/>
                  <a:pt x="33833" y="81538"/>
                </a:cubicBezTo>
                <a:cubicBezTo>
                  <a:pt x="33590" y="83269"/>
                  <a:pt x="34807" y="85192"/>
                  <a:pt x="34807" y="85192"/>
                </a:cubicBezTo>
                <a:cubicBezTo>
                  <a:pt x="32860" y="83653"/>
                  <a:pt x="30912" y="81730"/>
                  <a:pt x="30912" y="81730"/>
                </a:cubicBezTo>
                <a:close/>
                <a:moveTo>
                  <a:pt x="62799" y="72500"/>
                </a:moveTo>
                <a:cubicBezTo>
                  <a:pt x="62799" y="72500"/>
                  <a:pt x="64016" y="65192"/>
                  <a:pt x="63529" y="60961"/>
                </a:cubicBezTo>
                <a:cubicBezTo>
                  <a:pt x="70831" y="60961"/>
                  <a:pt x="70831" y="60961"/>
                  <a:pt x="70831" y="60961"/>
                </a:cubicBezTo>
                <a:cubicBezTo>
                  <a:pt x="70831" y="60961"/>
                  <a:pt x="68640" y="67500"/>
                  <a:pt x="62799" y="7250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121898" tIns="60941" rIns="121898" bIns="60941" anchor="t" anchorCtr="0">
            <a:noAutofit/>
          </a:bodyPr>
          <a:lstStyle/>
          <a:p>
            <a:pPr>
              <a:buClr>
                <a:srgbClr val="000000"/>
              </a:buClr>
            </a:pPr>
            <a:endParaRPr sz="1200">
              <a:solidFill>
                <a:schemeClr val="dk1"/>
              </a:solidFill>
            </a:endParaRPr>
          </a:p>
        </p:txBody>
      </p:sp>
      <p:sp>
        <p:nvSpPr>
          <p:cNvPr id="62" name="ïšļiḍè">
            <a:extLst>
              <a:ext uri="{FF2B5EF4-FFF2-40B4-BE49-F238E27FC236}">
                <a16:creationId xmlns:a16="http://schemas.microsoft.com/office/drawing/2014/main" id="{D37786B2-4923-475E-92F2-975F94ECEBF5}"/>
              </a:ext>
            </a:extLst>
          </p:cNvPr>
          <p:cNvSpPr/>
          <p:nvPr/>
        </p:nvSpPr>
        <p:spPr>
          <a:xfrm>
            <a:off x="5084390" y="5985892"/>
            <a:ext cx="653948" cy="82749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38117" y="119628"/>
                </a:moveTo>
                <a:cubicBezTo>
                  <a:pt x="37176" y="119628"/>
                  <a:pt x="37176" y="119628"/>
                  <a:pt x="37176" y="119628"/>
                </a:cubicBezTo>
                <a:cubicBezTo>
                  <a:pt x="37176" y="119628"/>
                  <a:pt x="37647" y="119628"/>
                  <a:pt x="38117" y="119628"/>
                </a:cubicBezTo>
                <a:close/>
                <a:moveTo>
                  <a:pt x="70588" y="119628"/>
                </a:moveTo>
                <a:cubicBezTo>
                  <a:pt x="70588" y="119628"/>
                  <a:pt x="70588" y="119628"/>
                  <a:pt x="70588" y="119628"/>
                </a:cubicBezTo>
                <a:cubicBezTo>
                  <a:pt x="70588" y="120000"/>
                  <a:pt x="70588" y="120000"/>
                  <a:pt x="70588" y="120000"/>
                </a:cubicBezTo>
                <a:lnTo>
                  <a:pt x="70588" y="119628"/>
                </a:lnTo>
                <a:close/>
                <a:moveTo>
                  <a:pt x="112941" y="34551"/>
                </a:moveTo>
                <a:cubicBezTo>
                  <a:pt x="114823" y="24148"/>
                  <a:pt x="103529" y="25263"/>
                  <a:pt x="101176" y="23777"/>
                </a:cubicBezTo>
                <a:cubicBezTo>
                  <a:pt x="98823" y="19690"/>
                  <a:pt x="91764" y="18575"/>
                  <a:pt x="91764" y="18575"/>
                </a:cubicBezTo>
                <a:cubicBezTo>
                  <a:pt x="91764" y="7058"/>
                  <a:pt x="80470" y="8544"/>
                  <a:pt x="80470" y="8544"/>
                </a:cubicBezTo>
                <a:cubicBezTo>
                  <a:pt x="80470" y="8544"/>
                  <a:pt x="75764" y="0"/>
                  <a:pt x="64470" y="371"/>
                </a:cubicBezTo>
                <a:cubicBezTo>
                  <a:pt x="49882" y="1114"/>
                  <a:pt x="48000" y="13003"/>
                  <a:pt x="48000" y="13003"/>
                </a:cubicBezTo>
                <a:cubicBezTo>
                  <a:pt x="40000" y="12631"/>
                  <a:pt x="39058" y="18947"/>
                  <a:pt x="39058" y="18947"/>
                </a:cubicBezTo>
                <a:cubicBezTo>
                  <a:pt x="24000" y="16346"/>
                  <a:pt x="22117" y="27120"/>
                  <a:pt x="22117" y="27120"/>
                </a:cubicBezTo>
                <a:cubicBezTo>
                  <a:pt x="16470" y="25634"/>
                  <a:pt x="0" y="33065"/>
                  <a:pt x="7529" y="44582"/>
                </a:cubicBezTo>
                <a:cubicBezTo>
                  <a:pt x="15058" y="55727"/>
                  <a:pt x="31058" y="52383"/>
                  <a:pt x="31058" y="52383"/>
                </a:cubicBezTo>
                <a:cubicBezTo>
                  <a:pt x="39058" y="65386"/>
                  <a:pt x="49411" y="57213"/>
                  <a:pt x="51764" y="58699"/>
                </a:cubicBezTo>
                <a:cubicBezTo>
                  <a:pt x="54588" y="59814"/>
                  <a:pt x="57411" y="59814"/>
                  <a:pt x="57411" y="59814"/>
                </a:cubicBezTo>
                <a:cubicBezTo>
                  <a:pt x="57411" y="59814"/>
                  <a:pt x="58352" y="68359"/>
                  <a:pt x="56000" y="75417"/>
                </a:cubicBezTo>
                <a:cubicBezTo>
                  <a:pt x="53176" y="82476"/>
                  <a:pt x="51294" y="92879"/>
                  <a:pt x="51294" y="92879"/>
                </a:cubicBezTo>
                <a:cubicBezTo>
                  <a:pt x="51294" y="92879"/>
                  <a:pt x="43764" y="90650"/>
                  <a:pt x="39529" y="88049"/>
                </a:cubicBezTo>
                <a:cubicBezTo>
                  <a:pt x="35764" y="85820"/>
                  <a:pt x="35764" y="80990"/>
                  <a:pt x="35764" y="80990"/>
                </a:cubicBezTo>
                <a:cubicBezTo>
                  <a:pt x="37647" y="80619"/>
                  <a:pt x="39058" y="78390"/>
                  <a:pt x="39058" y="78390"/>
                </a:cubicBezTo>
                <a:cubicBezTo>
                  <a:pt x="44235" y="81362"/>
                  <a:pt x="49411" y="77275"/>
                  <a:pt x="48941" y="72445"/>
                </a:cubicBezTo>
                <a:cubicBezTo>
                  <a:pt x="48470" y="67616"/>
                  <a:pt x="43294" y="67987"/>
                  <a:pt x="43294" y="67987"/>
                </a:cubicBezTo>
                <a:cubicBezTo>
                  <a:pt x="43294" y="67987"/>
                  <a:pt x="42823" y="65758"/>
                  <a:pt x="40000" y="65386"/>
                </a:cubicBezTo>
                <a:cubicBezTo>
                  <a:pt x="40470" y="61671"/>
                  <a:pt x="35764" y="61300"/>
                  <a:pt x="35764" y="61300"/>
                </a:cubicBezTo>
                <a:cubicBezTo>
                  <a:pt x="35764" y="61300"/>
                  <a:pt x="33411" y="58699"/>
                  <a:pt x="28235" y="58328"/>
                </a:cubicBezTo>
                <a:cubicBezTo>
                  <a:pt x="23058" y="57956"/>
                  <a:pt x="23058" y="63529"/>
                  <a:pt x="23058" y="63529"/>
                </a:cubicBezTo>
                <a:cubicBezTo>
                  <a:pt x="23058" y="63529"/>
                  <a:pt x="18823" y="63157"/>
                  <a:pt x="18352" y="65758"/>
                </a:cubicBezTo>
                <a:cubicBezTo>
                  <a:pt x="14117" y="64272"/>
                  <a:pt x="12235" y="68359"/>
                  <a:pt x="12235" y="68359"/>
                </a:cubicBezTo>
                <a:cubicBezTo>
                  <a:pt x="12235" y="68359"/>
                  <a:pt x="7058" y="68730"/>
                  <a:pt x="6117" y="72817"/>
                </a:cubicBezTo>
                <a:cubicBezTo>
                  <a:pt x="5176" y="77647"/>
                  <a:pt x="12705" y="79504"/>
                  <a:pt x="15058" y="78761"/>
                </a:cubicBezTo>
                <a:cubicBezTo>
                  <a:pt x="15058" y="82105"/>
                  <a:pt x="27294" y="82476"/>
                  <a:pt x="29176" y="82105"/>
                </a:cubicBezTo>
                <a:cubicBezTo>
                  <a:pt x="32000" y="87306"/>
                  <a:pt x="50352" y="96222"/>
                  <a:pt x="50352" y="96222"/>
                </a:cubicBezTo>
                <a:cubicBezTo>
                  <a:pt x="50352" y="96222"/>
                  <a:pt x="50823" y="103653"/>
                  <a:pt x="49882" y="108482"/>
                </a:cubicBezTo>
                <a:cubicBezTo>
                  <a:pt x="48941" y="113684"/>
                  <a:pt x="50352" y="115913"/>
                  <a:pt x="47529" y="117770"/>
                </a:cubicBezTo>
                <a:cubicBezTo>
                  <a:pt x="45647" y="119628"/>
                  <a:pt x="40000" y="119628"/>
                  <a:pt x="38117" y="119628"/>
                </a:cubicBezTo>
                <a:cubicBezTo>
                  <a:pt x="70588" y="119628"/>
                  <a:pt x="70588" y="119628"/>
                  <a:pt x="70588" y="119628"/>
                </a:cubicBezTo>
                <a:cubicBezTo>
                  <a:pt x="69176" y="118885"/>
                  <a:pt x="63058" y="112941"/>
                  <a:pt x="60705" y="101424"/>
                </a:cubicBezTo>
                <a:cubicBezTo>
                  <a:pt x="58823" y="89164"/>
                  <a:pt x="63529" y="79504"/>
                  <a:pt x="64941" y="78018"/>
                </a:cubicBezTo>
                <a:cubicBezTo>
                  <a:pt x="70588" y="70959"/>
                  <a:pt x="76705" y="59071"/>
                  <a:pt x="76705" y="59071"/>
                </a:cubicBezTo>
                <a:cubicBezTo>
                  <a:pt x="85176" y="57585"/>
                  <a:pt x="89882" y="52012"/>
                  <a:pt x="89882" y="52012"/>
                </a:cubicBezTo>
                <a:cubicBezTo>
                  <a:pt x="89882" y="52012"/>
                  <a:pt x="101647" y="56470"/>
                  <a:pt x="109647" y="51640"/>
                </a:cubicBezTo>
                <a:cubicBezTo>
                  <a:pt x="120000" y="44582"/>
                  <a:pt x="112941" y="34551"/>
                  <a:pt x="112941" y="34551"/>
                </a:cubicBezTo>
                <a:close/>
                <a:moveTo>
                  <a:pt x="31058" y="81733"/>
                </a:moveTo>
                <a:cubicBezTo>
                  <a:pt x="32000" y="81733"/>
                  <a:pt x="33882" y="81733"/>
                  <a:pt x="33882" y="81733"/>
                </a:cubicBezTo>
                <a:cubicBezTo>
                  <a:pt x="33411" y="83219"/>
                  <a:pt x="34823" y="85077"/>
                  <a:pt x="34823" y="85077"/>
                </a:cubicBezTo>
                <a:cubicBezTo>
                  <a:pt x="32941" y="83591"/>
                  <a:pt x="31058" y="81733"/>
                  <a:pt x="31058" y="81733"/>
                </a:cubicBezTo>
                <a:close/>
                <a:moveTo>
                  <a:pt x="63058" y="72445"/>
                </a:moveTo>
                <a:cubicBezTo>
                  <a:pt x="63058" y="72445"/>
                  <a:pt x="64000" y="65015"/>
                  <a:pt x="63529" y="60928"/>
                </a:cubicBezTo>
                <a:cubicBezTo>
                  <a:pt x="70588" y="60928"/>
                  <a:pt x="70588" y="60928"/>
                  <a:pt x="70588" y="60928"/>
                </a:cubicBezTo>
                <a:cubicBezTo>
                  <a:pt x="70588" y="60928"/>
                  <a:pt x="68705" y="67616"/>
                  <a:pt x="63058" y="72445"/>
                </a:cubicBez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lIns="121898" tIns="60941" rIns="121898" bIns="60941" anchor="t" anchorCtr="0">
            <a:noAutofit/>
          </a:bodyPr>
          <a:lstStyle/>
          <a:p>
            <a:pPr>
              <a:buClr>
                <a:srgbClr val="000000"/>
              </a:buClr>
            </a:pPr>
            <a:endParaRPr sz="1200">
              <a:solidFill>
                <a:schemeClr val="dk1"/>
              </a:solidFill>
            </a:endParaRPr>
          </a:p>
        </p:txBody>
      </p:sp>
      <p:sp>
        <p:nvSpPr>
          <p:cNvPr id="49" name="ïšḻïḑè">
            <a:extLst>
              <a:ext uri="{FF2B5EF4-FFF2-40B4-BE49-F238E27FC236}">
                <a16:creationId xmlns:a16="http://schemas.microsoft.com/office/drawing/2014/main" id="{519C390C-08DD-4F85-8CD0-F8277DAE41E6}"/>
              </a:ext>
            </a:extLst>
          </p:cNvPr>
          <p:cNvSpPr/>
          <p:nvPr/>
        </p:nvSpPr>
        <p:spPr>
          <a:xfrm>
            <a:off x="2464969" y="6267363"/>
            <a:ext cx="431733" cy="54601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37857" y="119999"/>
                </a:moveTo>
                <a:cubicBezTo>
                  <a:pt x="37142" y="119999"/>
                  <a:pt x="37142" y="119999"/>
                  <a:pt x="37142" y="119999"/>
                </a:cubicBezTo>
                <a:cubicBezTo>
                  <a:pt x="37142" y="119999"/>
                  <a:pt x="37142" y="119999"/>
                  <a:pt x="37857" y="119999"/>
                </a:cubicBezTo>
                <a:close/>
                <a:moveTo>
                  <a:pt x="70000" y="119999"/>
                </a:moveTo>
                <a:cubicBezTo>
                  <a:pt x="70000" y="119999"/>
                  <a:pt x="70000" y="119999"/>
                  <a:pt x="70000" y="119999"/>
                </a:cubicBezTo>
                <a:cubicBezTo>
                  <a:pt x="70000" y="119999"/>
                  <a:pt x="70000" y="119999"/>
                  <a:pt x="70000" y="119999"/>
                </a:cubicBezTo>
                <a:close/>
                <a:moveTo>
                  <a:pt x="112857" y="34366"/>
                </a:moveTo>
                <a:cubicBezTo>
                  <a:pt x="115000" y="24225"/>
                  <a:pt x="102857" y="25352"/>
                  <a:pt x="100714" y="23661"/>
                </a:cubicBezTo>
                <a:cubicBezTo>
                  <a:pt x="98571" y="19718"/>
                  <a:pt x="91428" y="18591"/>
                  <a:pt x="91428" y="18591"/>
                </a:cubicBezTo>
                <a:cubicBezTo>
                  <a:pt x="91428" y="7323"/>
                  <a:pt x="80000" y="8450"/>
                  <a:pt x="80000" y="8450"/>
                </a:cubicBezTo>
                <a:cubicBezTo>
                  <a:pt x="80000" y="8450"/>
                  <a:pt x="75000" y="0"/>
                  <a:pt x="64285" y="563"/>
                </a:cubicBezTo>
                <a:cubicBezTo>
                  <a:pt x="49285" y="1126"/>
                  <a:pt x="47857" y="12957"/>
                  <a:pt x="47857" y="12957"/>
                </a:cubicBezTo>
                <a:cubicBezTo>
                  <a:pt x="40000" y="12394"/>
                  <a:pt x="38571" y="18591"/>
                  <a:pt x="38571" y="18591"/>
                </a:cubicBezTo>
                <a:cubicBezTo>
                  <a:pt x="23571" y="16338"/>
                  <a:pt x="22142" y="27042"/>
                  <a:pt x="22142" y="27042"/>
                </a:cubicBezTo>
                <a:cubicBezTo>
                  <a:pt x="16428" y="25915"/>
                  <a:pt x="0" y="33239"/>
                  <a:pt x="7142" y="44507"/>
                </a:cubicBezTo>
                <a:cubicBezTo>
                  <a:pt x="15000" y="55774"/>
                  <a:pt x="30714" y="52394"/>
                  <a:pt x="30714" y="52394"/>
                </a:cubicBezTo>
                <a:cubicBezTo>
                  <a:pt x="38571" y="65352"/>
                  <a:pt x="49285" y="56901"/>
                  <a:pt x="51428" y="58591"/>
                </a:cubicBezTo>
                <a:cubicBezTo>
                  <a:pt x="54285" y="60281"/>
                  <a:pt x="57142" y="59718"/>
                  <a:pt x="57142" y="59718"/>
                </a:cubicBezTo>
                <a:cubicBezTo>
                  <a:pt x="57142" y="59718"/>
                  <a:pt x="57857" y="68169"/>
                  <a:pt x="55714" y="75492"/>
                </a:cubicBezTo>
                <a:cubicBezTo>
                  <a:pt x="52857" y="82253"/>
                  <a:pt x="51428" y="92957"/>
                  <a:pt x="51428" y="92957"/>
                </a:cubicBezTo>
                <a:cubicBezTo>
                  <a:pt x="51428" y="92957"/>
                  <a:pt x="43571" y="90704"/>
                  <a:pt x="39285" y="87887"/>
                </a:cubicBezTo>
                <a:cubicBezTo>
                  <a:pt x="35714" y="85633"/>
                  <a:pt x="35714" y="81126"/>
                  <a:pt x="35714" y="81126"/>
                </a:cubicBezTo>
                <a:cubicBezTo>
                  <a:pt x="37142" y="80563"/>
                  <a:pt x="38571" y="78309"/>
                  <a:pt x="38571" y="78309"/>
                </a:cubicBezTo>
                <a:cubicBezTo>
                  <a:pt x="44285" y="81690"/>
                  <a:pt x="49285" y="77183"/>
                  <a:pt x="48571" y="72676"/>
                </a:cubicBezTo>
                <a:cubicBezTo>
                  <a:pt x="48571" y="67605"/>
                  <a:pt x="42857" y="68169"/>
                  <a:pt x="42857" y="68169"/>
                </a:cubicBezTo>
                <a:cubicBezTo>
                  <a:pt x="42857" y="68169"/>
                  <a:pt x="42142" y="65915"/>
                  <a:pt x="40000" y="65352"/>
                </a:cubicBezTo>
                <a:cubicBezTo>
                  <a:pt x="40000" y="61971"/>
                  <a:pt x="35000" y="61408"/>
                  <a:pt x="35000" y="61408"/>
                </a:cubicBezTo>
                <a:cubicBezTo>
                  <a:pt x="35000" y="61408"/>
                  <a:pt x="32857" y="58591"/>
                  <a:pt x="27857" y="58028"/>
                </a:cubicBezTo>
                <a:cubicBezTo>
                  <a:pt x="22857" y="58028"/>
                  <a:pt x="22857" y="63098"/>
                  <a:pt x="22857" y="63098"/>
                </a:cubicBezTo>
                <a:cubicBezTo>
                  <a:pt x="22857" y="63098"/>
                  <a:pt x="18571" y="63098"/>
                  <a:pt x="17857" y="65915"/>
                </a:cubicBezTo>
                <a:cubicBezTo>
                  <a:pt x="13571" y="64225"/>
                  <a:pt x="12142" y="68169"/>
                  <a:pt x="12142" y="68169"/>
                </a:cubicBezTo>
                <a:cubicBezTo>
                  <a:pt x="12142" y="68169"/>
                  <a:pt x="7142" y="68732"/>
                  <a:pt x="5714" y="72676"/>
                </a:cubicBezTo>
                <a:cubicBezTo>
                  <a:pt x="5000" y="77746"/>
                  <a:pt x="12857" y="79436"/>
                  <a:pt x="15000" y="78873"/>
                </a:cubicBezTo>
                <a:cubicBezTo>
                  <a:pt x="15000" y="81690"/>
                  <a:pt x="27142" y="82816"/>
                  <a:pt x="28571" y="82253"/>
                </a:cubicBezTo>
                <a:cubicBezTo>
                  <a:pt x="31428" y="87323"/>
                  <a:pt x="50000" y="95774"/>
                  <a:pt x="50000" y="95774"/>
                </a:cubicBezTo>
                <a:cubicBezTo>
                  <a:pt x="50000" y="95774"/>
                  <a:pt x="50714" y="103661"/>
                  <a:pt x="50000" y="108732"/>
                </a:cubicBezTo>
                <a:cubicBezTo>
                  <a:pt x="48571" y="113802"/>
                  <a:pt x="50000" y="116056"/>
                  <a:pt x="47142" y="117746"/>
                </a:cubicBezTo>
                <a:cubicBezTo>
                  <a:pt x="45000" y="119436"/>
                  <a:pt x="40000" y="119436"/>
                  <a:pt x="37857" y="119999"/>
                </a:cubicBezTo>
                <a:cubicBezTo>
                  <a:pt x="70000" y="119999"/>
                  <a:pt x="70000" y="119999"/>
                  <a:pt x="70000" y="119999"/>
                </a:cubicBezTo>
                <a:cubicBezTo>
                  <a:pt x="68571" y="118873"/>
                  <a:pt x="62857" y="112676"/>
                  <a:pt x="60714" y="101408"/>
                </a:cubicBezTo>
                <a:cubicBezTo>
                  <a:pt x="58571" y="89014"/>
                  <a:pt x="63571" y="79436"/>
                  <a:pt x="65000" y="77746"/>
                </a:cubicBezTo>
                <a:cubicBezTo>
                  <a:pt x="70000" y="70985"/>
                  <a:pt x="76428" y="59154"/>
                  <a:pt x="76428" y="59154"/>
                </a:cubicBezTo>
                <a:cubicBezTo>
                  <a:pt x="85000" y="58028"/>
                  <a:pt x="89285" y="51830"/>
                  <a:pt x="89285" y="51830"/>
                </a:cubicBezTo>
                <a:cubicBezTo>
                  <a:pt x="89285" y="51830"/>
                  <a:pt x="101428" y="56338"/>
                  <a:pt x="109285" y="51830"/>
                </a:cubicBezTo>
                <a:cubicBezTo>
                  <a:pt x="120000" y="44507"/>
                  <a:pt x="112857" y="34366"/>
                  <a:pt x="112857" y="34366"/>
                </a:cubicBezTo>
                <a:close/>
                <a:moveTo>
                  <a:pt x="30714" y="81690"/>
                </a:moveTo>
                <a:cubicBezTo>
                  <a:pt x="31428" y="81690"/>
                  <a:pt x="33571" y="81690"/>
                  <a:pt x="33571" y="81690"/>
                </a:cubicBezTo>
                <a:cubicBezTo>
                  <a:pt x="32857" y="83380"/>
                  <a:pt x="34285" y="85070"/>
                  <a:pt x="34285" y="85070"/>
                </a:cubicBezTo>
                <a:cubicBezTo>
                  <a:pt x="32857" y="83943"/>
                  <a:pt x="30714" y="81690"/>
                  <a:pt x="30714" y="81690"/>
                </a:cubicBezTo>
                <a:close/>
                <a:moveTo>
                  <a:pt x="62857" y="72676"/>
                </a:moveTo>
                <a:cubicBezTo>
                  <a:pt x="62857" y="72676"/>
                  <a:pt x="63571" y="65352"/>
                  <a:pt x="62857" y="60845"/>
                </a:cubicBezTo>
                <a:cubicBezTo>
                  <a:pt x="70714" y="60845"/>
                  <a:pt x="70714" y="60845"/>
                  <a:pt x="70714" y="60845"/>
                </a:cubicBezTo>
                <a:cubicBezTo>
                  <a:pt x="70714" y="60845"/>
                  <a:pt x="68571" y="67605"/>
                  <a:pt x="62857" y="72676"/>
                </a:cubicBez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lIns="121898" tIns="60941" rIns="121898" bIns="60941" anchor="t" anchorCtr="0">
            <a:noAutofit/>
          </a:bodyPr>
          <a:lstStyle/>
          <a:p>
            <a:pPr>
              <a:buClr>
                <a:srgbClr val="000000"/>
              </a:buClr>
            </a:pPr>
            <a:endParaRPr sz="1200">
              <a:solidFill>
                <a:schemeClr val="dk1"/>
              </a:solidFill>
            </a:endParaRPr>
          </a:p>
        </p:txBody>
      </p:sp>
      <p:sp>
        <p:nvSpPr>
          <p:cNvPr id="50" name="işlîḍé">
            <a:extLst>
              <a:ext uri="{FF2B5EF4-FFF2-40B4-BE49-F238E27FC236}">
                <a16:creationId xmlns:a16="http://schemas.microsoft.com/office/drawing/2014/main" id="{A30DF1C4-AA16-4E1B-B64F-BCF4BF5EF5FF}"/>
              </a:ext>
            </a:extLst>
          </p:cNvPr>
          <p:cNvSpPr/>
          <p:nvPr/>
        </p:nvSpPr>
        <p:spPr>
          <a:xfrm>
            <a:off x="1284050" y="6161546"/>
            <a:ext cx="516387" cy="651832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38208" y="119527"/>
                </a:moveTo>
                <a:cubicBezTo>
                  <a:pt x="37014" y="119527"/>
                  <a:pt x="37014" y="119527"/>
                  <a:pt x="37014" y="119527"/>
                </a:cubicBezTo>
                <a:cubicBezTo>
                  <a:pt x="37014" y="119527"/>
                  <a:pt x="37611" y="119527"/>
                  <a:pt x="38208" y="119527"/>
                </a:cubicBezTo>
                <a:close/>
                <a:moveTo>
                  <a:pt x="70447" y="119527"/>
                </a:moveTo>
                <a:cubicBezTo>
                  <a:pt x="70447" y="119527"/>
                  <a:pt x="70447" y="119527"/>
                  <a:pt x="70447" y="119527"/>
                </a:cubicBezTo>
                <a:cubicBezTo>
                  <a:pt x="70447" y="120000"/>
                  <a:pt x="70447" y="120000"/>
                  <a:pt x="70447" y="120000"/>
                </a:cubicBezTo>
                <a:lnTo>
                  <a:pt x="70447" y="119527"/>
                </a:lnTo>
                <a:close/>
                <a:moveTo>
                  <a:pt x="112835" y="34488"/>
                </a:moveTo>
                <a:cubicBezTo>
                  <a:pt x="114626" y="24094"/>
                  <a:pt x="103283" y="25039"/>
                  <a:pt x="100895" y="23622"/>
                </a:cubicBezTo>
                <a:cubicBezTo>
                  <a:pt x="98507" y="19842"/>
                  <a:pt x="91343" y="18425"/>
                  <a:pt x="91343" y="18425"/>
                </a:cubicBezTo>
                <a:cubicBezTo>
                  <a:pt x="91343" y="7086"/>
                  <a:pt x="80000" y="8503"/>
                  <a:pt x="80000" y="8503"/>
                </a:cubicBezTo>
                <a:cubicBezTo>
                  <a:pt x="80000" y="8503"/>
                  <a:pt x="75223" y="0"/>
                  <a:pt x="63880" y="472"/>
                </a:cubicBezTo>
                <a:cubicBezTo>
                  <a:pt x="49552" y="944"/>
                  <a:pt x="47761" y="12755"/>
                  <a:pt x="47761" y="12755"/>
                </a:cubicBezTo>
                <a:cubicBezTo>
                  <a:pt x="40000" y="12755"/>
                  <a:pt x="38805" y="18897"/>
                  <a:pt x="38805" y="18897"/>
                </a:cubicBezTo>
                <a:cubicBezTo>
                  <a:pt x="23880" y="16535"/>
                  <a:pt x="22089" y="26929"/>
                  <a:pt x="22089" y="26929"/>
                </a:cubicBezTo>
                <a:cubicBezTo>
                  <a:pt x="16716" y="25511"/>
                  <a:pt x="0" y="33070"/>
                  <a:pt x="7761" y="44409"/>
                </a:cubicBezTo>
                <a:cubicBezTo>
                  <a:pt x="14925" y="55748"/>
                  <a:pt x="31044" y="51968"/>
                  <a:pt x="31044" y="51968"/>
                </a:cubicBezTo>
                <a:cubicBezTo>
                  <a:pt x="39402" y="65196"/>
                  <a:pt x="49552" y="57165"/>
                  <a:pt x="51940" y="58582"/>
                </a:cubicBezTo>
                <a:cubicBezTo>
                  <a:pt x="54328" y="60000"/>
                  <a:pt x="57313" y="59527"/>
                  <a:pt x="57313" y="59527"/>
                </a:cubicBezTo>
                <a:cubicBezTo>
                  <a:pt x="57313" y="59527"/>
                  <a:pt x="58507" y="68503"/>
                  <a:pt x="55522" y="75590"/>
                </a:cubicBezTo>
                <a:cubicBezTo>
                  <a:pt x="53134" y="82677"/>
                  <a:pt x="51343" y="93070"/>
                  <a:pt x="51343" y="93070"/>
                </a:cubicBezTo>
                <a:cubicBezTo>
                  <a:pt x="51343" y="93070"/>
                  <a:pt x="43582" y="90708"/>
                  <a:pt x="39402" y="87874"/>
                </a:cubicBezTo>
                <a:cubicBezTo>
                  <a:pt x="35820" y="85511"/>
                  <a:pt x="35820" y="80787"/>
                  <a:pt x="35820" y="80787"/>
                </a:cubicBezTo>
                <a:cubicBezTo>
                  <a:pt x="37611" y="80787"/>
                  <a:pt x="38805" y="78425"/>
                  <a:pt x="38805" y="78425"/>
                </a:cubicBezTo>
                <a:cubicBezTo>
                  <a:pt x="44179" y="81259"/>
                  <a:pt x="48955" y="77007"/>
                  <a:pt x="48955" y="72283"/>
                </a:cubicBezTo>
                <a:cubicBezTo>
                  <a:pt x="48358" y="67559"/>
                  <a:pt x="42985" y="68031"/>
                  <a:pt x="42985" y="68031"/>
                </a:cubicBezTo>
                <a:cubicBezTo>
                  <a:pt x="42985" y="68031"/>
                  <a:pt x="42388" y="65669"/>
                  <a:pt x="40000" y="65669"/>
                </a:cubicBezTo>
                <a:cubicBezTo>
                  <a:pt x="40597" y="61889"/>
                  <a:pt x="35820" y="61417"/>
                  <a:pt x="35820" y="61417"/>
                </a:cubicBezTo>
                <a:cubicBezTo>
                  <a:pt x="35820" y="61417"/>
                  <a:pt x="33432" y="58582"/>
                  <a:pt x="28059" y="58110"/>
                </a:cubicBezTo>
                <a:cubicBezTo>
                  <a:pt x="23283" y="57637"/>
                  <a:pt x="22686" y="63307"/>
                  <a:pt x="22686" y="63307"/>
                </a:cubicBezTo>
                <a:cubicBezTo>
                  <a:pt x="22686" y="63307"/>
                  <a:pt x="19104" y="62834"/>
                  <a:pt x="18507" y="65669"/>
                </a:cubicBezTo>
                <a:cubicBezTo>
                  <a:pt x="13731" y="64251"/>
                  <a:pt x="12537" y="68503"/>
                  <a:pt x="12537" y="68503"/>
                </a:cubicBezTo>
                <a:cubicBezTo>
                  <a:pt x="12537" y="68503"/>
                  <a:pt x="7164" y="68976"/>
                  <a:pt x="5970" y="72755"/>
                </a:cubicBezTo>
                <a:cubicBezTo>
                  <a:pt x="5373" y="77480"/>
                  <a:pt x="13134" y="79370"/>
                  <a:pt x="14925" y="78897"/>
                </a:cubicBezTo>
                <a:cubicBezTo>
                  <a:pt x="14925" y="81732"/>
                  <a:pt x="27462" y="82677"/>
                  <a:pt x="29253" y="82204"/>
                </a:cubicBezTo>
                <a:cubicBezTo>
                  <a:pt x="31641" y="87401"/>
                  <a:pt x="50149" y="95905"/>
                  <a:pt x="50149" y="95905"/>
                </a:cubicBezTo>
                <a:cubicBezTo>
                  <a:pt x="50149" y="95905"/>
                  <a:pt x="50746" y="103464"/>
                  <a:pt x="50149" y="108661"/>
                </a:cubicBezTo>
                <a:cubicBezTo>
                  <a:pt x="48955" y="113385"/>
                  <a:pt x="50149" y="115748"/>
                  <a:pt x="47761" y="118110"/>
                </a:cubicBezTo>
                <a:cubicBezTo>
                  <a:pt x="45373" y="119527"/>
                  <a:pt x="40000" y="119527"/>
                  <a:pt x="38208" y="119527"/>
                </a:cubicBezTo>
                <a:cubicBezTo>
                  <a:pt x="70447" y="119527"/>
                  <a:pt x="70447" y="119527"/>
                  <a:pt x="70447" y="119527"/>
                </a:cubicBezTo>
                <a:cubicBezTo>
                  <a:pt x="69253" y="118582"/>
                  <a:pt x="62686" y="112913"/>
                  <a:pt x="60895" y="101574"/>
                </a:cubicBezTo>
                <a:cubicBezTo>
                  <a:pt x="58507" y="89291"/>
                  <a:pt x="63880" y="79370"/>
                  <a:pt x="65074" y="77952"/>
                </a:cubicBezTo>
                <a:cubicBezTo>
                  <a:pt x="70447" y="70866"/>
                  <a:pt x="77014" y="59055"/>
                  <a:pt x="77014" y="59055"/>
                </a:cubicBezTo>
                <a:cubicBezTo>
                  <a:pt x="84776" y="57637"/>
                  <a:pt x="89552" y="51968"/>
                  <a:pt x="89552" y="51968"/>
                </a:cubicBezTo>
                <a:cubicBezTo>
                  <a:pt x="89552" y="51968"/>
                  <a:pt x="101492" y="56220"/>
                  <a:pt x="109253" y="51496"/>
                </a:cubicBezTo>
                <a:cubicBezTo>
                  <a:pt x="120000" y="44409"/>
                  <a:pt x="112835" y="34488"/>
                  <a:pt x="112835" y="34488"/>
                </a:cubicBezTo>
                <a:close/>
                <a:moveTo>
                  <a:pt x="31044" y="81732"/>
                </a:moveTo>
                <a:cubicBezTo>
                  <a:pt x="31641" y="81732"/>
                  <a:pt x="34029" y="81732"/>
                  <a:pt x="34029" y="81732"/>
                </a:cubicBezTo>
                <a:cubicBezTo>
                  <a:pt x="33432" y="83149"/>
                  <a:pt x="34626" y="85039"/>
                  <a:pt x="34626" y="85039"/>
                </a:cubicBezTo>
                <a:cubicBezTo>
                  <a:pt x="32835" y="83622"/>
                  <a:pt x="31044" y="81732"/>
                  <a:pt x="31044" y="81732"/>
                </a:cubicBezTo>
                <a:close/>
                <a:moveTo>
                  <a:pt x="62686" y="72283"/>
                </a:moveTo>
                <a:cubicBezTo>
                  <a:pt x="62686" y="72283"/>
                  <a:pt x="63880" y="65196"/>
                  <a:pt x="63283" y="60944"/>
                </a:cubicBezTo>
                <a:cubicBezTo>
                  <a:pt x="70447" y="60944"/>
                  <a:pt x="70447" y="60944"/>
                  <a:pt x="70447" y="60944"/>
                </a:cubicBezTo>
                <a:cubicBezTo>
                  <a:pt x="70447" y="60944"/>
                  <a:pt x="68656" y="67559"/>
                  <a:pt x="62686" y="72283"/>
                </a:cubicBez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lIns="121898" tIns="60941" rIns="121898" bIns="60941" anchor="t" anchorCtr="0">
            <a:noAutofit/>
          </a:bodyPr>
          <a:lstStyle/>
          <a:p>
            <a:pPr>
              <a:buClr>
                <a:srgbClr val="000000"/>
              </a:buClr>
            </a:pPr>
            <a:endParaRPr sz="1200">
              <a:solidFill>
                <a:schemeClr val="dk1"/>
              </a:solidFill>
            </a:endParaRPr>
          </a:p>
        </p:txBody>
      </p:sp>
      <p:sp>
        <p:nvSpPr>
          <p:cNvPr id="51" name="íṧḻîde">
            <a:extLst>
              <a:ext uri="{FF2B5EF4-FFF2-40B4-BE49-F238E27FC236}">
                <a16:creationId xmlns:a16="http://schemas.microsoft.com/office/drawing/2014/main" id="{B6C3BA35-8190-4099-B819-42DC04077CA7}"/>
              </a:ext>
            </a:extLst>
          </p:cNvPr>
          <p:cNvSpPr/>
          <p:nvPr/>
        </p:nvSpPr>
        <p:spPr>
          <a:xfrm>
            <a:off x="669099" y="6074776"/>
            <a:ext cx="584110" cy="738603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07894" y="68333"/>
                </a:moveTo>
                <a:cubicBezTo>
                  <a:pt x="107894" y="68333"/>
                  <a:pt x="106315" y="64166"/>
                  <a:pt x="101578" y="65416"/>
                </a:cubicBezTo>
                <a:cubicBezTo>
                  <a:pt x="101052" y="62916"/>
                  <a:pt x="97368" y="63333"/>
                  <a:pt x="97368" y="63333"/>
                </a:cubicBezTo>
                <a:cubicBezTo>
                  <a:pt x="97368" y="63333"/>
                  <a:pt x="96842" y="57500"/>
                  <a:pt x="92105" y="57916"/>
                </a:cubicBezTo>
                <a:cubicBezTo>
                  <a:pt x="86842" y="58333"/>
                  <a:pt x="84736" y="61250"/>
                  <a:pt x="84736" y="61250"/>
                </a:cubicBezTo>
                <a:cubicBezTo>
                  <a:pt x="84736" y="61250"/>
                  <a:pt x="79473" y="61666"/>
                  <a:pt x="80000" y="65416"/>
                </a:cubicBezTo>
                <a:cubicBezTo>
                  <a:pt x="77368" y="65833"/>
                  <a:pt x="76842" y="67916"/>
                  <a:pt x="76842" y="67916"/>
                </a:cubicBezTo>
                <a:cubicBezTo>
                  <a:pt x="76842" y="67916"/>
                  <a:pt x="71578" y="67500"/>
                  <a:pt x="71052" y="72500"/>
                </a:cubicBezTo>
                <a:cubicBezTo>
                  <a:pt x="71052" y="77083"/>
                  <a:pt x="75789" y="81250"/>
                  <a:pt x="81052" y="78333"/>
                </a:cubicBezTo>
                <a:cubicBezTo>
                  <a:pt x="81052" y="78333"/>
                  <a:pt x="82631" y="80833"/>
                  <a:pt x="84210" y="80833"/>
                </a:cubicBezTo>
                <a:cubicBezTo>
                  <a:pt x="84210" y="80833"/>
                  <a:pt x="84210" y="85833"/>
                  <a:pt x="80526" y="87916"/>
                </a:cubicBezTo>
                <a:cubicBezTo>
                  <a:pt x="76315" y="90416"/>
                  <a:pt x="68947" y="92916"/>
                  <a:pt x="68947" y="92916"/>
                </a:cubicBezTo>
                <a:cubicBezTo>
                  <a:pt x="68947" y="92916"/>
                  <a:pt x="66842" y="82500"/>
                  <a:pt x="64210" y="75416"/>
                </a:cubicBezTo>
                <a:cubicBezTo>
                  <a:pt x="61578" y="68333"/>
                  <a:pt x="62631" y="59583"/>
                  <a:pt x="62631" y="59583"/>
                </a:cubicBezTo>
                <a:cubicBezTo>
                  <a:pt x="62631" y="59583"/>
                  <a:pt x="65789" y="60000"/>
                  <a:pt x="68421" y="58333"/>
                </a:cubicBezTo>
                <a:cubicBezTo>
                  <a:pt x="70526" y="57083"/>
                  <a:pt x="81052" y="65000"/>
                  <a:pt x="89473" y="52083"/>
                </a:cubicBezTo>
                <a:cubicBezTo>
                  <a:pt x="89473" y="52083"/>
                  <a:pt x="104736" y="55416"/>
                  <a:pt x="112631" y="44166"/>
                </a:cubicBezTo>
                <a:cubicBezTo>
                  <a:pt x="119999" y="32916"/>
                  <a:pt x="103684" y="25416"/>
                  <a:pt x="97894" y="26666"/>
                </a:cubicBezTo>
                <a:cubicBezTo>
                  <a:pt x="97894" y="26666"/>
                  <a:pt x="96315" y="16250"/>
                  <a:pt x="81578" y="18750"/>
                </a:cubicBezTo>
                <a:cubicBezTo>
                  <a:pt x="81578" y="18750"/>
                  <a:pt x="80000" y="12500"/>
                  <a:pt x="72105" y="12916"/>
                </a:cubicBezTo>
                <a:cubicBezTo>
                  <a:pt x="72105" y="12916"/>
                  <a:pt x="70526" y="833"/>
                  <a:pt x="55789" y="0"/>
                </a:cubicBezTo>
                <a:cubicBezTo>
                  <a:pt x="44736" y="0"/>
                  <a:pt x="40000" y="8333"/>
                  <a:pt x="40000" y="8333"/>
                </a:cubicBezTo>
                <a:cubicBezTo>
                  <a:pt x="40000" y="8333"/>
                  <a:pt x="28421" y="7083"/>
                  <a:pt x="28421" y="18333"/>
                </a:cubicBezTo>
                <a:cubicBezTo>
                  <a:pt x="28421" y="18333"/>
                  <a:pt x="21578" y="19583"/>
                  <a:pt x="18947" y="23750"/>
                </a:cubicBezTo>
                <a:cubicBezTo>
                  <a:pt x="16842" y="25000"/>
                  <a:pt x="5263" y="24166"/>
                  <a:pt x="7368" y="34166"/>
                </a:cubicBezTo>
                <a:cubicBezTo>
                  <a:pt x="7368" y="34166"/>
                  <a:pt x="0" y="44166"/>
                  <a:pt x="10526" y="51666"/>
                </a:cubicBezTo>
                <a:cubicBezTo>
                  <a:pt x="18947" y="56250"/>
                  <a:pt x="30526" y="51666"/>
                  <a:pt x="30526" y="51666"/>
                </a:cubicBezTo>
                <a:cubicBezTo>
                  <a:pt x="30526" y="51666"/>
                  <a:pt x="35263" y="57500"/>
                  <a:pt x="43157" y="59166"/>
                </a:cubicBezTo>
                <a:cubicBezTo>
                  <a:pt x="43157" y="59166"/>
                  <a:pt x="49473" y="70833"/>
                  <a:pt x="55263" y="77916"/>
                </a:cubicBezTo>
                <a:cubicBezTo>
                  <a:pt x="56315" y="79166"/>
                  <a:pt x="61578" y="89166"/>
                  <a:pt x="59473" y="101666"/>
                </a:cubicBezTo>
                <a:cubicBezTo>
                  <a:pt x="57368" y="112916"/>
                  <a:pt x="51052" y="118750"/>
                  <a:pt x="49999" y="119583"/>
                </a:cubicBezTo>
                <a:cubicBezTo>
                  <a:pt x="82105" y="119583"/>
                  <a:pt x="82105" y="119583"/>
                  <a:pt x="82105" y="119583"/>
                </a:cubicBezTo>
                <a:cubicBezTo>
                  <a:pt x="80000" y="119583"/>
                  <a:pt x="74736" y="119583"/>
                  <a:pt x="72631" y="117916"/>
                </a:cubicBezTo>
                <a:cubicBezTo>
                  <a:pt x="69473" y="115833"/>
                  <a:pt x="71052" y="113750"/>
                  <a:pt x="70000" y="108750"/>
                </a:cubicBezTo>
                <a:cubicBezTo>
                  <a:pt x="69473" y="103333"/>
                  <a:pt x="69473" y="95833"/>
                  <a:pt x="69473" y="95833"/>
                </a:cubicBezTo>
                <a:cubicBezTo>
                  <a:pt x="69473" y="95833"/>
                  <a:pt x="88421" y="87500"/>
                  <a:pt x="91052" y="82083"/>
                </a:cubicBezTo>
                <a:cubicBezTo>
                  <a:pt x="93157" y="82500"/>
                  <a:pt x="105263" y="82083"/>
                  <a:pt x="105263" y="78750"/>
                </a:cubicBezTo>
                <a:cubicBezTo>
                  <a:pt x="107368" y="79583"/>
                  <a:pt x="114736" y="77500"/>
                  <a:pt x="114210" y="72916"/>
                </a:cubicBezTo>
                <a:cubicBezTo>
                  <a:pt x="112631" y="68750"/>
                  <a:pt x="107894" y="68333"/>
                  <a:pt x="107894" y="68333"/>
                </a:cubicBezTo>
                <a:close/>
                <a:moveTo>
                  <a:pt x="49473" y="60833"/>
                </a:moveTo>
                <a:cubicBezTo>
                  <a:pt x="56842" y="60833"/>
                  <a:pt x="56842" y="60833"/>
                  <a:pt x="56842" y="60833"/>
                </a:cubicBezTo>
                <a:cubicBezTo>
                  <a:pt x="56315" y="65000"/>
                  <a:pt x="57368" y="72500"/>
                  <a:pt x="57368" y="72500"/>
                </a:cubicBezTo>
                <a:cubicBezTo>
                  <a:pt x="51578" y="67500"/>
                  <a:pt x="49473" y="60833"/>
                  <a:pt x="49473" y="60833"/>
                </a:cubicBezTo>
                <a:close/>
                <a:moveTo>
                  <a:pt x="85263" y="85000"/>
                </a:moveTo>
                <a:cubicBezTo>
                  <a:pt x="85263" y="85000"/>
                  <a:pt x="86842" y="83333"/>
                  <a:pt x="86315" y="81666"/>
                </a:cubicBezTo>
                <a:cubicBezTo>
                  <a:pt x="86315" y="81666"/>
                  <a:pt x="88421" y="81666"/>
                  <a:pt x="88947" y="81666"/>
                </a:cubicBezTo>
                <a:cubicBezTo>
                  <a:pt x="88947" y="81666"/>
                  <a:pt x="87368" y="83750"/>
                  <a:pt x="85263" y="85000"/>
                </a:cubicBezTo>
                <a:close/>
                <a:moveTo>
                  <a:pt x="82631" y="119583"/>
                </a:moveTo>
                <a:cubicBezTo>
                  <a:pt x="82105" y="119583"/>
                  <a:pt x="82105" y="119583"/>
                  <a:pt x="82105" y="119583"/>
                </a:cubicBezTo>
                <a:cubicBezTo>
                  <a:pt x="82631" y="119583"/>
                  <a:pt x="82631" y="119583"/>
                  <a:pt x="82631" y="119583"/>
                </a:cubicBezTo>
                <a:close/>
                <a:moveTo>
                  <a:pt x="49473" y="120000"/>
                </a:moveTo>
                <a:cubicBezTo>
                  <a:pt x="49473" y="120000"/>
                  <a:pt x="49473" y="120000"/>
                  <a:pt x="49999" y="119583"/>
                </a:cubicBezTo>
                <a:cubicBezTo>
                  <a:pt x="49473" y="119583"/>
                  <a:pt x="49473" y="119583"/>
                  <a:pt x="49473" y="119583"/>
                </a:cubicBezTo>
                <a:lnTo>
                  <a:pt x="49473" y="120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121898" tIns="60941" rIns="121898" bIns="60941" anchor="t" anchorCtr="0">
            <a:noAutofit/>
          </a:bodyPr>
          <a:lstStyle/>
          <a:p>
            <a:pPr>
              <a:buClr>
                <a:srgbClr val="000000"/>
              </a:buClr>
            </a:pPr>
            <a:endParaRPr sz="1200">
              <a:solidFill>
                <a:schemeClr val="dk1"/>
              </a:solidFill>
            </a:endParaRPr>
          </a:p>
        </p:txBody>
      </p:sp>
      <p:sp>
        <p:nvSpPr>
          <p:cNvPr id="45" name="îS1iḍé">
            <a:extLst>
              <a:ext uri="{FF2B5EF4-FFF2-40B4-BE49-F238E27FC236}">
                <a16:creationId xmlns:a16="http://schemas.microsoft.com/office/drawing/2014/main" id="{D18C61B7-610B-493C-A0FE-452C07E7B7F7}"/>
              </a:ext>
            </a:extLst>
          </p:cNvPr>
          <p:cNvSpPr/>
          <p:nvPr/>
        </p:nvSpPr>
        <p:spPr>
          <a:xfrm>
            <a:off x="3445285" y="6294876"/>
            <a:ext cx="408454" cy="51850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37735" y="120000"/>
                </a:moveTo>
                <a:cubicBezTo>
                  <a:pt x="36981" y="120000"/>
                  <a:pt x="36981" y="120000"/>
                  <a:pt x="36981" y="120000"/>
                </a:cubicBezTo>
                <a:cubicBezTo>
                  <a:pt x="36981" y="120000"/>
                  <a:pt x="37735" y="120000"/>
                  <a:pt x="37735" y="120000"/>
                </a:cubicBezTo>
                <a:close/>
                <a:moveTo>
                  <a:pt x="70943" y="120000"/>
                </a:moveTo>
                <a:cubicBezTo>
                  <a:pt x="70188" y="120000"/>
                  <a:pt x="70188" y="120000"/>
                  <a:pt x="70188" y="120000"/>
                </a:cubicBezTo>
                <a:cubicBezTo>
                  <a:pt x="70188" y="120000"/>
                  <a:pt x="70943" y="120000"/>
                  <a:pt x="70943" y="120000"/>
                </a:cubicBezTo>
                <a:close/>
                <a:moveTo>
                  <a:pt x="113207" y="34455"/>
                </a:moveTo>
                <a:cubicBezTo>
                  <a:pt x="115471" y="24356"/>
                  <a:pt x="103396" y="24950"/>
                  <a:pt x="101132" y="23762"/>
                </a:cubicBezTo>
                <a:cubicBezTo>
                  <a:pt x="98867" y="19603"/>
                  <a:pt x="92075" y="18415"/>
                  <a:pt x="92075" y="18415"/>
                </a:cubicBezTo>
                <a:cubicBezTo>
                  <a:pt x="92075" y="7128"/>
                  <a:pt x="80000" y="8316"/>
                  <a:pt x="80000" y="8316"/>
                </a:cubicBezTo>
                <a:cubicBezTo>
                  <a:pt x="80000" y="8316"/>
                  <a:pt x="75471" y="0"/>
                  <a:pt x="64150" y="0"/>
                </a:cubicBezTo>
                <a:cubicBezTo>
                  <a:pt x="49811" y="594"/>
                  <a:pt x="48301" y="12475"/>
                  <a:pt x="48301" y="12475"/>
                </a:cubicBezTo>
                <a:cubicBezTo>
                  <a:pt x="40000" y="12475"/>
                  <a:pt x="38490" y="18415"/>
                  <a:pt x="38490" y="18415"/>
                </a:cubicBezTo>
                <a:cubicBezTo>
                  <a:pt x="24150" y="16039"/>
                  <a:pt x="21886" y="26732"/>
                  <a:pt x="21886" y="26732"/>
                </a:cubicBezTo>
                <a:cubicBezTo>
                  <a:pt x="16603" y="25544"/>
                  <a:pt x="0" y="33267"/>
                  <a:pt x="7547" y="43960"/>
                </a:cubicBezTo>
                <a:cubicBezTo>
                  <a:pt x="15094" y="55247"/>
                  <a:pt x="30943" y="52277"/>
                  <a:pt x="30943" y="52277"/>
                </a:cubicBezTo>
                <a:cubicBezTo>
                  <a:pt x="39245" y="65346"/>
                  <a:pt x="49056" y="57029"/>
                  <a:pt x="52075" y="58217"/>
                </a:cubicBezTo>
                <a:cubicBezTo>
                  <a:pt x="54339" y="60000"/>
                  <a:pt x="57358" y="59405"/>
                  <a:pt x="57358" y="59405"/>
                </a:cubicBezTo>
                <a:cubicBezTo>
                  <a:pt x="57358" y="59405"/>
                  <a:pt x="58113" y="68316"/>
                  <a:pt x="55849" y="75445"/>
                </a:cubicBezTo>
                <a:cubicBezTo>
                  <a:pt x="52830" y="82574"/>
                  <a:pt x="51320" y="92673"/>
                  <a:pt x="51320" y="92673"/>
                </a:cubicBezTo>
                <a:cubicBezTo>
                  <a:pt x="51320" y="92673"/>
                  <a:pt x="43773" y="90297"/>
                  <a:pt x="40000" y="87920"/>
                </a:cubicBezTo>
                <a:cubicBezTo>
                  <a:pt x="35471" y="85544"/>
                  <a:pt x="35471" y="80792"/>
                  <a:pt x="35471" y="80792"/>
                </a:cubicBezTo>
                <a:cubicBezTo>
                  <a:pt x="37735" y="80792"/>
                  <a:pt x="38490" y="78415"/>
                  <a:pt x="38490" y="78415"/>
                </a:cubicBezTo>
                <a:cubicBezTo>
                  <a:pt x="44528" y="81386"/>
                  <a:pt x="49056" y="77227"/>
                  <a:pt x="49056" y="72475"/>
                </a:cubicBezTo>
                <a:cubicBezTo>
                  <a:pt x="48301" y="67722"/>
                  <a:pt x="43018" y="67722"/>
                  <a:pt x="43018" y="67722"/>
                </a:cubicBezTo>
                <a:cubicBezTo>
                  <a:pt x="43018" y="67722"/>
                  <a:pt x="42264" y="65940"/>
                  <a:pt x="40000" y="65346"/>
                </a:cubicBezTo>
                <a:cubicBezTo>
                  <a:pt x="40754" y="61782"/>
                  <a:pt x="35471" y="61188"/>
                  <a:pt x="35471" y="61188"/>
                </a:cubicBezTo>
                <a:cubicBezTo>
                  <a:pt x="35471" y="61188"/>
                  <a:pt x="33207" y="58217"/>
                  <a:pt x="27924" y="58217"/>
                </a:cubicBezTo>
                <a:cubicBezTo>
                  <a:pt x="23396" y="57623"/>
                  <a:pt x="22641" y="62970"/>
                  <a:pt x="22641" y="62970"/>
                </a:cubicBezTo>
                <a:cubicBezTo>
                  <a:pt x="22641" y="62970"/>
                  <a:pt x="18867" y="62970"/>
                  <a:pt x="18113" y="65346"/>
                </a:cubicBezTo>
                <a:cubicBezTo>
                  <a:pt x="13584" y="64158"/>
                  <a:pt x="12075" y="68316"/>
                  <a:pt x="12075" y="68316"/>
                </a:cubicBezTo>
                <a:cubicBezTo>
                  <a:pt x="12075" y="68316"/>
                  <a:pt x="6792" y="68910"/>
                  <a:pt x="6037" y="72475"/>
                </a:cubicBezTo>
                <a:cubicBezTo>
                  <a:pt x="5283" y="77821"/>
                  <a:pt x="12830" y="79603"/>
                  <a:pt x="15094" y="78415"/>
                </a:cubicBezTo>
                <a:cubicBezTo>
                  <a:pt x="15094" y="81980"/>
                  <a:pt x="27169" y="82574"/>
                  <a:pt x="28679" y="81980"/>
                </a:cubicBezTo>
                <a:cubicBezTo>
                  <a:pt x="31698" y="87326"/>
                  <a:pt x="50566" y="96237"/>
                  <a:pt x="50566" y="96237"/>
                </a:cubicBezTo>
                <a:cubicBezTo>
                  <a:pt x="50566" y="96237"/>
                  <a:pt x="50566" y="103366"/>
                  <a:pt x="49811" y="108712"/>
                </a:cubicBezTo>
                <a:cubicBezTo>
                  <a:pt x="49056" y="113465"/>
                  <a:pt x="50566" y="115841"/>
                  <a:pt x="47547" y="117623"/>
                </a:cubicBezTo>
                <a:cubicBezTo>
                  <a:pt x="45283" y="119405"/>
                  <a:pt x="40000" y="119405"/>
                  <a:pt x="37735" y="120000"/>
                </a:cubicBezTo>
                <a:cubicBezTo>
                  <a:pt x="70188" y="120000"/>
                  <a:pt x="70188" y="120000"/>
                  <a:pt x="70188" y="120000"/>
                </a:cubicBezTo>
                <a:cubicBezTo>
                  <a:pt x="69433" y="118811"/>
                  <a:pt x="62641" y="112871"/>
                  <a:pt x="61132" y="101584"/>
                </a:cubicBezTo>
                <a:cubicBezTo>
                  <a:pt x="58867" y="89108"/>
                  <a:pt x="63396" y="79009"/>
                  <a:pt x="64905" y="77821"/>
                </a:cubicBezTo>
                <a:cubicBezTo>
                  <a:pt x="70188" y="70693"/>
                  <a:pt x="76981" y="58811"/>
                  <a:pt x="76981" y="58811"/>
                </a:cubicBezTo>
                <a:cubicBezTo>
                  <a:pt x="85283" y="57623"/>
                  <a:pt x="89811" y="51683"/>
                  <a:pt x="89811" y="51683"/>
                </a:cubicBezTo>
                <a:cubicBezTo>
                  <a:pt x="89811" y="51683"/>
                  <a:pt x="101886" y="56435"/>
                  <a:pt x="110188" y="51683"/>
                </a:cubicBezTo>
                <a:cubicBezTo>
                  <a:pt x="120000" y="43960"/>
                  <a:pt x="113207" y="34455"/>
                  <a:pt x="113207" y="34455"/>
                </a:cubicBezTo>
                <a:close/>
                <a:moveTo>
                  <a:pt x="30943" y="81386"/>
                </a:moveTo>
                <a:cubicBezTo>
                  <a:pt x="31698" y="81386"/>
                  <a:pt x="33962" y="81386"/>
                  <a:pt x="33962" y="81386"/>
                </a:cubicBezTo>
                <a:cubicBezTo>
                  <a:pt x="33207" y="83168"/>
                  <a:pt x="34716" y="84950"/>
                  <a:pt x="34716" y="84950"/>
                </a:cubicBezTo>
                <a:cubicBezTo>
                  <a:pt x="32452" y="83762"/>
                  <a:pt x="30943" y="81386"/>
                  <a:pt x="30943" y="81386"/>
                </a:cubicBezTo>
                <a:close/>
                <a:moveTo>
                  <a:pt x="62641" y="72475"/>
                </a:moveTo>
                <a:cubicBezTo>
                  <a:pt x="62641" y="72475"/>
                  <a:pt x="64150" y="64752"/>
                  <a:pt x="63396" y="60594"/>
                </a:cubicBezTo>
                <a:cubicBezTo>
                  <a:pt x="70943" y="61188"/>
                  <a:pt x="70943" y="61188"/>
                  <a:pt x="70943" y="61188"/>
                </a:cubicBezTo>
                <a:cubicBezTo>
                  <a:pt x="70943" y="61188"/>
                  <a:pt x="68679" y="67128"/>
                  <a:pt x="62641" y="72475"/>
                </a:cubicBez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lIns="121898" tIns="60941" rIns="121898" bIns="60941" anchor="t" anchorCtr="0">
            <a:noAutofit/>
          </a:bodyPr>
          <a:lstStyle/>
          <a:p>
            <a:pPr>
              <a:buClr>
                <a:srgbClr val="000000"/>
              </a:buClr>
            </a:pPr>
            <a:endParaRPr sz="1200">
              <a:solidFill>
                <a:schemeClr val="dk1"/>
              </a:solidFill>
            </a:endParaRPr>
          </a:p>
        </p:txBody>
      </p:sp>
      <p:sp>
        <p:nvSpPr>
          <p:cNvPr id="8" name="iṥľíḑé">
            <a:extLst>
              <a:ext uri="{FF2B5EF4-FFF2-40B4-BE49-F238E27FC236}">
                <a16:creationId xmlns:a16="http://schemas.microsoft.com/office/drawing/2014/main" id="{69FDB2F1-B920-4C31-8D65-6B080240BB11}"/>
              </a:ext>
            </a:extLst>
          </p:cNvPr>
          <p:cNvSpPr/>
          <p:nvPr/>
        </p:nvSpPr>
        <p:spPr>
          <a:xfrm>
            <a:off x="943166" y="4465517"/>
            <a:ext cx="1908937" cy="2410511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38225" y="119744"/>
                </a:moveTo>
                <a:cubicBezTo>
                  <a:pt x="37258" y="119744"/>
                  <a:pt x="37258" y="119744"/>
                  <a:pt x="37258" y="119744"/>
                </a:cubicBezTo>
                <a:cubicBezTo>
                  <a:pt x="37258" y="119744"/>
                  <a:pt x="37580" y="119872"/>
                  <a:pt x="38225" y="119744"/>
                </a:cubicBezTo>
                <a:close/>
                <a:moveTo>
                  <a:pt x="70483" y="119744"/>
                </a:moveTo>
                <a:cubicBezTo>
                  <a:pt x="70322" y="119744"/>
                  <a:pt x="70322" y="119744"/>
                  <a:pt x="70322" y="119744"/>
                </a:cubicBezTo>
                <a:cubicBezTo>
                  <a:pt x="70483" y="119872"/>
                  <a:pt x="70483" y="120000"/>
                  <a:pt x="70483" y="120000"/>
                </a:cubicBezTo>
                <a:lnTo>
                  <a:pt x="70483" y="119744"/>
                </a:lnTo>
                <a:close/>
                <a:moveTo>
                  <a:pt x="112741" y="34340"/>
                </a:moveTo>
                <a:cubicBezTo>
                  <a:pt x="115000" y="24127"/>
                  <a:pt x="103548" y="25021"/>
                  <a:pt x="101129" y="23744"/>
                </a:cubicBezTo>
                <a:cubicBezTo>
                  <a:pt x="98709" y="19659"/>
                  <a:pt x="91774" y="18510"/>
                  <a:pt x="91774" y="18510"/>
                </a:cubicBezTo>
                <a:cubicBezTo>
                  <a:pt x="91612" y="7021"/>
                  <a:pt x="80322" y="8170"/>
                  <a:pt x="80322" y="8170"/>
                </a:cubicBezTo>
                <a:cubicBezTo>
                  <a:pt x="80322" y="8170"/>
                  <a:pt x="75645" y="0"/>
                  <a:pt x="64193" y="127"/>
                </a:cubicBezTo>
                <a:cubicBezTo>
                  <a:pt x="49838" y="765"/>
                  <a:pt x="48064" y="12765"/>
                  <a:pt x="48064" y="12765"/>
                </a:cubicBezTo>
                <a:cubicBezTo>
                  <a:pt x="40161" y="12382"/>
                  <a:pt x="38870" y="18638"/>
                  <a:pt x="38870" y="18638"/>
                </a:cubicBezTo>
                <a:cubicBezTo>
                  <a:pt x="24032" y="16340"/>
                  <a:pt x="22096" y="26808"/>
                  <a:pt x="22096" y="26808"/>
                </a:cubicBezTo>
                <a:cubicBezTo>
                  <a:pt x="16612" y="25659"/>
                  <a:pt x="0" y="33063"/>
                  <a:pt x="7580" y="44297"/>
                </a:cubicBezTo>
                <a:cubicBezTo>
                  <a:pt x="15161" y="55531"/>
                  <a:pt x="30967" y="52085"/>
                  <a:pt x="30967" y="52085"/>
                </a:cubicBezTo>
                <a:cubicBezTo>
                  <a:pt x="39193" y="65234"/>
                  <a:pt x="49516" y="57063"/>
                  <a:pt x="51935" y="58468"/>
                </a:cubicBezTo>
                <a:cubicBezTo>
                  <a:pt x="54354" y="59872"/>
                  <a:pt x="57580" y="59744"/>
                  <a:pt x="57580" y="59744"/>
                </a:cubicBezTo>
                <a:cubicBezTo>
                  <a:pt x="57580" y="59744"/>
                  <a:pt x="58387" y="68425"/>
                  <a:pt x="55806" y="75446"/>
                </a:cubicBezTo>
                <a:cubicBezTo>
                  <a:pt x="53225" y="82468"/>
                  <a:pt x="51451" y="92808"/>
                  <a:pt x="51451" y="92808"/>
                </a:cubicBezTo>
                <a:cubicBezTo>
                  <a:pt x="51451" y="92808"/>
                  <a:pt x="43870" y="90510"/>
                  <a:pt x="39838" y="88085"/>
                </a:cubicBezTo>
                <a:cubicBezTo>
                  <a:pt x="35806" y="85659"/>
                  <a:pt x="35806" y="80936"/>
                  <a:pt x="35806" y="80936"/>
                </a:cubicBezTo>
                <a:cubicBezTo>
                  <a:pt x="37580" y="80808"/>
                  <a:pt x="38870" y="78382"/>
                  <a:pt x="38870" y="78382"/>
                </a:cubicBezTo>
                <a:cubicBezTo>
                  <a:pt x="44516" y="81446"/>
                  <a:pt x="49193" y="77234"/>
                  <a:pt x="49032" y="72510"/>
                </a:cubicBezTo>
                <a:cubicBezTo>
                  <a:pt x="48709" y="67659"/>
                  <a:pt x="43225" y="67787"/>
                  <a:pt x="43225" y="67787"/>
                </a:cubicBezTo>
                <a:cubicBezTo>
                  <a:pt x="43225" y="67787"/>
                  <a:pt x="42741" y="65872"/>
                  <a:pt x="40000" y="65361"/>
                </a:cubicBezTo>
                <a:cubicBezTo>
                  <a:pt x="40645" y="61659"/>
                  <a:pt x="35645" y="61404"/>
                  <a:pt x="35645" y="61404"/>
                </a:cubicBezTo>
                <a:cubicBezTo>
                  <a:pt x="35645" y="61404"/>
                  <a:pt x="33387" y="58468"/>
                  <a:pt x="28387" y="58085"/>
                </a:cubicBezTo>
                <a:cubicBezTo>
                  <a:pt x="23225" y="57702"/>
                  <a:pt x="23064" y="63319"/>
                  <a:pt x="23064" y="63319"/>
                </a:cubicBezTo>
                <a:cubicBezTo>
                  <a:pt x="23064" y="63319"/>
                  <a:pt x="18870" y="63063"/>
                  <a:pt x="18548" y="65617"/>
                </a:cubicBezTo>
                <a:cubicBezTo>
                  <a:pt x="14032" y="64085"/>
                  <a:pt x="12258" y="68425"/>
                  <a:pt x="12258" y="68425"/>
                </a:cubicBezTo>
                <a:cubicBezTo>
                  <a:pt x="12258" y="68425"/>
                  <a:pt x="7258" y="68808"/>
                  <a:pt x="6129" y="72765"/>
                </a:cubicBezTo>
                <a:cubicBezTo>
                  <a:pt x="5322" y="77617"/>
                  <a:pt x="12903" y="79531"/>
                  <a:pt x="15000" y="78638"/>
                </a:cubicBezTo>
                <a:cubicBezTo>
                  <a:pt x="15000" y="81957"/>
                  <a:pt x="27258" y="82595"/>
                  <a:pt x="29193" y="82085"/>
                </a:cubicBezTo>
                <a:cubicBezTo>
                  <a:pt x="31935" y="87446"/>
                  <a:pt x="50483" y="96000"/>
                  <a:pt x="50483" y="96000"/>
                </a:cubicBezTo>
                <a:cubicBezTo>
                  <a:pt x="50483" y="96000"/>
                  <a:pt x="50806" y="103531"/>
                  <a:pt x="50000" y="108638"/>
                </a:cubicBezTo>
                <a:cubicBezTo>
                  <a:pt x="49193" y="113617"/>
                  <a:pt x="50483" y="115914"/>
                  <a:pt x="47741" y="117957"/>
                </a:cubicBezTo>
                <a:cubicBezTo>
                  <a:pt x="45483" y="119489"/>
                  <a:pt x="40322" y="119744"/>
                  <a:pt x="38225" y="119744"/>
                </a:cubicBezTo>
                <a:cubicBezTo>
                  <a:pt x="70322" y="119744"/>
                  <a:pt x="70322" y="119744"/>
                  <a:pt x="70322" y="119744"/>
                </a:cubicBezTo>
                <a:cubicBezTo>
                  <a:pt x="69193" y="118723"/>
                  <a:pt x="62903" y="112723"/>
                  <a:pt x="60806" y="101489"/>
                </a:cubicBezTo>
                <a:cubicBezTo>
                  <a:pt x="58709" y="89106"/>
                  <a:pt x="63709" y="79276"/>
                  <a:pt x="65161" y="77872"/>
                </a:cubicBezTo>
                <a:cubicBezTo>
                  <a:pt x="70483" y="70851"/>
                  <a:pt x="76935" y="59106"/>
                  <a:pt x="76935" y="59106"/>
                </a:cubicBezTo>
                <a:cubicBezTo>
                  <a:pt x="85161" y="57702"/>
                  <a:pt x="89838" y="51702"/>
                  <a:pt x="89838" y="51702"/>
                </a:cubicBezTo>
                <a:cubicBezTo>
                  <a:pt x="89838" y="51702"/>
                  <a:pt x="101451" y="56425"/>
                  <a:pt x="109677" y="51574"/>
                </a:cubicBezTo>
                <a:cubicBezTo>
                  <a:pt x="120000" y="44297"/>
                  <a:pt x="112741" y="34340"/>
                  <a:pt x="112741" y="34340"/>
                </a:cubicBezTo>
                <a:close/>
                <a:moveTo>
                  <a:pt x="30967" y="81702"/>
                </a:moveTo>
                <a:cubicBezTo>
                  <a:pt x="31935" y="81702"/>
                  <a:pt x="33870" y="81574"/>
                  <a:pt x="33870" y="81574"/>
                </a:cubicBezTo>
                <a:cubicBezTo>
                  <a:pt x="33548" y="83234"/>
                  <a:pt x="34838" y="85148"/>
                  <a:pt x="34838" y="85148"/>
                </a:cubicBezTo>
                <a:cubicBezTo>
                  <a:pt x="32903" y="83744"/>
                  <a:pt x="30967" y="81702"/>
                  <a:pt x="30967" y="81702"/>
                </a:cubicBezTo>
                <a:close/>
                <a:moveTo>
                  <a:pt x="62903" y="72510"/>
                </a:moveTo>
                <a:cubicBezTo>
                  <a:pt x="62903" y="72510"/>
                  <a:pt x="63870" y="65106"/>
                  <a:pt x="63387" y="60893"/>
                </a:cubicBezTo>
                <a:cubicBezTo>
                  <a:pt x="70806" y="61021"/>
                  <a:pt x="70806" y="61021"/>
                  <a:pt x="70806" y="61021"/>
                </a:cubicBezTo>
                <a:cubicBezTo>
                  <a:pt x="70806" y="61021"/>
                  <a:pt x="68709" y="67404"/>
                  <a:pt x="62903" y="7251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121898" tIns="60941" rIns="121898" bIns="60941" anchor="t" anchorCtr="0">
            <a:noAutofit/>
          </a:bodyPr>
          <a:lstStyle/>
          <a:p>
            <a:pPr>
              <a:buClr>
                <a:srgbClr val="000000"/>
              </a:buClr>
            </a:pPr>
            <a:endParaRPr sz="1200">
              <a:solidFill>
                <a:schemeClr val="dk1"/>
              </a:solidFill>
            </a:endParaRPr>
          </a:p>
        </p:txBody>
      </p:sp>
      <p:sp>
        <p:nvSpPr>
          <p:cNvPr id="9" name="îṩľíḋè">
            <a:extLst>
              <a:ext uri="{FF2B5EF4-FFF2-40B4-BE49-F238E27FC236}">
                <a16:creationId xmlns:a16="http://schemas.microsoft.com/office/drawing/2014/main" id="{A8B9E829-05D8-4E0E-95ED-E0CB0C260E9C}"/>
              </a:ext>
            </a:extLst>
          </p:cNvPr>
          <p:cNvSpPr/>
          <p:nvPr/>
        </p:nvSpPr>
        <p:spPr>
          <a:xfrm>
            <a:off x="3693632" y="3565844"/>
            <a:ext cx="2624262" cy="3318422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82815" y="119814"/>
                </a:moveTo>
                <a:cubicBezTo>
                  <a:pt x="81876" y="119814"/>
                  <a:pt x="81876" y="119814"/>
                  <a:pt x="81876" y="119814"/>
                </a:cubicBezTo>
                <a:cubicBezTo>
                  <a:pt x="82463" y="119814"/>
                  <a:pt x="82815" y="119814"/>
                  <a:pt x="82815" y="119814"/>
                </a:cubicBezTo>
                <a:close/>
                <a:moveTo>
                  <a:pt x="49501" y="120000"/>
                </a:moveTo>
                <a:cubicBezTo>
                  <a:pt x="49501" y="120000"/>
                  <a:pt x="49501" y="119907"/>
                  <a:pt x="49618" y="119814"/>
                </a:cubicBezTo>
                <a:cubicBezTo>
                  <a:pt x="49501" y="119814"/>
                  <a:pt x="49501" y="119814"/>
                  <a:pt x="49501" y="119814"/>
                </a:cubicBezTo>
                <a:lnTo>
                  <a:pt x="49501" y="120000"/>
                </a:lnTo>
                <a:close/>
                <a:moveTo>
                  <a:pt x="107800" y="68438"/>
                </a:moveTo>
                <a:cubicBezTo>
                  <a:pt x="107800" y="68438"/>
                  <a:pt x="106041" y="64080"/>
                  <a:pt x="101583" y="65564"/>
                </a:cubicBezTo>
                <a:cubicBezTo>
                  <a:pt x="101231" y="63060"/>
                  <a:pt x="97126" y="63338"/>
                  <a:pt x="97126" y="63338"/>
                </a:cubicBezTo>
                <a:cubicBezTo>
                  <a:pt x="97126" y="63338"/>
                  <a:pt x="96774" y="57774"/>
                  <a:pt x="91730" y="58145"/>
                </a:cubicBezTo>
                <a:cubicBezTo>
                  <a:pt x="86686" y="58516"/>
                  <a:pt x="84340" y="61391"/>
                  <a:pt x="84340" y="61391"/>
                </a:cubicBezTo>
                <a:cubicBezTo>
                  <a:pt x="84340" y="61391"/>
                  <a:pt x="79413" y="61669"/>
                  <a:pt x="80000" y="65471"/>
                </a:cubicBezTo>
                <a:cubicBezTo>
                  <a:pt x="77419" y="65842"/>
                  <a:pt x="76832" y="67789"/>
                  <a:pt x="76832" y="67789"/>
                </a:cubicBezTo>
                <a:cubicBezTo>
                  <a:pt x="76832" y="67789"/>
                  <a:pt x="71319" y="67697"/>
                  <a:pt x="71085" y="72519"/>
                </a:cubicBezTo>
                <a:cubicBezTo>
                  <a:pt x="70850" y="77248"/>
                  <a:pt x="75659" y="81421"/>
                  <a:pt x="81173" y="78361"/>
                </a:cubicBezTo>
                <a:cubicBezTo>
                  <a:pt x="81173" y="78361"/>
                  <a:pt x="82463" y="80772"/>
                  <a:pt x="84222" y="80958"/>
                </a:cubicBezTo>
                <a:cubicBezTo>
                  <a:pt x="84222" y="80958"/>
                  <a:pt x="84340" y="85687"/>
                  <a:pt x="80234" y="88098"/>
                </a:cubicBezTo>
                <a:cubicBezTo>
                  <a:pt x="76246" y="90510"/>
                  <a:pt x="68621" y="92828"/>
                  <a:pt x="68621" y="92828"/>
                </a:cubicBezTo>
                <a:cubicBezTo>
                  <a:pt x="68621" y="92828"/>
                  <a:pt x="66862" y="82534"/>
                  <a:pt x="64164" y="75486"/>
                </a:cubicBezTo>
                <a:cubicBezTo>
                  <a:pt x="61583" y="68438"/>
                  <a:pt x="62404" y="59721"/>
                  <a:pt x="62404" y="59721"/>
                </a:cubicBezTo>
                <a:cubicBezTo>
                  <a:pt x="62404" y="59721"/>
                  <a:pt x="65571" y="59907"/>
                  <a:pt x="68152" y="58516"/>
                </a:cubicBezTo>
                <a:cubicBezTo>
                  <a:pt x="70615" y="57032"/>
                  <a:pt x="80821" y="65285"/>
                  <a:pt x="89149" y="52117"/>
                </a:cubicBezTo>
                <a:cubicBezTo>
                  <a:pt x="89149" y="52117"/>
                  <a:pt x="104868" y="55548"/>
                  <a:pt x="112492" y="44327"/>
                </a:cubicBezTo>
                <a:cubicBezTo>
                  <a:pt x="120000" y="33106"/>
                  <a:pt x="103460" y="25687"/>
                  <a:pt x="97947" y="26893"/>
                </a:cubicBezTo>
                <a:cubicBezTo>
                  <a:pt x="97947" y="26893"/>
                  <a:pt x="96070" y="16321"/>
                  <a:pt x="81173" y="18639"/>
                </a:cubicBezTo>
                <a:cubicBezTo>
                  <a:pt x="81173" y="18639"/>
                  <a:pt x="79882" y="12426"/>
                  <a:pt x="72023" y="12797"/>
                </a:cubicBezTo>
                <a:cubicBezTo>
                  <a:pt x="72023" y="12797"/>
                  <a:pt x="70146" y="741"/>
                  <a:pt x="55718" y="185"/>
                </a:cubicBezTo>
                <a:cubicBezTo>
                  <a:pt x="44340" y="0"/>
                  <a:pt x="39765" y="8253"/>
                  <a:pt x="39765" y="8253"/>
                </a:cubicBezTo>
                <a:cubicBezTo>
                  <a:pt x="39765" y="8253"/>
                  <a:pt x="28387" y="7047"/>
                  <a:pt x="28269" y="18547"/>
                </a:cubicBezTo>
                <a:cubicBezTo>
                  <a:pt x="28269" y="18547"/>
                  <a:pt x="21348" y="19752"/>
                  <a:pt x="18885" y="23740"/>
                </a:cubicBezTo>
                <a:cubicBezTo>
                  <a:pt x="16539" y="25038"/>
                  <a:pt x="5043" y="24204"/>
                  <a:pt x="7155" y="34312"/>
                </a:cubicBezTo>
                <a:cubicBezTo>
                  <a:pt x="7155" y="34312"/>
                  <a:pt x="0" y="44327"/>
                  <a:pt x="10322" y="51561"/>
                </a:cubicBezTo>
                <a:cubicBezTo>
                  <a:pt x="18533" y="56383"/>
                  <a:pt x="30146" y="51746"/>
                  <a:pt x="30146" y="51746"/>
                </a:cubicBezTo>
                <a:cubicBezTo>
                  <a:pt x="30146" y="51746"/>
                  <a:pt x="34838" y="57681"/>
                  <a:pt x="43167" y="59165"/>
                </a:cubicBezTo>
                <a:cubicBezTo>
                  <a:pt x="43167" y="59165"/>
                  <a:pt x="49501" y="70942"/>
                  <a:pt x="54897" y="77897"/>
                </a:cubicBezTo>
                <a:cubicBezTo>
                  <a:pt x="56304" y="79289"/>
                  <a:pt x="61348" y="89119"/>
                  <a:pt x="59237" y="101545"/>
                </a:cubicBezTo>
                <a:cubicBezTo>
                  <a:pt x="57126" y="112766"/>
                  <a:pt x="50791" y="118794"/>
                  <a:pt x="49618" y="119814"/>
                </a:cubicBezTo>
                <a:cubicBezTo>
                  <a:pt x="81876" y="119814"/>
                  <a:pt x="81876" y="119814"/>
                  <a:pt x="81876" y="119814"/>
                </a:cubicBezTo>
                <a:cubicBezTo>
                  <a:pt x="79765" y="119814"/>
                  <a:pt x="74486" y="119536"/>
                  <a:pt x="72375" y="117959"/>
                </a:cubicBezTo>
                <a:cubicBezTo>
                  <a:pt x="69560" y="115919"/>
                  <a:pt x="70850" y="113693"/>
                  <a:pt x="70029" y="108593"/>
                </a:cubicBezTo>
                <a:cubicBezTo>
                  <a:pt x="69325" y="103585"/>
                  <a:pt x="69560" y="96074"/>
                  <a:pt x="69560" y="96074"/>
                </a:cubicBezTo>
                <a:cubicBezTo>
                  <a:pt x="69560" y="96074"/>
                  <a:pt x="88211" y="87449"/>
                  <a:pt x="90791" y="82071"/>
                </a:cubicBezTo>
                <a:cubicBezTo>
                  <a:pt x="92785" y="82627"/>
                  <a:pt x="105102" y="81978"/>
                  <a:pt x="104985" y="78732"/>
                </a:cubicBezTo>
                <a:cubicBezTo>
                  <a:pt x="107214" y="79567"/>
                  <a:pt x="114838" y="77712"/>
                  <a:pt x="113900" y="72797"/>
                </a:cubicBezTo>
                <a:cubicBezTo>
                  <a:pt x="112844" y="68809"/>
                  <a:pt x="107800" y="68438"/>
                  <a:pt x="107800" y="68438"/>
                </a:cubicBezTo>
                <a:close/>
                <a:moveTo>
                  <a:pt x="49149" y="61020"/>
                </a:moveTo>
                <a:cubicBezTo>
                  <a:pt x="56656" y="60927"/>
                  <a:pt x="56656" y="60927"/>
                  <a:pt x="56656" y="60927"/>
                </a:cubicBezTo>
                <a:cubicBezTo>
                  <a:pt x="56070" y="65100"/>
                  <a:pt x="57126" y="72519"/>
                  <a:pt x="57126" y="72519"/>
                </a:cubicBezTo>
                <a:cubicBezTo>
                  <a:pt x="51378" y="67418"/>
                  <a:pt x="49149" y="61020"/>
                  <a:pt x="49149" y="61020"/>
                </a:cubicBezTo>
                <a:close/>
                <a:moveTo>
                  <a:pt x="85278" y="85131"/>
                </a:moveTo>
                <a:cubicBezTo>
                  <a:pt x="85278" y="85131"/>
                  <a:pt x="86568" y="83276"/>
                  <a:pt x="86217" y="81607"/>
                </a:cubicBezTo>
                <a:cubicBezTo>
                  <a:pt x="86217" y="81607"/>
                  <a:pt x="88093" y="81700"/>
                  <a:pt x="89032" y="81792"/>
                </a:cubicBezTo>
                <a:cubicBezTo>
                  <a:pt x="89032" y="81792"/>
                  <a:pt x="87272" y="83740"/>
                  <a:pt x="85278" y="85131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lIns="121898" tIns="60941" rIns="121898" bIns="60941" anchor="t" anchorCtr="0">
            <a:noAutofit/>
          </a:bodyPr>
          <a:lstStyle/>
          <a:p>
            <a:pPr>
              <a:buClr>
                <a:srgbClr val="000000"/>
              </a:buClr>
            </a:pPr>
            <a:endParaRPr sz="1200">
              <a:solidFill>
                <a:schemeClr val="dk1"/>
              </a:solidFill>
            </a:endParaRPr>
          </a:p>
        </p:txBody>
      </p:sp>
      <p:sp>
        <p:nvSpPr>
          <p:cNvPr id="10" name="ïsḻíḓé">
            <a:extLst>
              <a:ext uri="{FF2B5EF4-FFF2-40B4-BE49-F238E27FC236}">
                <a16:creationId xmlns:a16="http://schemas.microsoft.com/office/drawing/2014/main" id="{72A8D3C7-B999-4E9F-80A4-C2D67ECE0A57}"/>
              </a:ext>
            </a:extLst>
          </p:cNvPr>
          <p:cNvSpPr/>
          <p:nvPr/>
        </p:nvSpPr>
        <p:spPr>
          <a:xfrm>
            <a:off x="6968697" y="4431744"/>
            <a:ext cx="1921636" cy="242625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38199" y="119847"/>
                </a:moveTo>
                <a:cubicBezTo>
                  <a:pt x="37234" y="119847"/>
                  <a:pt x="37234" y="119847"/>
                  <a:pt x="37234" y="119847"/>
                </a:cubicBezTo>
                <a:cubicBezTo>
                  <a:pt x="37234" y="119847"/>
                  <a:pt x="37620" y="119847"/>
                  <a:pt x="38199" y="119847"/>
                </a:cubicBezTo>
                <a:close/>
                <a:moveTo>
                  <a:pt x="70418" y="119847"/>
                </a:moveTo>
                <a:cubicBezTo>
                  <a:pt x="70225" y="119847"/>
                  <a:pt x="70225" y="119847"/>
                  <a:pt x="70225" y="119847"/>
                </a:cubicBezTo>
                <a:cubicBezTo>
                  <a:pt x="70418" y="119847"/>
                  <a:pt x="70418" y="120000"/>
                  <a:pt x="70418" y="120000"/>
                </a:cubicBezTo>
                <a:lnTo>
                  <a:pt x="70418" y="119847"/>
                </a:lnTo>
                <a:close/>
                <a:moveTo>
                  <a:pt x="112668" y="34351"/>
                </a:moveTo>
                <a:cubicBezTo>
                  <a:pt x="114790" y="24274"/>
                  <a:pt x="103408" y="25038"/>
                  <a:pt x="100900" y="23816"/>
                </a:cubicBezTo>
                <a:cubicBezTo>
                  <a:pt x="98585" y="19694"/>
                  <a:pt x="91639" y="18625"/>
                  <a:pt x="91639" y="18625"/>
                </a:cubicBezTo>
                <a:cubicBezTo>
                  <a:pt x="91639" y="7022"/>
                  <a:pt x="80257" y="8244"/>
                  <a:pt x="80257" y="8244"/>
                </a:cubicBezTo>
                <a:cubicBezTo>
                  <a:pt x="80257" y="8244"/>
                  <a:pt x="75627" y="0"/>
                  <a:pt x="64244" y="152"/>
                </a:cubicBezTo>
                <a:cubicBezTo>
                  <a:pt x="49774" y="763"/>
                  <a:pt x="48038" y="12824"/>
                  <a:pt x="48038" y="12824"/>
                </a:cubicBezTo>
                <a:cubicBezTo>
                  <a:pt x="40128" y="12519"/>
                  <a:pt x="38778" y="18625"/>
                  <a:pt x="38778" y="18625"/>
                </a:cubicBezTo>
                <a:cubicBezTo>
                  <a:pt x="23922" y="16335"/>
                  <a:pt x="22186" y="26870"/>
                  <a:pt x="22186" y="26870"/>
                </a:cubicBezTo>
                <a:cubicBezTo>
                  <a:pt x="16591" y="25648"/>
                  <a:pt x="0" y="33129"/>
                  <a:pt x="7524" y="44274"/>
                </a:cubicBezTo>
                <a:cubicBezTo>
                  <a:pt x="15241" y="55572"/>
                  <a:pt x="30868" y="52213"/>
                  <a:pt x="30868" y="52213"/>
                </a:cubicBezTo>
                <a:cubicBezTo>
                  <a:pt x="39163" y="65190"/>
                  <a:pt x="49389" y="57099"/>
                  <a:pt x="51897" y="58473"/>
                </a:cubicBezTo>
                <a:cubicBezTo>
                  <a:pt x="54405" y="60000"/>
                  <a:pt x="57491" y="59694"/>
                  <a:pt x="57491" y="59694"/>
                </a:cubicBezTo>
                <a:cubicBezTo>
                  <a:pt x="57491" y="59694"/>
                  <a:pt x="58456" y="68396"/>
                  <a:pt x="55755" y="75419"/>
                </a:cubicBezTo>
                <a:cubicBezTo>
                  <a:pt x="53247" y="82442"/>
                  <a:pt x="51318" y="92824"/>
                  <a:pt x="51318" y="92824"/>
                </a:cubicBezTo>
                <a:cubicBezTo>
                  <a:pt x="51318" y="92824"/>
                  <a:pt x="43794" y="90534"/>
                  <a:pt x="39742" y="88091"/>
                </a:cubicBezTo>
                <a:cubicBezTo>
                  <a:pt x="35691" y="85648"/>
                  <a:pt x="35884" y="81068"/>
                  <a:pt x="35884" y="81068"/>
                </a:cubicBezTo>
                <a:cubicBezTo>
                  <a:pt x="37620" y="80763"/>
                  <a:pt x="38778" y="78320"/>
                  <a:pt x="38778" y="78320"/>
                </a:cubicBezTo>
                <a:cubicBezTo>
                  <a:pt x="44372" y="81374"/>
                  <a:pt x="49196" y="77251"/>
                  <a:pt x="49003" y="72519"/>
                </a:cubicBezTo>
                <a:cubicBezTo>
                  <a:pt x="48617" y="67786"/>
                  <a:pt x="43022" y="67786"/>
                  <a:pt x="43022" y="67786"/>
                </a:cubicBezTo>
                <a:cubicBezTo>
                  <a:pt x="43022" y="67786"/>
                  <a:pt x="42636" y="65954"/>
                  <a:pt x="39935" y="65496"/>
                </a:cubicBezTo>
                <a:cubicBezTo>
                  <a:pt x="40514" y="61679"/>
                  <a:pt x="35691" y="61374"/>
                  <a:pt x="35691" y="61374"/>
                </a:cubicBezTo>
                <a:cubicBezTo>
                  <a:pt x="35691" y="61374"/>
                  <a:pt x="33183" y="58473"/>
                  <a:pt x="28167" y="58167"/>
                </a:cubicBezTo>
                <a:cubicBezTo>
                  <a:pt x="23151" y="57709"/>
                  <a:pt x="22958" y="63358"/>
                  <a:pt x="22958" y="63358"/>
                </a:cubicBezTo>
                <a:cubicBezTo>
                  <a:pt x="22958" y="63358"/>
                  <a:pt x="18906" y="63053"/>
                  <a:pt x="18327" y="65648"/>
                </a:cubicBezTo>
                <a:cubicBezTo>
                  <a:pt x="13890" y="64122"/>
                  <a:pt x="12347" y="68396"/>
                  <a:pt x="12347" y="68396"/>
                </a:cubicBezTo>
                <a:cubicBezTo>
                  <a:pt x="12347" y="68396"/>
                  <a:pt x="7331" y="68854"/>
                  <a:pt x="6173" y="72824"/>
                </a:cubicBezTo>
                <a:cubicBezTo>
                  <a:pt x="5209" y="77709"/>
                  <a:pt x="12733" y="79541"/>
                  <a:pt x="15048" y="78778"/>
                </a:cubicBezTo>
                <a:cubicBezTo>
                  <a:pt x="14855" y="81984"/>
                  <a:pt x="27202" y="82595"/>
                  <a:pt x="29131" y="82137"/>
                </a:cubicBezTo>
                <a:cubicBezTo>
                  <a:pt x="31832" y="87480"/>
                  <a:pt x="50546" y="96030"/>
                  <a:pt x="50546" y="96030"/>
                </a:cubicBezTo>
                <a:cubicBezTo>
                  <a:pt x="50546" y="96030"/>
                  <a:pt x="50739" y="103511"/>
                  <a:pt x="49967" y="108549"/>
                </a:cubicBezTo>
                <a:cubicBezTo>
                  <a:pt x="49196" y="113587"/>
                  <a:pt x="50353" y="115877"/>
                  <a:pt x="47652" y="118015"/>
                </a:cubicBezTo>
                <a:cubicBezTo>
                  <a:pt x="45530" y="119541"/>
                  <a:pt x="40321" y="119847"/>
                  <a:pt x="38199" y="119847"/>
                </a:cubicBezTo>
                <a:cubicBezTo>
                  <a:pt x="70225" y="119847"/>
                  <a:pt x="70225" y="119847"/>
                  <a:pt x="70225" y="119847"/>
                </a:cubicBezTo>
                <a:cubicBezTo>
                  <a:pt x="69067" y="118778"/>
                  <a:pt x="62893" y="112824"/>
                  <a:pt x="60771" y="101526"/>
                </a:cubicBezTo>
                <a:cubicBezTo>
                  <a:pt x="58649" y="89160"/>
                  <a:pt x="63665" y="79389"/>
                  <a:pt x="65016" y="77862"/>
                </a:cubicBezTo>
                <a:cubicBezTo>
                  <a:pt x="70418" y="70992"/>
                  <a:pt x="76784" y="59236"/>
                  <a:pt x="76784" y="59236"/>
                </a:cubicBezTo>
                <a:cubicBezTo>
                  <a:pt x="85080" y="57709"/>
                  <a:pt x="89710" y="51755"/>
                  <a:pt x="89710" y="51755"/>
                </a:cubicBezTo>
                <a:cubicBezTo>
                  <a:pt x="89710" y="51755"/>
                  <a:pt x="101286" y="56488"/>
                  <a:pt x="109581" y="51603"/>
                </a:cubicBezTo>
                <a:cubicBezTo>
                  <a:pt x="120000" y="44274"/>
                  <a:pt x="112668" y="34351"/>
                  <a:pt x="112668" y="34351"/>
                </a:cubicBezTo>
                <a:close/>
                <a:moveTo>
                  <a:pt x="31061" y="81832"/>
                </a:moveTo>
                <a:cubicBezTo>
                  <a:pt x="32025" y="81679"/>
                  <a:pt x="33762" y="81526"/>
                  <a:pt x="33762" y="81526"/>
                </a:cubicBezTo>
                <a:cubicBezTo>
                  <a:pt x="33376" y="83206"/>
                  <a:pt x="34726" y="85190"/>
                  <a:pt x="34726" y="85190"/>
                </a:cubicBezTo>
                <a:cubicBezTo>
                  <a:pt x="32797" y="83664"/>
                  <a:pt x="31061" y="81832"/>
                  <a:pt x="31061" y="81832"/>
                </a:cubicBezTo>
                <a:close/>
                <a:moveTo>
                  <a:pt x="62893" y="72519"/>
                </a:moveTo>
                <a:cubicBezTo>
                  <a:pt x="62893" y="72519"/>
                  <a:pt x="63858" y="65038"/>
                  <a:pt x="63279" y="60916"/>
                </a:cubicBezTo>
                <a:cubicBezTo>
                  <a:pt x="70803" y="61068"/>
                  <a:pt x="70803" y="61068"/>
                  <a:pt x="70803" y="61068"/>
                </a:cubicBezTo>
                <a:cubicBezTo>
                  <a:pt x="70803" y="61068"/>
                  <a:pt x="68488" y="67480"/>
                  <a:pt x="62893" y="72519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lIns="121898" tIns="60941" rIns="121898" bIns="60941" anchor="t" anchorCtr="0">
            <a:noAutofit/>
          </a:bodyPr>
          <a:lstStyle/>
          <a:p>
            <a:pPr>
              <a:buClr>
                <a:srgbClr val="000000"/>
              </a:buClr>
            </a:pPr>
            <a:endParaRPr sz="1200">
              <a:solidFill>
                <a:schemeClr val="dk1"/>
              </a:solidFill>
            </a:endParaRPr>
          </a:p>
        </p:txBody>
      </p:sp>
      <p:sp>
        <p:nvSpPr>
          <p:cNvPr id="11" name="íš1ïḋê">
            <a:extLst>
              <a:ext uri="{FF2B5EF4-FFF2-40B4-BE49-F238E27FC236}">
                <a16:creationId xmlns:a16="http://schemas.microsoft.com/office/drawing/2014/main" id="{FAEE81CA-B5BA-44F7-BE0D-0D957B71402F}"/>
              </a:ext>
            </a:extLst>
          </p:cNvPr>
          <p:cNvSpPr/>
          <p:nvPr/>
        </p:nvSpPr>
        <p:spPr>
          <a:xfrm>
            <a:off x="9085744" y="3979651"/>
            <a:ext cx="2298345" cy="2905733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49553" y="120000"/>
                </a:moveTo>
                <a:cubicBezTo>
                  <a:pt x="49553" y="120000"/>
                  <a:pt x="49553" y="119894"/>
                  <a:pt x="49687" y="119788"/>
                </a:cubicBezTo>
                <a:cubicBezTo>
                  <a:pt x="49553" y="119788"/>
                  <a:pt x="49553" y="119788"/>
                  <a:pt x="49553" y="119788"/>
                </a:cubicBezTo>
                <a:lnTo>
                  <a:pt x="49553" y="120000"/>
                </a:lnTo>
                <a:close/>
                <a:moveTo>
                  <a:pt x="82767" y="119788"/>
                </a:moveTo>
                <a:cubicBezTo>
                  <a:pt x="81830" y="119788"/>
                  <a:pt x="81830" y="119788"/>
                  <a:pt x="81830" y="119788"/>
                </a:cubicBezTo>
                <a:cubicBezTo>
                  <a:pt x="82499" y="119788"/>
                  <a:pt x="82767" y="119788"/>
                  <a:pt x="82767" y="119788"/>
                </a:cubicBezTo>
                <a:close/>
                <a:moveTo>
                  <a:pt x="107812" y="68420"/>
                </a:moveTo>
                <a:cubicBezTo>
                  <a:pt x="107812" y="68420"/>
                  <a:pt x="106071" y="64077"/>
                  <a:pt x="101651" y="65560"/>
                </a:cubicBezTo>
                <a:cubicBezTo>
                  <a:pt x="101249" y="63018"/>
                  <a:pt x="97098" y="63336"/>
                  <a:pt x="97098" y="63336"/>
                </a:cubicBezTo>
                <a:cubicBezTo>
                  <a:pt x="97098" y="63336"/>
                  <a:pt x="96830" y="57722"/>
                  <a:pt x="91741" y="58146"/>
                </a:cubicBezTo>
                <a:cubicBezTo>
                  <a:pt x="86785" y="58570"/>
                  <a:pt x="84374" y="61429"/>
                  <a:pt x="84374" y="61429"/>
                </a:cubicBezTo>
                <a:cubicBezTo>
                  <a:pt x="84374" y="61429"/>
                  <a:pt x="79419" y="61641"/>
                  <a:pt x="80089" y="65454"/>
                </a:cubicBezTo>
                <a:cubicBezTo>
                  <a:pt x="77410" y="65878"/>
                  <a:pt x="76875" y="67890"/>
                  <a:pt x="76875" y="67890"/>
                </a:cubicBezTo>
                <a:cubicBezTo>
                  <a:pt x="76875" y="67890"/>
                  <a:pt x="71383" y="67678"/>
                  <a:pt x="71116" y="72444"/>
                </a:cubicBezTo>
                <a:cubicBezTo>
                  <a:pt x="70848" y="77210"/>
                  <a:pt x="75669" y="81447"/>
                  <a:pt x="81160" y="78375"/>
                </a:cubicBezTo>
                <a:cubicBezTo>
                  <a:pt x="81160" y="78375"/>
                  <a:pt x="82499" y="80812"/>
                  <a:pt x="84241" y="81023"/>
                </a:cubicBezTo>
                <a:cubicBezTo>
                  <a:pt x="84241" y="81023"/>
                  <a:pt x="84374" y="85684"/>
                  <a:pt x="80357" y="88120"/>
                </a:cubicBezTo>
                <a:cubicBezTo>
                  <a:pt x="76205" y="90556"/>
                  <a:pt x="68571" y="92886"/>
                  <a:pt x="68571" y="92886"/>
                </a:cubicBezTo>
                <a:cubicBezTo>
                  <a:pt x="68571" y="92886"/>
                  <a:pt x="66830" y="82506"/>
                  <a:pt x="64285" y="75410"/>
                </a:cubicBezTo>
                <a:cubicBezTo>
                  <a:pt x="61607" y="68420"/>
                  <a:pt x="62410" y="59735"/>
                  <a:pt x="62410" y="59735"/>
                </a:cubicBezTo>
                <a:cubicBezTo>
                  <a:pt x="62410" y="59735"/>
                  <a:pt x="65625" y="59947"/>
                  <a:pt x="68169" y="58464"/>
                </a:cubicBezTo>
                <a:cubicBezTo>
                  <a:pt x="70580" y="56981"/>
                  <a:pt x="80892" y="65242"/>
                  <a:pt x="89196" y="52109"/>
                </a:cubicBezTo>
                <a:cubicBezTo>
                  <a:pt x="89196" y="52109"/>
                  <a:pt x="104866" y="55498"/>
                  <a:pt x="112499" y="44271"/>
                </a:cubicBezTo>
                <a:cubicBezTo>
                  <a:pt x="119999" y="33150"/>
                  <a:pt x="103526" y="25631"/>
                  <a:pt x="97901" y="26902"/>
                </a:cubicBezTo>
                <a:cubicBezTo>
                  <a:pt x="97901" y="26902"/>
                  <a:pt x="96160" y="16416"/>
                  <a:pt x="81294" y="18640"/>
                </a:cubicBezTo>
                <a:cubicBezTo>
                  <a:pt x="81294" y="18640"/>
                  <a:pt x="79955" y="12497"/>
                  <a:pt x="72053" y="12815"/>
                </a:cubicBezTo>
                <a:cubicBezTo>
                  <a:pt x="72053" y="12815"/>
                  <a:pt x="70178" y="847"/>
                  <a:pt x="55848" y="211"/>
                </a:cubicBezTo>
                <a:cubicBezTo>
                  <a:pt x="44464" y="0"/>
                  <a:pt x="39776" y="8261"/>
                  <a:pt x="39776" y="8261"/>
                </a:cubicBezTo>
                <a:cubicBezTo>
                  <a:pt x="39776" y="8261"/>
                  <a:pt x="28392" y="7096"/>
                  <a:pt x="28258" y="18534"/>
                </a:cubicBezTo>
                <a:cubicBezTo>
                  <a:pt x="28258" y="18534"/>
                  <a:pt x="21428" y="19699"/>
                  <a:pt x="19017" y="23724"/>
                </a:cubicBezTo>
                <a:cubicBezTo>
                  <a:pt x="16607" y="25101"/>
                  <a:pt x="5089" y="24254"/>
                  <a:pt x="7232" y="34315"/>
                </a:cubicBezTo>
                <a:cubicBezTo>
                  <a:pt x="7232" y="34315"/>
                  <a:pt x="0" y="44271"/>
                  <a:pt x="10446" y="51579"/>
                </a:cubicBezTo>
                <a:cubicBezTo>
                  <a:pt x="18616" y="56451"/>
                  <a:pt x="30267" y="51791"/>
                  <a:pt x="30267" y="51791"/>
                </a:cubicBezTo>
                <a:cubicBezTo>
                  <a:pt x="30267" y="51791"/>
                  <a:pt x="34955" y="57722"/>
                  <a:pt x="43258" y="59205"/>
                </a:cubicBezTo>
                <a:cubicBezTo>
                  <a:pt x="43258" y="59205"/>
                  <a:pt x="49553" y="70962"/>
                  <a:pt x="54910" y="77846"/>
                </a:cubicBezTo>
                <a:cubicBezTo>
                  <a:pt x="56249" y="79329"/>
                  <a:pt x="61339" y="89073"/>
                  <a:pt x="59330" y="101571"/>
                </a:cubicBezTo>
                <a:cubicBezTo>
                  <a:pt x="57053" y="112797"/>
                  <a:pt x="50892" y="118729"/>
                  <a:pt x="49687" y="119788"/>
                </a:cubicBezTo>
                <a:cubicBezTo>
                  <a:pt x="81830" y="119788"/>
                  <a:pt x="81830" y="119788"/>
                  <a:pt x="81830" y="119788"/>
                </a:cubicBezTo>
                <a:cubicBezTo>
                  <a:pt x="79821" y="119788"/>
                  <a:pt x="74598" y="119576"/>
                  <a:pt x="72321" y="117987"/>
                </a:cubicBezTo>
                <a:cubicBezTo>
                  <a:pt x="69642" y="115975"/>
                  <a:pt x="70848" y="113645"/>
                  <a:pt x="70178" y="108561"/>
                </a:cubicBezTo>
                <a:cubicBezTo>
                  <a:pt x="69375" y="103583"/>
                  <a:pt x="69508" y="96063"/>
                  <a:pt x="69508" y="96063"/>
                </a:cubicBezTo>
                <a:cubicBezTo>
                  <a:pt x="69508" y="96063"/>
                  <a:pt x="88124" y="87484"/>
                  <a:pt x="90803" y="82082"/>
                </a:cubicBezTo>
                <a:cubicBezTo>
                  <a:pt x="92812" y="82612"/>
                  <a:pt x="105133" y="81977"/>
                  <a:pt x="104999" y="78693"/>
                </a:cubicBezTo>
                <a:cubicBezTo>
                  <a:pt x="107276" y="79541"/>
                  <a:pt x="114776" y="77740"/>
                  <a:pt x="113973" y="72868"/>
                </a:cubicBezTo>
                <a:cubicBezTo>
                  <a:pt x="112767" y="68843"/>
                  <a:pt x="107812" y="68420"/>
                  <a:pt x="107812" y="68420"/>
                </a:cubicBezTo>
                <a:close/>
                <a:moveTo>
                  <a:pt x="49285" y="61006"/>
                </a:moveTo>
                <a:cubicBezTo>
                  <a:pt x="56651" y="60900"/>
                  <a:pt x="56651" y="60900"/>
                  <a:pt x="56651" y="60900"/>
                </a:cubicBezTo>
                <a:cubicBezTo>
                  <a:pt x="56116" y="65136"/>
                  <a:pt x="57187" y="72444"/>
                  <a:pt x="57187" y="72444"/>
                </a:cubicBezTo>
                <a:cubicBezTo>
                  <a:pt x="51428" y="67466"/>
                  <a:pt x="49285" y="61006"/>
                  <a:pt x="49285" y="61006"/>
                </a:cubicBezTo>
                <a:close/>
                <a:moveTo>
                  <a:pt x="85312" y="85154"/>
                </a:moveTo>
                <a:cubicBezTo>
                  <a:pt x="85312" y="85154"/>
                  <a:pt x="86517" y="83248"/>
                  <a:pt x="86249" y="81553"/>
                </a:cubicBezTo>
                <a:cubicBezTo>
                  <a:pt x="86249" y="81553"/>
                  <a:pt x="88124" y="81659"/>
                  <a:pt x="89062" y="81765"/>
                </a:cubicBezTo>
                <a:cubicBezTo>
                  <a:pt x="89062" y="81765"/>
                  <a:pt x="87187" y="83671"/>
                  <a:pt x="85312" y="85154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lIns="121898" tIns="60941" rIns="121898" bIns="60941" anchor="t" anchorCtr="0">
            <a:noAutofit/>
          </a:bodyPr>
          <a:lstStyle/>
          <a:p>
            <a:pPr>
              <a:buClr>
                <a:srgbClr val="000000"/>
              </a:buClr>
            </a:pPr>
            <a:endParaRPr sz="1200">
              <a:solidFill>
                <a:schemeClr val="dk1"/>
              </a:solidFill>
            </a:endParaRPr>
          </a:p>
        </p:txBody>
      </p:sp>
      <p:sp>
        <p:nvSpPr>
          <p:cNvPr id="39" name="ïśḷíḍè">
            <a:extLst>
              <a:ext uri="{FF2B5EF4-FFF2-40B4-BE49-F238E27FC236}">
                <a16:creationId xmlns:a16="http://schemas.microsoft.com/office/drawing/2014/main" id="{B3EEC8A7-7B57-49C3-B974-98629F0CCE2F}"/>
              </a:ext>
            </a:extLst>
          </p:cNvPr>
          <p:cNvSpPr txBox="1"/>
          <p:nvPr/>
        </p:nvSpPr>
        <p:spPr>
          <a:xfrm>
            <a:off x="659283" y="1472295"/>
            <a:ext cx="3194456" cy="1169551"/>
          </a:xfrm>
          <a:prstGeom prst="rect">
            <a:avLst/>
          </a:prstGeom>
          <a:noFill/>
        </p:spPr>
        <p:txBody>
          <a:bodyPr wrap="square" lIns="90000" tIns="46800" rIns="90000" bIns="46800" anchor="ctr">
            <a:normAutofit/>
          </a:bodyPr>
          <a:lstStyle/>
          <a:p>
            <a:r>
              <a:rPr lang="zh-CN" altLang="en-US" sz="2400" b="1" dirty="0"/>
              <a:t>更能够让枯燥的段落赋予变化！</a:t>
            </a:r>
          </a:p>
        </p:txBody>
      </p:sp>
      <p:sp>
        <p:nvSpPr>
          <p:cNvPr id="40" name="íṧļiḓe">
            <a:extLst>
              <a:ext uri="{FF2B5EF4-FFF2-40B4-BE49-F238E27FC236}">
                <a16:creationId xmlns:a16="http://schemas.microsoft.com/office/drawing/2014/main" id="{25DB4687-D0BB-44E1-B5E3-3C095C5C46D6}"/>
              </a:ext>
            </a:extLst>
          </p:cNvPr>
          <p:cNvSpPr txBox="1"/>
          <p:nvPr/>
        </p:nvSpPr>
        <p:spPr>
          <a:xfrm>
            <a:off x="659283" y="1195296"/>
            <a:ext cx="3194456" cy="276999"/>
          </a:xfrm>
          <a:prstGeom prst="rect">
            <a:avLst/>
          </a:prstGeom>
          <a:noFill/>
        </p:spPr>
        <p:txBody>
          <a:bodyPr wrap="square" lIns="90000" tIns="46800" rIns="90000" bIns="46800" anchor="ctr">
            <a:normAutofit/>
          </a:bodyPr>
          <a:lstStyle/>
          <a:p>
            <a:r>
              <a:rPr lang="zh-CN" altLang="en-US" sz="1050" dirty="0"/>
              <a:t>或许大小不同的文字错落的排版</a:t>
            </a:r>
          </a:p>
        </p:txBody>
      </p:sp>
      <p:sp>
        <p:nvSpPr>
          <p:cNvPr id="41" name="iṣľîdê">
            <a:extLst>
              <a:ext uri="{FF2B5EF4-FFF2-40B4-BE49-F238E27FC236}">
                <a16:creationId xmlns:a16="http://schemas.microsoft.com/office/drawing/2014/main" id="{F83DB3CD-E685-4726-B64E-1A9B98413D79}"/>
              </a:ext>
            </a:extLst>
          </p:cNvPr>
          <p:cNvSpPr txBox="1"/>
          <p:nvPr/>
        </p:nvSpPr>
        <p:spPr>
          <a:xfrm>
            <a:off x="659283" y="2641846"/>
            <a:ext cx="3194456" cy="830997"/>
          </a:xfrm>
          <a:prstGeom prst="rect">
            <a:avLst/>
          </a:prstGeom>
          <a:noFill/>
        </p:spPr>
        <p:txBody>
          <a:bodyPr wrap="square" lIns="90000" tIns="46800" rIns="90000" bIns="46800" anchor="ctr">
            <a:normAutofit/>
          </a:bodyPr>
          <a:lstStyle/>
          <a:p>
            <a:r>
              <a:rPr lang="zh-CN" altLang="en-US" sz="1600" dirty="0"/>
              <a:t>主次分明的布局排版帮助</a:t>
            </a:r>
            <a:r>
              <a:rPr lang="en-US" altLang="zh-CN" sz="1600" dirty="0"/>
              <a:t>PPT</a:t>
            </a:r>
            <a:r>
              <a:rPr lang="zh-CN" altLang="en-US" sz="1600" dirty="0"/>
              <a:t>更好的传递和表达信息。</a:t>
            </a:r>
          </a:p>
        </p:txBody>
      </p:sp>
      <p:sp>
        <p:nvSpPr>
          <p:cNvPr id="37" name="íşľíḓê">
            <a:extLst>
              <a:ext uri="{FF2B5EF4-FFF2-40B4-BE49-F238E27FC236}">
                <a16:creationId xmlns:a16="http://schemas.microsoft.com/office/drawing/2014/main" id="{195BA0BA-A561-4F9B-BB35-1FE2AF1D1AE6}"/>
              </a:ext>
            </a:extLst>
          </p:cNvPr>
          <p:cNvSpPr/>
          <p:nvPr/>
        </p:nvSpPr>
        <p:spPr>
          <a:xfrm>
            <a:off x="4621538" y="3926137"/>
            <a:ext cx="522378" cy="522378"/>
          </a:xfrm>
          <a:custGeom>
            <a:avLst/>
            <a:gdLst>
              <a:gd name="connsiteX0" fmla="*/ 0 w 670873"/>
              <a:gd name="connsiteY0" fmla="*/ 335437 h 670873"/>
              <a:gd name="connsiteX1" fmla="*/ 335437 w 670873"/>
              <a:gd name="connsiteY1" fmla="*/ 0 h 670873"/>
              <a:gd name="connsiteX2" fmla="*/ 670874 w 670873"/>
              <a:gd name="connsiteY2" fmla="*/ 335437 h 670873"/>
              <a:gd name="connsiteX3" fmla="*/ 335437 w 670873"/>
              <a:gd name="connsiteY3" fmla="*/ 670874 h 670873"/>
              <a:gd name="connsiteX4" fmla="*/ 0 w 670873"/>
              <a:gd name="connsiteY4" fmla="*/ 335437 h 670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0873" h="670873">
                <a:moveTo>
                  <a:pt x="0" y="335437"/>
                </a:moveTo>
                <a:cubicBezTo>
                  <a:pt x="0" y="150180"/>
                  <a:pt x="150180" y="0"/>
                  <a:pt x="335437" y="0"/>
                </a:cubicBezTo>
                <a:cubicBezTo>
                  <a:pt x="520694" y="0"/>
                  <a:pt x="670874" y="150180"/>
                  <a:pt x="670874" y="335437"/>
                </a:cubicBezTo>
                <a:cubicBezTo>
                  <a:pt x="670874" y="520694"/>
                  <a:pt x="520694" y="670874"/>
                  <a:pt x="335437" y="670874"/>
                </a:cubicBezTo>
                <a:cubicBezTo>
                  <a:pt x="150180" y="670874"/>
                  <a:pt x="0" y="520694"/>
                  <a:pt x="0" y="335437"/>
                </a:cubicBezTo>
                <a:close/>
              </a:path>
            </a:pathLst>
          </a:custGeom>
          <a:solidFill>
            <a:schemeClr val="accent3"/>
          </a:solidFill>
          <a:ln w="28575">
            <a:solidFill>
              <a:schemeClr val="bg1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/>
          </a:p>
        </p:txBody>
      </p:sp>
      <p:sp>
        <p:nvSpPr>
          <p:cNvPr id="38" name="islíḓé">
            <a:extLst>
              <a:ext uri="{FF2B5EF4-FFF2-40B4-BE49-F238E27FC236}">
                <a16:creationId xmlns:a16="http://schemas.microsoft.com/office/drawing/2014/main" id="{76D36FB7-691B-49FC-8C1C-1119A861C255}"/>
              </a:ext>
            </a:extLst>
          </p:cNvPr>
          <p:cNvSpPr/>
          <p:nvPr/>
        </p:nvSpPr>
        <p:spPr bwMode="auto">
          <a:xfrm>
            <a:off x="4736438" y="4041229"/>
            <a:ext cx="292579" cy="292194"/>
          </a:xfrm>
          <a:custGeom>
            <a:avLst/>
            <a:gdLst>
              <a:gd name="connsiteX0" fmla="*/ 86413 w 591547"/>
              <a:gd name="connsiteY0" fmla="*/ 515758 h 590770"/>
              <a:gd name="connsiteX1" fmla="*/ 171919 w 591547"/>
              <a:gd name="connsiteY1" fmla="*/ 515758 h 590770"/>
              <a:gd name="connsiteX2" fmla="*/ 171919 w 591547"/>
              <a:gd name="connsiteY2" fmla="*/ 537523 h 590770"/>
              <a:gd name="connsiteX3" fmla="*/ 86413 w 591547"/>
              <a:gd name="connsiteY3" fmla="*/ 537523 h 590770"/>
              <a:gd name="connsiteX4" fmla="*/ 86413 w 591547"/>
              <a:gd name="connsiteY4" fmla="*/ 461733 h 590770"/>
              <a:gd name="connsiteX5" fmla="*/ 171919 w 591547"/>
              <a:gd name="connsiteY5" fmla="*/ 461733 h 590770"/>
              <a:gd name="connsiteX6" fmla="*/ 171919 w 591547"/>
              <a:gd name="connsiteY6" fmla="*/ 483498 h 590770"/>
              <a:gd name="connsiteX7" fmla="*/ 86413 w 591547"/>
              <a:gd name="connsiteY7" fmla="*/ 483498 h 590770"/>
              <a:gd name="connsiteX8" fmla="*/ 86413 w 591547"/>
              <a:gd name="connsiteY8" fmla="*/ 408616 h 590770"/>
              <a:gd name="connsiteX9" fmla="*/ 171919 w 591547"/>
              <a:gd name="connsiteY9" fmla="*/ 408616 h 590770"/>
              <a:gd name="connsiteX10" fmla="*/ 171919 w 591547"/>
              <a:gd name="connsiteY10" fmla="*/ 429474 h 590770"/>
              <a:gd name="connsiteX11" fmla="*/ 86413 w 591547"/>
              <a:gd name="connsiteY11" fmla="*/ 429474 h 590770"/>
              <a:gd name="connsiteX12" fmla="*/ 204177 w 591547"/>
              <a:gd name="connsiteY12" fmla="*/ 357041 h 590770"/>
              <a:gd name="connsiteX13" fmla="*/ 204177 w 591547"/>
              <a:gd name="connsiteY13" fmla="*/ 569815 h 590770"/>
              <a:gd name="connsiteX14" fmla="*/ 333300 w 591547"/>
              <a:gd name="connsiteY14" fmla="*/ 569815 h 590770"/>
              <a:gd name="connsiteX15" fmla="*/ 333300 w 591547"/>
              <a:gd name="connsiteY15" fmla="*/ 382026 h 590770"/>
              <a:gd name="connsiteX16" fmla="*/ 183194 w 591547"/>
              <a:gd name="connsiteY16" fmla="*/ 357041 h 590770"/>
              <a:gd name="connsiteX17" fmla="*/ 75053 w 591547"/>
              <a:gd name="connsiteY17" fmla="*/ 382026 h 590770"/>
              <a:gd name="connsiteX18" fmla="*/ 75053 w 591547"/>
              <a:gd name="connsiteY18" fmla="*/ 569815 h 590770"/>
              <a:gd name="connsiteX19" fmla="*/ 183194 w 591547"/>
              <a:gd name="connsiteY19" fmla="*/ 569815 h 590770"/>
              <a:gd name="connsiteX20" fmla="*/ 247709 w 591547"/>
              <a:gd name="connsiteY20" fmla="*/ 311838 h 590770"/>
              <a:gd name="connsiteX21" fmla="*/ 322851 w 591547"/>
              <a:gd name="connsiteY21" fmla="*/ 311838 h 590770"/>
              <a:gd name="connsiteX22" fmla="*/ 322851 w 591547"/>
              <a:gd name="connsiteY22" fmla="*/ 332826 h 590770"/>
              <a:gd name="connsiteX23" fmla="*/ 247709 w 591547"/>
              <a:gd name="connsiteY23" fmla="*/ 332826 h 590770"/>
              <a:gd name="connsiteX24" fmla="*/ 247709 w 591547"/>
              <a:gd name="connsiteY24" fmla="*/ 257944 h 590770"/>
              <a:gd name="connsiteX25" fmla="*/ 322851 w 591547"/>
              <a:gd name="connsiteY25" fmla="*/ 257944 h 590770"/>
              <a:gd name="connsiteX26" fmla="*/ 322851 w 591547"/>
              <a:gd name="connsiteY26" fmla="*/ 279580 h 590770"/>
              <a:gd name="connsiteX27" fmla="*/ 247709 w 591547"/>
              <a:gd name="connsiteY27" fmla="*/ 279580 h 590770"/>
              <a:gd name="connsiteX28" fmla="*/ 247709 w 591547"/>
              <a:gd name="connsiteY28" fmla="*/ 203919 h 590770"/>
              <a:gd name="connsiteX29" fmla="*/ 322851 w 591547"/>
              <a:gd name="connsiteY29" fmla="*/ 203919 h 590770"/>
              <a:gd name="connsiteX30" fmla="*/ 322851 w 591547"/>
              <a:gd name="connsiteY30" fmla="*/ 225684 h 590770"/>
              <a:gd name="connsiteX31" fmla="*/ 247709 w 591547"/>
              <a:gd name="connsiteY31" fmla="*/ 225684 h 590770"/>
              <a:gd name="connsiteX32" fmla="*/ 247709 w 591547"/>
              <a:gd name="connsiteY32" fmla="*/ 150672 h 590770"/>
              <a:gd name="connsiteX33" fmla="*/ 322851 w 591547"/>
              <a:gd name="connsiteY33" fmla="*/ 150672 h 590770"/>
              <a:gd name="connsiteX34" fmla="*/ 322851 w 591547"/>
              <a:gd name="connsiteY34" fmla="*/ 171660 h 590770"/>
              <a:gd name="connsiteX35" fmla="*/ 247709 w 591547"/>
              <a:gd name="connsiteY35" fmla="*/ 171660 h 590770"/>
              <a:gd name="connsiteX36" fmla="*/ 355090 w 591547"/>
              <a:gd name="connsiteY36" fmla="*/ 102357 h 590770"/>
              <a:gd name="connsiteX37" fmla="*/ 355090 w 591547"/>
              <a:gd name="connsiteY37" fmla="*/ 373160 h 590770"/>
              <a:gd name="connsiteX38" fmla="*/ 355090 w 591547"/>
              <a:gd name="connsiteY38" fmla="*/ 376384 h 590770"/>
              <a:gd name="connsiteX39" fmla="*/ 355090 w 591547"/>
              <a:gd name="connsiteY39" fmla="*/ 569815 h 590770"/>
              <a:gd name="connsiteX40" fmla="*/ 484213 w 591547"/>
              <a:gd name="connsiteY40" fmla="*/ 569815 h 590770"/>
              <a:gd name="connsiteX41" fmla="*/ 484213 w 591547"/>
              <a:gd name="connsiteY41" fmla="*/ 154744 h 590770"/>
              <a:gd name="connsiteX42" fmla="*/ 333300 w 591547"/>
              <a:gd name="connsiteY42" fmla="*/ 99939 h 590770"/>
              <a:gd name="connsiteX43" fmla="*/ 236458 w 591547"/>
              <a:gd name="connsiteY43" fmla="*/ 125730 h 590770"/>
              <a:gd name="connsiteX44" fmla="*/ 236458 w 591547"/>
              <a:gd name="connsiteY44" fmla="*/ 341728 h 590770"/>
              <a:gd name="connsiteX45" fmla="*/ 333300 w 591547"/>
              <a:gd name="connsiteY45" fmla="*/ 360265 h 590770"/>
              <a:gd name="connsiteX46" fmla="*/ 397862 w 591547"/>
              <a:gd name="connsiteY46" fmla="*/ 21761 h 590770"/>
              <a:gd name="connsiteX47" fmla="*/ 387371 w 591547"/>
              <a:gd name="connsiteY47" fmla="*/ 32238 h 590770"/>
              <a:gd name="connsiteX48" fmla="*/ 397862 w 591547"/>
              <a:gd name="connsiteY48" fmla="*/ 42716 h 590770"/>
              <a:gd name="connsiteX49" fmla="*/ 409160 w 591547"/>
              <a:gd name="connsiteY49" fmla="*/ 32238 h 590770"/>
              <a:gd name="connsiteX50" fmla="*/ 397862 w 591547"/>
              <a:gd name="connsiteY50" fmla="*/ 21761 h 590770"/>
              <a:gd name="connsiteX51" fmla="*/ 397862 w 591547"/>
              <a:gd name="connsiteY51" fmla="*/ 0 h 590770"/>
              <a:gd name="connsiteX52" fmla="*/ 430143 w 591547"/>
              <a:gd name="connsiteY52" fmla="*/ 32238 h 590770"/>
              <a:gd name="connsiteX53" fmla="*/ 409160 w 591547"/>
              <a:gd name="connsiteY53" fmla="*/ 62865 h 590770"/>
              <a:gd name="connsiteX54" fmla="*/ 409160 w 591547"/>
              <a:gd name="connsiteY54" fmla="*/ 100745 h 590770"/>
              <a:gd name="connsiteX55" fmla="*/ 498740 w 591547"/>
              <a:gd name="connsiteY55" fmla="*/ 137819 h 590770"/>
              <a:gd name="connsiteX56" fmla="*/ 506003 w 591547"/>
              <a:gd name="connsiteY56" fmla="*/ 147491 h 590770"/>
              <a:gd name="connsiteX57" fmla="*/ 506003 w 591547"/>
              <a:gd name="connsiteY57" fmla="*/ 569815 h 590770"/>
              <a:gd name="connsiteX58" fmla="*/ 591547 w 591547"/>
              <a:gd name="connsiteY58" fmla="*/ 569815 h 590770"/>
              <a:gd name="connsiteX59" fmla="*/ 591547 w 591547"/>
              <a:gd name="connsiteY59" fmla="*/ 590770 h 590770"/>
              <a:gd name="connsiteX60" fmla="*/ 494705 w 591547"/>
              <a:gd name="connsiteY60" fmla="*/ 590770 h 590770"/>
              <a:gd name="connsiteX61" fmla="*/ 344598 w 591547"/>
              <a:gd name="connsiteY61" fmla="*/ 590770 h 590770"/>
              <a:gd name="connsiteX62" fmla="*/ 193685 w 591547"/>
              <a:gd name="connsiteY62" fmla="*/ 590770 h 590770"/>
              <a:gd name="connsiteX63" fmla="*/ 64562 w 591547"/>
              <a:gd name="connsiteY63" fmla="*/ 590770 h 590770"/>
              <a:gd name="connsiteX64" fmla="*/ 0 w 591547"/>
              <a:gd name="connsiteY64" fmla="*/ 590770 h 590770"/>
              <a:gd name="connsiteX65" fmla="*/ 0 w 591547"/>
              <a:gd name="connsiteY65" fmla="*/ 569815 h 590770"/>
              <a:gd name="connsiteX66" fmla="*/ 54070 w 591547"/>
              <a:gd name="connsiteY66" fmla="*/ 569815 h 590770"/>
              <a:gd name="connsiteX67" fmla="*/ 54070 w 591547"/>
              <a:gd name="connsiteY67" fmla="*/ 373160 h 590770"/>
              <a:gd name="connsiteX68" fmla="*/ 62141 w 591547"/>
              <a:gd name="connsiteY68" fmla="*/ 362683 h 590770"/>
              <a:gd name="connsiteX69" fmla="*/ 191264 w 591547"/>
              <a:gd name="connsiteY69" fmla="*/ 333668 h 590770"/>
              <a:gd name="connsiteX70" fmla="*/ 195299 w 591547"/>
              <a:gd name="connsiteY70" fmla="*/ 333668 h 590770"/>
              <a:gd name="connsiteX71" fmla="*/ 196106 w 591547"/>
              <a:gd name="connsiteY71" fmla="*/ 333668 h 590770"/>
              <a:gd name="connsiteX72" fmla="*/ 215475 w 591547"/>
              <a:gd name="connsiteY72" fmla="*/ 336892 h 590770"/>
              <a:gd name="connsiteX73" fmla="*/ 215475 w 591547"/>
              <a:gd name="connsiteY73" fmla="*/ 116864 h 590770"/>
              <a:gd name="connsiteX74" fmla="*/ 223545 w 591547"/>
              <a:gd name="connsiteY74" fmla="*/ 106387 h 590770"/>
              <a:gd name="connsiteX75" fmla="*/ 341370 w 591547"/>
              <a:gd name="connsiteY75" fmla="*/ 75760 h 590770"/>
              <a:gd name="connsiteX76" fmla="*/ 342984 w 591547"/>
              <a:gd name="connsiteY76" fmla="*/ 75760 h 590770"/>
              <a:gd name="connsiteX77" fmla="*/ 345405 w 591547"/>
              <a:gd name="connsiteY77" fmla="*/ 75760 h 590770"/>
              <a:gd name="connsiteX78" fmla="*/ 347020 w 591547"/>
              <a:gd name="connsiteY78" fmla="*/ 75760 h 590770"/>
              <a:gd name="connsiteX79" fmla="*/ 348634 w 591547"/>
              <a:gd name="connsiteY79" fmla="*/ 75760 h 590770"/>
              <a:gd name="connsiteX80" fmla="*/ 387371 w 591547"/>
              <a:gd name="connsiteY80" fmla="*/ 91879 h 590770"/>
              <a:gd name="connsiteX81" fmla="*/ 387371 w 591547"/>
              <a:gd name="connsiteY81" fmla="*/ 62865 h 590770"/>
              <a:gd name="connsiteX82" fmla="*/ 365581 w 591547"/>
              <a:gd name="connsiteY82" fmla="*/ 32238 h 590770"/>
              <a:gd name="connsiteX83" fmla="*/ 397862 w 591547"/>
              <a:gd name="connsiteY83" fmla="*/ 0 h 5907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</a:cxnLst>
            <a:rect l="l" t="t" r="r" b="b"/>
            <a:pathLst>
              <a:path w="591547" h="590770">
                <a:moveTo>
                  <a:pt x="86413" y="515758"/>
                </a:moveTo>
                <a:lnTo>
                  <a:pt x="171919" y="515758"/>
                </a:lnTo>
                <a:lnTo>
                  <a:pt x="171919" y="537523"/>
                </a:lnTo>
                <a:lnTo>
                  <a:pt x="86413" y="537523"/>
                </a:lnTo>
                <a:close/>
                <a:moveTo>
                  <a:pt x="86413" y="461733"/>
                </a:moveTo>
                <a:lnTo>
                  <a:pt x="171919" y="461733"/>
                </a:lnTo>
                <a:lnTo>
                  <a:pt x="171919" y="483498"/>
                </a:lnTo>
                <a:lnTo>
                  <a:pt x="86413" y="483498"/>
                </a:lnTo>
                <a:close/>
                <a:moveTo>
                  <a:pt x="86413" y="408616"/>
                </a:moveTo>
                <a:lnTo>
                  <a:pt x="171919" y="408616"/>
                </a:lnTo>
                <a:lnTo>
                  <a:pt x="171919" y="429474"/>
                </a:lnTo>
                <a:lnTo>
                  <a:pt x="86413" y="429474"/>
                </a:lnTo>
                <a:close/>
                <a:moveTo>
                  <a:pt x="204177" y="357041"/>
                </a:moveTo>
                <a:lnTo>
                  <a:pt x="204177" y="569815"/>
                </a:lnTo>
                <a:lnTo>
                  <a:pt x="333300" y="569815"/>
                </a:lnTo>
                <a:lnTo>
                  <a:pt x="333300" y="382026"/>
                </a:lnTo>
                <a:close/>
                <a:moveTo>
                  <a:pt x="183194" y="357041"/>
                </a:moveTo>
                <a:lnTo>
                  <a:pt x="75053" y="382026"/>
                </a:lnTo>
                <a:lnTo>
                  <a:pt x="75053" y="569815"/>
                </a:lnTo>
                <a:lnTo>
                  <a:pt x="183194" y="569815"/>
                </a:lnTo>
                <a:close/>
                <a:moveTo>
                  <a:pt x="247709" y="311838"/>
                </a:moveTo>
                <a:lnTo>
                  <a:pt x="322851" y="311838"/>
                </a:lnTo>
                <a:lnTo>
                  <a:pt x="322851" y="332826"/>
                </a:lnTo>
                <a:lnTo>
                  <a:pt x="247709" y="332826"/>
                </a:lnTo>
                <a:close/>
                <a:moveTo>
                  <a:pt x="247709" y="257944"/>
                </a:moveTo>
                <a:lnTo>
                  <a:pt x="322851" y="257944"/>
                </a:lnTo>
                <a:lnTo>
                  <a:pt x="322851" y="279580"/>
                </a:lnTo>
                <a:lnTo>
                  <a:pt x="247709" y="279580"/>
                </a:lnTo>
                <a:close/>
                <a:moveTo>
                  <a:pt x="247709" y="203919"/>
                </a:moveTo>
                <a:lnTo>
                  <a:pt x="322851" y="203919"/>
                </a:lnTo>
                <a:lnTo>
                  <a:pt x="322851" y="225684"/>
                </a:lnTo>
                <a:lnTo>
                  <a:pt x="247709" y="225684"/>
                </a:lnTo>
                <a:close/>
                <a:moveTo>
                  <a:pt x="247709" y="150672"/>
                </a:moveTo>
                <a:lnTo>
                  <a:pt x="322851" y="150672"/>
                </a:lnTo>
                <a:lnTo>
                  <a:pt x="322851" y="171660"/>
                </a:lnTo>
                <a:lnTo>
                  <a:pt x="247709" y="171660"/>
                </a:lnTo>
                <a:close/>
                <a:moveTo>
                  <a:pt x="355090" y="102357"/>
                </a:moveTo>
                <a:lnTo>
                  <a:pt x="355090" y="373160"/>
                </a:lnTo>
                <a:lnTo>
                  <a:pt x="355090" y="376384"/>
                </a:lnTo>
                <a:lnTo>
                  <a:pt x="355090" y="569815"/>
                </a:lnTo>
                <a:lnTo>
                  <a:pt x="484213" y="569815"/>
                </a:lnTo>
                <a:lnTo>
                  <a:pt x="484213" y="154744"/>
                </a:lnTo>
                <a:close/>
                <a:moveTo>
                  <a:pt x="333300" y="99939"/>
                </a:moveTo>
                <a:lnTo>
                  <a:pt x="236458" y="125730"/>
                </a:lnTo>
                <a:lnTo>
                  <a:pt x="236458" y="341728"/>
                </a:lnTo>
                <a:lnTo>
                  <a:pt x="333300" y="360265"/>
                </a:lnTo>
                <a:close/>
                <a:moveTo>
                  <a:pt x="397862" y="21761"/>
                </a:moveTo>
                <a:cubicBezTo>
                  <a:pt x="392213" y="21761"/>
                  <a:pt x="387371" y="26596"/>
                  <a:pt x="387371" y="32238"/>
                </a:cubicBezTo>
                <a:cubicBezTo>
                  <a:pt x="387371" y="37880"/>
                  <a:pt x="392213" y="42716"/>
                  <a:pt x="397862" y="42716"/>
                </a:cubicBezTo>
                <a:cubicBezTo>
                  <a:pt x="404318" y="42716"/>
                  <a:pt x="409160" y="37880"/>
                  <a:pt x="409160" y="32238"/>
                </a:cubicBezTo>
                <a:cubicBezTo>
                  <a:pt x="409160" y="26596"/>
                  <a:pt x="404318" y="21761"/>
                  <a:pt x="397862" y="21761"/>
                </a:cubicBezTo>
                <a:close/>
                <a:moveTo>
                  <a:pt x="397862" y="0"/>
                </a:moveTo>
                <a:cubicBezTo>
                  <a:pt x="415616" y="0"/>
                  <a:pt x="430143" y="14507"/>
                  <a:pt x="430143" y="32238"/>
                </a:cubicBezTo>
                <a:cubicBezTo>
                  <a:pt x="430143" y="45940"/>
                  <a:pt x="421266" y="58029"/>
                  <a:pt x="409160" y="62865"/>
                </a:cubicBezTo>
                <a:lnTo>
                  <a:pt x="409160" y="100745"/>
                </a:lnTo>
                <a:lnTo>
                  <a:pt x="498740" y="137819"/>
                </a:lnTo>
                <a:cubicBezTo>
                  <a:pt x="502775" y="139431"/>
                  <a:pt x="506003" y="143461"/>
                  <a:pt x="506003" y="147491"/>
                </a:cubicBezTo>
                <a:lnTo>
                  <a:pt x="506003" y="569815"/>
                </a:lnTo>
                <a:lnTo>
                  <a:pt x="591547" y="569815"/>
                </a:lnTo>
                <a:lnTo>
                  <a:pt x="591547" y="590770"/>
                </a:lnTo>
                <a:lnTo>
                  <a:pt x="494705" y="590770"/>
                </a:lnTo>
                <a:lnTo>
                  <a:pt x="344598" y="590770"/>
                </a:lnTo>
                <a:lnTo>
                  <a:pt x="193685" y="590770"/>
                </a:lnTo>
                <a:lnTo>
                  <a:pt x="64562" y="590770"/>
                </a:lnTo>
                <a:lnTo>
                  <a:pt x="0" y="590770"/>
                </a:lnTo>
                <a:lnTo>
                  <a:pt x="0" y="569815"/>
                </a:lnTo>
                <a:lnTo>
                  <a:pt x="54070" y="569815"/>
                </a:lnTo>
                <a:lnTo>
                  <a:pt x="54070" y="373160"/>
                </a:lnTo>
                <a:cubicBezTo>
                  <a:pt x="54070" y="368324"/>
                  <a:pt x="57298" y="364294"/>
                  <a:pt x="62141" y="362683"/>
                </a:cubicBezTo>
                <a:lnTo>
                  <a:pt x="191264" y="333668"/>
                </a:lnTo>
                <a:cubicBezTo>
                  <a:pt x="192878" y="332862"/>
                  <a:pt x="194492" y="332862"/>
                  <a:pt x="195299" y="333668"/>
                </a:cubicBezTo>
                <a:cubicBezTo>
                  <a:pt x="196106" y="333668"/>
                  <a:pt x="196106" y="333668"/>
                  <a:pt x="196106" y="333668"/>
                </a:cubicBezTo>
                <a:lnTo>
                  <a:pt x="215475" y="336892"/>
                </a:lnTo>
                <a:lnTo>
                  <a:pt x="215475" y="116864"/>
                </a:lnTo>
                <a:cubicBezTo>
                  <a:pt x="215475" y="112028"/>
                  <a:pt x="218703" y="107999"/>
                  <a:pt x="223545" y="106387"/>
                </a:cubicBezTo>
                <a:lnTo>
                  <a:pt x="341370" y="75760"/>
                </a:lnTo>
                <a:cubicBezTo>
                  <a:pt x="342177" y="75760"/>
                  <a:pt x="342177" y="75760"/>
                  <a:pt x="342984" y="75760"/>
                </a:cubicBezTo>
                <a:cubicBezTo>
                  <a:pt x="343791" y="75760"/>
                  <a:pt x="344598" y="74954"/>
                  <a:pt x="345405" y="75760"/>
                </a:cubicBezTo>
                <a:cubicBezTo>
                  <a:pt x="346213" y="75760"/>
                  <a:pt x="347020" y="75760"/>
                  <a:pt x="347020" y="75760"/>
                </a:cubicBezTo>
                <a:cubicBezTo>
                  <a:pt x="347827" y="75760"/>
                  <a:pt x="347827" y="75760"/>
                  <a:pt x="348634" y="75760"/>
                </a:cubicBezTo>
                <a:lnTo>
                  <a:pt x="387371" y="91879"/>
                </a:lnTo>
                <a:lnTo>
                  <a:pt x="387371" y="62865"/>
                </a:lnTo>
                <a:cubicBezTo>
                  <a:pt x="375265" y="58029"/>
                  <a:pt x="365581" y="45940"/>
                  <a:pt x="365581" y="32238"/>
                </a:cubicBezTo>
                <a:cubicBezTo>
                  <a:pt x="365581" y="14507"/>
                  <a:pt x="380107" y="0"/>
                  <a:pt x="39786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anchor="ctr"/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/>
          </a:p>
        </p:txBody>
      </p:sp>
      <p:sp>
        <p:nvSpPr>
          <p:cNvPr id="36" name="îślíḑè">
            <a:extLst>
              <a:ext uri="{FF2B5EF4-FFF2-40B4-BE49-F238E27FC236}">
                <a16:creationId xmlns:a16="http://schemas.microsoft.com/office/drawing/2014/main" id="{1A0623A8-D2DA-4735-9690-7E81E2347F8A}"/>
              </a:ext>
            </a:extLst>
          </p:cNvPr>
          <p:cNvSpPr txBox="1"/>
          <p:nvPr/>
        </p:nvSpPr>
        <p:spPr>
          <a:xfrm>
            <a:off x="4317515" y="4484270"/>
            <a:ext cx="1130424" cy="386922"/>
          </a:xfrm>
          <a:prstGeom prst="rect">
            <a:avLst/>
          </a:prstGeom>
          <a:noFill/>
        </p:spPr>
        <p:txBody>
          <a:bodyPr wrap="none" lIns="90000" tIns="46800" rIns="90000" bIns="46800" rtlCol="0" anchor="ctr" anchorCtr="0">
            <a:normAutofit/>
          </a:bodyPr>
          <a:lstStyle/>
          <a:p>
            <a:pPr algn="ctr"/>
            <a:r>
              <a:rPr lang="zh-CN" altLang="en-US" sz="1400" b="1" dirty="0">
                <a:solidFill>
                  <a:schemeClr val="bg1"/>
                </a:solidFill>
              </a:rPr>
              <a:t>关键词</a:t>
            </a:r>
          </a:p>
        </p:txBody>
      </p:sp>
      <p:sp>
        <p:nvSpPr>
          <p:cNvPr id="33" name="ï$1idé">
            <a:extLst>
              <a:ext uri="{FF2B5EF4-FFF2-40B4-BE49-F238E27FC236}">
                <a16:creationId xmlns:a16="http://schemas.microsoft.com/office/drawing/2014/main" id="{3958F227-27A1-4318-839E-CE3EAD58307A}"/>
              </a:ext>
            </a:extLst>
          </p:cNvPr>
          <p:cNvSpPr/>
          <p:nvPr/>
        </p:nvSpPr>
        <p:spPr>
          <a:xfrm>
            <a:off x="7793295" y="4701706"/>
            <a:ext cx="390584" cy="390584"/>
          </a:xfrm>
          <a:custGeom>
            <a:avLst/>
            <a:gdLst>
              <a:gd name="connsiteX0" fmla="*/ 0 w 670873"/>
              <a:gd name="connsiteY0" fmla="*/ 335437 h 670873"/>
              <a:gd name="connsiteX1" fmla="*/ 335437 w 670873"/>
              <a:gd name="connsiteY1" fmla="*/ 0 h 670873"/>
              <a:gd name="connsiteX2" fmla="*/ 670874 w 670873"/>
              <a:gd name="connsiteY2" fmla="*/ 335437 h 670873"/>
              <a:gd name="connsiteX3" fmla="*/ 335437 w 670873"/>
              <a:gd name="connsiteY3" fmla="*/ 670874 h 670873"/>
              <a:gd name="connsiteX4" fmla="*/ 0 w 670873"/>
              <a:gd name="connsiteY4" fmla="*/ 335437 h 670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0873" h="670873">
                <a:moveTo>
                  <a:pt x="0" y="335437"/>
                </a:moveTo>
                <a:cubicBezTo>
                  <a:pt x="0" y="150180"/>
                  <a:pt x="150180" y="0"/>
                  <a:pt x="335437" y="0"/>
                </a:cubicBezTo>
                <a:cubicBezTo>
                  <a:pt x="520694" y="0"/>
                  <a:pt x="670874" y="150180"/>
                  <a:pt x="670874" y="335437"/>
                </a:cubicBezTo>
                <a:cubicBezTo>
                  <a:pt x="670874" y="520694"/>
                  <a:pt x="520694" y="670874"/>
                  <a:pt x="335437" y="670874"/>
                </a:cubicBezTo>
                <a:cubicBezTo>
                  <a:pt x="150180" y="670874"/>
                  <a:pt x="0" y="520694"/>
                  <a:pt x="0" y="335437"/>
                </a:cubicBezTo>
                <a:close/>
              </a:path>
            </a:pathLst>
          </a:custGeom>
          <a:solidFill>
            <a:schemeClr val="accent3"/>
          </a:solidFill>
          <a:ln w="28575">
            <a:solidFill>
              <a:schemeClr val="bg1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/>
          </a:p>
        </p:txBody>
      </p:sp>
      <p:sp>
        <p:nvSpPr>
          <p:cNvPr id="34" name="ïṣľïḍe">
            <a:extLst>
              <a:ext uri="{FF2B5EF4-FFF2-40B4-BE49-F238E27FC236}">
                <a16:creationId xmlns:a16="http://schemas.microsoft.com/office/drawing/2014/main" id="{A367CAF0-56D2-4432-B4F5-CB10621E446D}"/>
              </a:ext>
            </a:extLst>
          </p:cNvPr>
          <p:cNvSpPr/>
          <p:nvPr/>
        </p:nvSpPr>
        <p:spPr bwMode="auto">
          <a:xfrm>
            <a:off x="7879206" y="4820135"/>
            <a:ext cx="218762" cy="153725"/>
          </a:xfrm>
          <a:custGeom>
            <a:avLst/>
            <a:gdLst>
              <a:gd name="connsiteX0" fmla="*/ 450100 w 607639"/>
              <a:gd name="connsiteY0" fmla="*/ 313203 h 426991"/>
              <a:gd name="connsiteX1" fmla="*/ 450100 w 607639"/>
              <a:gd name="connsiteY1" fmla="*/ 403167 h 426991"/>
              <a:gd name="connsiteX2" fmla="*/ 585744 w 607639"/>
              <a:gd name="connsiteY2" fmla="*/ 403167 h 426991"/>
              <a:gd name="connsiteX3" fmla="*/ 586100 w 607639"/>
              <a:gd name="connsiteY3" fmla="*/ 313203 h 426991"/>
              <a:gd name="connsiteX4" fmla="*/ 530294 w 607639"/>
              <a:gd name="connsiteY4" fmla="*/ 313203 h 426991"/>
              <a:gd name="connsiteX5" fmla="*/ 530116 w 607639"/>
              <a:gd name="connsiteY5" fmla="*/ 313203 h 426991"/>
              <a:gd name="connsiteX6" fmla="*/ 529760 w 607639"/>
              <a:gd name="connsiteY6" fmla="*/ 313203 h 426991"/>
              <a:gd name="connsiteX7" fmla="*/ 450901 w 607639"/>
              <a:gd name="connsiteY7" fmla="*/ 313203 h 426991"/>
              <a:gd name="connsiteX8" fmla="*/ 236309 w 607639"/>
              <a:gd name="connsiteY8" fmla="*/ 313203 h 426991"/>
              <a:gd name="connsiteX9" fmla="*/ 236309 w 607639"/>
              <a:gd name="connsiteY9" fmla="*/ 403167 h 426991"/>
              <a:gd name="connsiteX10" fmla="*/ 371953 w 607639"/>
              <a:gd name="connsiteY10" fmla="*/ 403167 h 426991"/>
              <a:gd name="connsiteX11" fmla="*/ 372754 w 607639"/>
              <a:gd name="connsiteY11" fmla="*/ 313203 h 426991"/>
              <a:gd name="connsiteX12" fmla="*/ 237110 w 607639"/>
              <a:gd name="connsiteY12" fmla="*/ 313203 h 426991"/>
              <a:gd name="connsiteX13" fmla="*/ 22519 w 607639"/>
              <a:gd name="connsiteY13" fmla="*/ 313203 h 426991"/>
              <a:gd name="connsiteX14" fmla="*/ 22519 w 607639"/>
              <a:gd name="connsiteY14" fmla="*/ 403167 h 426991"/>
              <a:gd name="connsiteX15" fmla="*/ 158163 w 607639"/>
              <a:gd name="connsiteY15" fmla="*/ 403167 h 426991"/>
              <a:gd name="connsiteX16" fmla="*/ 158964 w 607639"/>
              <a:gd name="connsiteY16" fmla="*/ 313203 h 426991"/>
              <a:gd name="connsiteX17" fmla="*/ 91498 w 607639"/>
              <a:gd name="connsiteY17" fmla="*/ 313203 h 426991"/>
              <a:gd name="connsiteX18" fmla="*/ 91231 w 607639"/>
              <a:gd name="connsiteY18" fmla="*/ 313203 h 426991"/>
              <a:gd name="connsiteX19" fmla="*/ 90964 w 607639"/>
              <a:gd name="connsiteY19" fmla="*/ 313203 h 426991"/>
              <a:gd name="connsiteX20" fmla="*/ 23320 w 607639"/>
              <a:gd name="connsiteY20" fmla="*/ 313203 h 426991"/>
              <a:gd name="connsiteX21" fmla="*/ 91409 w 607639"/>
              <a:gd name="connsiteY21" fmla="*/ 224751 h 426991"/>
              <a:gd name="connsiteX22" fmla="*/ 530294 w 607639"/>
              <a:gd name="connsiteY22" fmla="*/ 224751 h 426991"/>
              <a:gd name="connsiteX23" fmla="*/ 540084 w 607639"/>
              <a:gd name="connsiteY23" fmla="*/ 234530 h 426991"/>
              <a:gd name="connsiteX24" fmla="*/ 540084 w 607639"/>
              <a:gd name="connsiteY24" fmla="*/ 292135 h 426991"/>
              <a:gd name="connsiteX25" fmla="*/ 586456 w 607639"/>
              <a:gd name="connsiteY25" fmla="*/ 292135 h 426991"/>
              <a:gd name="connsiteX26" fmla="*/ 607639 w 607639"/>
              <a:gd name="connsiteY26" fmla="*/ 313203 h 426991"/>
              <a:gd name="connsiteX27" fmla="*/ 607639 w 607639"/>
              <a:gd name="connsiteY27" fmla="*/ 403167 h 426991"/>
              <a:gd name="connsiteX28" fmla="*/ 586456 w 607639"/>
              <a:gd name="connsiteY28" fmla="*/ 426991 h 426991"/>
              <a:gd name="connsiteX29" fmla="*/ 451524 w 607639"/>
              <a:gd name="connsiteY29" fmla="*/ 426991 h 426991"/>
              <a:gd name="connsiteX30" fmla="*/ 427582 w 607639"/>
              <a:gd name="connsiteY30" fmla="*/ 403167 h 426991"/>
              <a:gd name="connsiteX31" fmla="*/ 427582 w 607639"/>
              <a:gd name="connsiteY31" fmla="*/ 313203 h 426991"/>
              <a:gd name="connsiteX32" fmla="*/ 451524 w 607639"/>
              <a:gd name="connsiteY32" fmla="*/ 292135 h 426991"/>
              <a:gd name="connsiteX33" fmla="*/ 517566 w 607639"/>
              <a:gd name="connsiteY33" fmla="*/ 292135 h 426991"/>
              <a:gd name="connsiteX34" fmla="*/ 517566 w 607639"/>
              <a:gd name="connsiteY34" fmla="*/ 247242 h 426991"/>
              <a:gd name="connsiteX35" fmla="*/ 315079 w 607639"/>
              <a:gd name="connsiteY35" fmla="*/ 247242 h 426991"/>
              <a:gd name="connsiteX36" fmla="*/ 315079 w 607639"/>
              <a:gd name="connsiteY36" fmla="*/ 292135 h 426991"/>
              <a:gd name="connsiteX37" fmla="*/ 372665 w 607639"/>
              <a:gd name="connsiteY37" fmla="*/ 292135 h 426991"/>
              <a:gd name="connsiteX38" fmla="*/ 393849 w 607639"/>
              <a:gd name="connsiteY38" fmla="*/ 313203 h 426991"/>
              <a:gd name="connsiteX39" fmla="*/ 393849 w 607639"/>
              <a:gd name="connsiteY39" fmla="*/ 403167 h 426991"/>
              <a:gd name="connsiteX40" fmla="*/ 372665 w 607639"/>
              <a:gd name="connsiteY40" fmla="*/ 426991 h 426991"/>
              <a:gd name="connsiteX41" fmla="*/ 237733 w 607639"/>
              <a:gd name="connsiteY41" fmla="*/ 426991 h 426991"/>
              <a:gd name="connsiteX42" fmla="*/ 213791 w 607639"/>
              <a:gd name="connsiteY42" fmla="*/ 403167 h 426991"/>
              <a:gd name="connsiteX43" fmla="*/ 213791 w 607639"/>
              <a:gd name="connsiteY43" fmla="*/ 313203 h 426991"/>
              <a:gd name="connsiteX44" fmla="*/ 237733 w 607639"/>
              <a:gd name="connsiteY44" fmla="*/ 292135 h 426991"/>
              <a:gd name="connsiteX45" fmla="*/ 292561 w 607639"/>
              <a:gd name="connsiteY45" fmla="*/ 292135 h 426991"/>
              <a:gd name="connsiteX46" fmla="*/ 292561 w 607639"/>
              <a:gd name="connsiteY46" fmla="*/ 247242 h 426991"/>
              <a:gd name="connsiteX47" fmla="*/ 101288 w 607639"/>
              <a:gd name="connsiteY47" fmla="*/ 247242 h 426991"/>
              <a:gd name="connsiteX48" fmla="*/ 101288 w 607639"/>
              <a:gd name="connsiteY48" fmla="*/ 292135 h 426991"/>
              <a:gd name="connsiteX49" fmla="*/ 158875 w 607639"/>
              <a:gd name="connsiteY49" fmla="*/ 292135 h 426991"/>
              <a:gd name="connsiteX50" fmla="*/ 180058 w 607639"/>
              <a:gd name="connsiteY50" fmla="*/ 313203 h 426991"/>
              <a:gd name="connsiteX51" fmla="*/ 180058 w 607639"/>
              <a:gd name="connsiteY51" fmla="*/ 403167 h 426991"/>
              <a:gd name="connsiteX52" fmla="*/ 158875 w 607639"/>
              <a:gd name="connsiteY52" fmla="*/ 426991 h 426991"/>
              <a:gd name="connsiteX53" fmla="*/ 24032 w 607639"/>
              <a:gd name="connsiteY53" fmla="*/ 426991 h 426991"/>
              <a:gd name="connsiteX54" fmla="*/ 0 w 607639"/>
              <a:gd name="connsiteY54" fmla="*/ 403167 h 426991"/>
              <a:gd name="connsiteX55" fmla="*/ 0 w 607639"/>
              <a:gd name="connsiteY55" fmla="*/ 313203 h 426991"/>
              <a:gd name="connsiteX56" fmla="*/ 24032 w 607639"/>
              <a:gd name="connsiteY56" fmla="*/ 292135 h 426991"/>
              <a:gd name="connsiteX57" fmla="*/ 78770 w 607639"/>
              <a:gd name="connsiteY57" fmla="*/ 292135 h 426991"/>
              <a:gd name="connsiteX58" fmla="*/ 78770 w 607639"/>
              <a:gd name="connsiteY58" fmla="*/ 234530 h 426991"/>
              <a:gd name="connsiteX59" fmla="*/ 91409 w 607639"/>
              <a:gd name="connsiteY59" fmla="*/ 224751 h 426991"/>
              <a:gd name="connsiteX60" fmla="*/ 236326 w 607639"/>
              <a:gd name="connsiteY60" fmla="*/ 21066 h 426991"/>
              <a:gd name="connsiteX61" fmla="*/ 236326 w 607639"/>
              <a:gd name="connsiteY61" fmla="*/ 111021 h 426991"/>
              <a:gd name="connsiteX62" fmla="*/ 371758 w 607639"/>
              <a:gd name="connsiteY62" fmla="*/ 111021 h 426991"/>
              <a:gd name="connsiteX63" fmla="*/ 372380 w 607639"/>
              <a:gd name="connsiteY63" fmla="*/ 21066 h 426991"/>
              <a:gd name="connsiteX64" fmla="*/ 237127 w 607639"/>
              <a:gd name="connsiteY64" fmla="*/ 21066 h 426991"/>
              <a:gd name="connsiteX65" fmla="*/ 237750 w 607639"/>
              <a:gd name="connsiteY65" fmla="*/ 0 h 426991"/>
              <a:gd name="connsiteX66" fmla="*/ 372647 w 607639"/>
              <a:gd name="connsiteY66" fmla="*/ 0 h 426991"/>
              <a:gd name="connsiteX67" fmla="*/ 393825 w 607639"/>
              <a:gd name="connsiteY67" fmla="*/ 21066 h 426991"/>
              <a:gd name="connsiteX68" fmla="*/ 393825 w 607639"/>
              <a:gd name="connsiteY68" fmla="*/ 111021 h 426991"/>
              <a:gd name="connsiteX69" fmla="*/ 372647 w 607639"/>
              <a:gd name="connsiteY69" fmla="*/ 134843 h 426991"/>
              <a:gd name="connsiteX70" fmla="*/ 315076 w 607639"/>
              <a:gd name="connsiteY70" fmla="*/ 134843 h 426991"/>
              <a:gd name="connsiteX71" fmla="*/ 315076 w 607639"/>
              <a:gd name="connsiteY71" fmla="*/ 191020 h 426991"/>
              <a:gd name="connsiteX72" fmla="*/ 292563 w 607639"/>
              <a:gd name="connsiteY72" fmla="*/ 191020 h 426991"/>
              <a:gd name="connsiteX73" fmla="*/ 292563 w 607639"/>
              <a:gd name="connsiteY73" fmla="*/ 134843 h 426991"/>
              <a:gd name="connsiteX74" fmla="*/ 237750 w 607639"/>
              <a:gd name="connsiteY74" fmla="*/ 134843 h 426991"/>
              <a:gd name="connsiteX75" fmla="*/ 213813 w 607639"/>
              <a:gd name="connsiteY75" fmla="*/ 111021 h 426991"/>
              <a:gd name="connsiteX76" fmla="*/ 213813 w 607639"/>
              <a:gd name="connsiteY76" fmla="*/ 21066 h 426991"/>
              <a:gd name="connsiteX77" fmla="*/ 237750 w 607639"/>
              <a:gd name="connsiteY77" fmla="*/ 0 h 4269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</a:cxnLst>
            <a:rect l="l" t="t" r="r" b="b"/>
            <a:pathLst>
              <a:path w="607639" h="426991">
                <a:moveTo>
                  <a:pt x="450100" y="313203"/>
                </a:moveTo>
                <a:lnTo>
                  <a:pt x="450100" y="403167"/>
                </a:lnTo>
                <a:lnTo>
                  <a:pt x="585744" y="403167"/>
                </a:lnTo>
                <a:lnTo>
                  <a:pt x="586100" y="313203"/>
                </a:lnTo>
                <a:lnTo>
                  <a:pt x="530294" y="313203"/>
                </a:lnTo>
                <a:cubicBezTo>
                  <a:pt x="530294" y="313203"/>
                  <a:pt x="530116" y="313203"/>
                  <a:pt x="530116" y="313203"/>
                </a:cubicBezTo>
                <a:cubicBezTo>
                  <a:pt x="530027" y="313203"/>
                  <a:pt x="529849" y="313203"/>
                  <a:pt x="529760" y="313203"/>
                </a:cubicBezTo>
                <a:lnTo>
                  <a:pt x="450901" y="313203"/>
                </a:lnTo>
                <a:close/>
                <a:moveTo>
                  <a:pt x="236309" y="313203"/>
                </a:moveTo>
                <a:lnTo>
                  <a:pt x="236309" y="403167"/>
                </a:lnTo>
                <a:lnTo>
                  <a:pt x="371953" y="403167"/>
                </a:lnTo>
                <a:lnTo>
                  <a:pt x="372754" y="313203"/>
                </a:lnTo>
                <a:lnTo>
                  <a:pt x="237110" y="313203"/>
                </a:lnTo>
                <a:close/>
                <a:moveTo>
                  <a:pt x="22519" y="313203"/>
                </a:moveTo>
                <a:lnTo>
                  <a:pt x="22519" y="403167"/>
                </a:lnTo>
                <a:lnTo>
                  <a:pt x="158163" y="403167"/>
                </a:lnTo>
                <a:lnTo>
                  <a:pt x="158964" y="313203"/>
                </a:lnTo>
                <a:lnTo>
                  <a:pt x="91498" y="313203"/>
                </a:lnTo>
                <a:cubicBezTo>
                  <a:pt x="91409" y="313203"/>
                  <a:pt x="91320" y="313203"/>
                  <a:pt x="91231" y="313203"/>
                </a:cubicBezTo>
                <a:cubicBezTo>
                  <a:pt x="91231" y="313203"/>
                  <a:pt x="90964" y="313203"/>
                  <a:pt x="90964" y="313203"/>
                </a:cubicBezTo>
                <a:lnTo>
                  <a:pt x="23320" y="313203"/>
                </a:lnTo>
                <a:close/>
                <a:moveTo>
                  <a:pt x="91409" y="224751"/>
                </a:moveTo>
                <a:lnTo>
                  <a:pt x="530294" y="224751"/>
                </a:lnTo>
                <a:cubicBezTo>
                  <a:pt x="536435" y="224751"/>
                  <a:pt x="540084" y="228396"/>
                  <a:pt x="540084" y="234530"/>
                </a:cubicBezTo>
                <a:lnTo>
                  <a:pt x="540084" y="292135"/>
                </a:lnTo>
                <a:lnTo>
                  <a:pt x="586456" y="292135"/>
                </a:lnTo>
                <a:cubicBezTo>
                  <a:pt x="598917" y="292135"/>
                  <a:pt x="607639" y="300847"/>
                  <a:pt x="607639" y="313203"/>
                </a:cubicBezTo>
                <a:lnTo>
                  <a:pt x="607639" y="403167"/>
                </a:lnTo>
                <a:cubicBezTo>
                  <a:pt x="607639" y="415524"/>
                  <a:pt x="598917" y="426991"/>
                  <a:pt x="586456" y="426991"/>
                </a:cubicBezTo>
                <a:lnTo>
                  <a:pt x="451524" y="426991"/>
                </a:lnTo>
                <a:cubicBezTo>
                  <a:pt x="439152" y="426991"/>
                  <a:pt x="427582" y="415524"/>
                  <a:pt x="427582" y="403167"/>
                </a:cubicBezTo>
                <a:lnTo>
                  <a:pt x="427582" y="313203"/>
                </a:lnTo>
                <a:cubicBezTo>
                  <a:pt x="427582" y="300847"/>
                  <a:pt x="439152" y="292135"/>
                  <a:pt x="451524" y="292135"/>
                </a:cubicBezTo>
                <a:lnTo>
                  <a:pt x="517566" y="292135"/>
                </a:lnTo>
                <a:lnTo>
                  <a:pt x="517566" y="247242"/>
                </a:lnTo>
                <a:lnTo>
                  <a:pt x="315079" y="247242"/>
                </a:lnTo>
                <a:lnTo>
                  <a:pt x="315079" y="292135"/>
                </a:lnTo>
                <a:lnTo>
                  <a:pt x="372665" y="292135"/>
                </a:lnTo>
                <a:cubicBezTo>
                  <a:pt x="385126" y="292135"/>
                  <a:pt x="393849" y="300847"/>
                  <a:pt x="393849" y="313203"/>
                </a:cubicBezTo>
                <a:lnTo>
                  <a:pt x="393849" y="403167"/>
                </a:lnTo>
                <a:cubicBezTo>
                  <a:pt x="393849" y="415524"/>
                  <a:pt x="385126" y="426991"/>
                  <a:pt x="372665" y="426991"/>
                </a:cubicBezTo>
                <a:lnTo>
                  <a:pt x="237733" y="426991"/>
                </a:lnTo>
                <a:cubicBezTo>
                  <a:pt x="225362" y="426991"/>
                  <a:pt x="213791" y="415524"/>
                  <a:pt x="213791" y="403167"/>
                </a:cubicBezTo>
                <a:lnTo>
                  <a:pt x="213791" y="313203"/>
                </a:lnTo>
                <a:cubicBezTo>
                  <a:pt x="213791" y="300847"/>
                  <a:pt x="225362" y="292135"/>
                  <a:pt x="237733" y="292135"/>
                </a:cubicBezTo>
                <a:lnTo>
                  <a:pt x="292561" y="292135"/>
                </a:lnTo>
                <a:lnTo>
                  <a:pt x="292561" y="247242"/>
                </a:lnTo>
                <a:lnTo>
                  <a:pt x="101288" y="247242"/>
                </a:lnTo>
                <a:lnTo>
                  <a:pt x="101288" y="292135"/>
                </a:lnTo>
                <a:lnTo>
                  <a:pt x="158875" y="292135"/>
                </a:lnTo>
                <a:cubicBezTo>
                  <a:pt x="171335" y="292135"/>
                  <a:pt x="180058" y="300847"/>
                  <a:pt x="180058" y="313203"/>
                </a:cubicBezTo>
                <a:lnTo>
                  <a:pt x="180058" y="403167"/>
                </a:lnTo>
                <a:cubicBezTo>
                  <a:pt x="180058" y="415524"/>
                  <a:pt x="171335" y="426991"/>
                  <a:pt x="158875" y="426991"/>
                </a:cubicBezTo>
                <a:lnTo>
                  <a:pt x="24032" y="426991"/>
                </a:lnTo>
                <a:cubicBezTo>
                  <a:pt x="11571" y="426991"/>
                  <a:pt x="0" y="415524"/>
                  <a:pt x="0" y="403167"/>
                </a:cubicBezTo>
                <a:lnTo>
                  <a:pt x="0" y="313203"/>
                </a:lnTo>
                <a:cubicBezTo>
                  <a:pt x="0" y="300847"/>
                  <a:pt x="11571" y="292135"/>
                  <a:pt x="24032" y="292135"/>
                </a:cubicBezTo>
                <a:lnTo>
                  <a:pt x="78770" y="292135"/>
                </a:lnTo>
                <a:lnTo>
                  <a:pt x="78770" y="234530"/>
                </a:lnTo>
                <a:cubicBezTo>
                  <a:pt x="78770" y="228396"/>
                  <a:pt x="85178" y="224751"/>
                  <a:pt x="91409" y="224751"/>
                </a:cubicBezTo>
                <a:close/>
                <a:moveTo>
                  <a:pt x="236326" y="21066"/>
                </a:moveTo>
                <a:lnTo>
                  <a:pt x="236326" y="111021"/>
                </a:lnTo>
                <a:lnTo>
                  <a:pt x="371758" y="111021"/>
                </a:lnTo>
                <a:lnTo>
                  <a:pt x="372380" y="21066"/>
                </a:lnTo>
                <a:lnTo>
                  <a:pt x="237127" y="21066"/>
                </a:lnTo>
                <a:close/>
                <a:moveTo>
                  <a:pt x="237750" y="0"/>
                </a:moveTo>
                <a:lnTo>
                  <a:pt x="372647" y="0"/>
                </a:lnTo>
                <a:cubicBezTo>
                  <a:pt x="385105" y="0"/>
                  <a:pt x="393825" y="8711"/>
                  <a:pt x="393825" y="21066"/>
                </a:cubicBezTo>
                <a:lnTo>
                  <a:pt x="393825" y="111021"/>
                </a:lnTo>
                <a:cubicBezTo>
                  <a:pt x="393825" y="123376"/>
                  <a:pt x="385105" y="134843"/>
                  <a:pt x="372647" y="134843"/>
                </a:cubicBezTo>
                <a:lnTo>
                  <a:pt x="315076" y="134843"/>
                </a:lnTo>
                <a:lnTo>
                  <a:pt x="315076" y="191020"/>
                </a:lnTo>
                <a:lnTo>
                  <a:pt x="292563" y="191020"/>
                </a:lnTo>
                <a:lnTo>
                  <a:pt x="292563" y="134843"/>
                </a:lnTo>
                <a:lnTo>
                  <a:pt x="237750" y="134843"/>
                </a:lnTo>
                <a:cubicBezTo>
                  <a:pt x="225381" y="134843"/>
                  <a:pt x="213813" y="123376"/>
                  <a:pt x="213813" y="111021"/>
                </a:cubicBezTo>
                <a:lnTo>
                  <a:pt x="213813" y="21066"/>
                </a:lnTo>
                <a:cubicBezTo>
                  <a:pt x="213813" y="8711"/>
                  <a:pt x="225381" y="0"/>
                  <a:pt x="23775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anchor="ctr"/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/>
          </a:p>
        </p:txBody>
      </p:sp>
      <p:sp>
        <p:nvSpPr>
          <p:cNvPr id="15" name="iŝḷiḑè">
            <a:extLst>
              <a:ext uri="{FF2B5EF4-FFF2-40B4-BE49-F238E27FC236}">
                <a16:creationId xmlns:a16="http://schemas.microsoft.com/office/drawing/2014/main" id="{BE102F15-C771-427E-9836-8A867A0CC00C}"/>
              </a:ext>
            </a:extLst>
          </p:cNvPr>
          <p:cNvSpPr txBox="1"/>
          <p:nvPr/>
        </p:nvSpPr>
        <p:spPr>
          <a:xfrm>
            <a:off x="7423375" y="5147311"/>
            <a:ext cx="1130424" cy="386922"/>
          </a:xfrm>
          <a:prstGeom prst="rect">
            <a:avLst/>
          </a:prstGeom>
          <a:noFill/>
        </p:spPr>
        <p:txBody>
          <a:bodyPr wrap="none" lIns="90000" tIns="46800" rIns="90000" bIns="46800" rtlCol="0" anchor="ctr" anchorCtr="0">
            <a:normAutofit/>
          </a:bodyPr>
          <a:lstStyle/>
          <a:p>
            <a:pPr algn="ctr"/>
            <a:r>
              <a:rPr lang="zh-CN" altLang="en-US" sz="1400" b="1" dirty="0">
                <a:solidFill>
                  <a:schemeClr val="bg1"/>
                </a:solidFill>
              </a:rPr>
              <a:t>关键词</a:t>
            </a:r>
          </a:p>
        </p:txBody>
      </p:sp>
      <p:sp>
        <p:nvSpPr>
          <p:cNvPr id="31" name="îṩľïḋè">
            <a:extLst>
              <a:ext uri="{FF2B5EF4-FFF2-40B4-BE49-F238E27FC236}">
                <a16:creationId xmlns:a16="http://schemas.microsoft.com/office/drawing/2014/main" id="{A1E6C1AC-B536-481D-A62F-CEC1DE01448B}"/>
              </a:ext>
            </a:extLst>
          </p:cNvPr>
          <p:cNvSpPr/>
          <p:nvPr/>
        </p:nvSpPr>
        <p:spPr>
          <a:xfrm>
            <a:off x="9875817" y="4317798"/>
            <a:ext cx="522378" cy="522378"/>
          </a:xfrm>
          <a:custGeom>
            <a:avLst/>
            <a:gdLst>
              <a:gd name="connsiteX0" fmla="*/ 0 w 670873"/>
              <a:gd name="connsiteY0" fmla="*/ 335437 h 670873"/>
              <a:gd name="connsiteX1" fmla="*/ 335437 w 670873"/>
              <a:gd name="connsiteY1" fmla="*/ 0 h 670873"/>
              <a:gd name="connsiteX2" fmla="*/ 670874 w 670873"/>
              <a:gd name="connsiteY2" fmla="*/ 335437 h 670873"/>
              <a:gd name="connsiteX3" fmla="*/ 335437 w 670873"/>
              <a:gd name="connsiteY3" fmla="*/ 670874 h 670873"/>
              <a:gd name="connsiteX4" fmla="*/ 0 w 670873"/>
              <a:gd name="connsiteY4" fmla="*/ 335437 h 670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0873" h="670873">
                <a:moveTo>
                  <a:pt x="0" y="335437"/>
                </a:moveTo>
                <a:cubicBezTo>
                  <a:pt x="0" y="150180"/>
                  <a:pt x="150180" y="0"/>
                  <a:pt x="335437" y="0"/>
                </a:cubicBezTo>
                <a:cubicBezTo>
                  <a:pt x="520694" y="0"/>
                  <a:pt x="670874" y="150180"/>
                  <a:pt x="670874" y="335437"/>
                </a:cubicBezTo>
                <a:cubicBezTo>
                  <a:pt x="670874" y="520694"/>
                  <a:pt x="520694" y="670874"/>
                  <a:pt x="335437" y="670874"/>
                </a:cubicBezTo>
                <a:cubicBezTo>
                  <a:pt x="150180" y="670874"/>
                  <a:pt x="0" y="520694"/>
                  <a:pt x="0" y="335437"/>
                </a:cubicBezTo>
                <a:close/>
              </a:path>
            </a:pathLst>
          </a:custGeom>
          <a:solidFill>
            <a:schemeClr val="accent3"/>
          </a:solidFill>
          <a:ln w="28575">
            <a:solidFill>
              <a:schemeClr val="bg1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/>
          </a:p>
        </p:txBody>
      </p:sp>
      <p:sp>
        <p:nvSpPr>
          <p:cNvPr id="32" name="iş1ïḍè">
            <a:extLst>
              <a:ext uri="{FF2B5EF4-FFF2-40B4-BE49-F238E27FC236}">
                <a16:creationId xmlns:a16="http://schemas.microsoft.com/office/drawing/2014/main" id="{3DF6EDFA-1BE6-43AF-9FCE-A604AA0BA74D}"/>
              </a:ext>
            </a:extLst>
          </p:cNvPr>
          <p:cNvSpPr/>
          <p:nvPr/>
        </p:nvSpPr>
        <p:spPr bwMode="auto">
          <a:xfrm>
            <a:off x="9990717" y="4479161"/>
            <a:ext cx="292579" cy="199650"/>
          </a:xfrm>
          <a:custGeom>
            <a:avLst/>
            <a:gdLst>
              <a:gd name="connsiteX0" fmla="*/ 20293 w 607639"/>
              <a:gd name="connsiteY0" fmla="*/ 364067 h 414642"/>
              <a:gd name="connsiteX1" fmla="*/ 20293 w 607639"/>
              <a:gd name="connsiteY1" fmla="*/ 384244 h 414642"/>
              <a:gd name="connsiteX2" fmla="*/ 30351 w 607639"/>
              <a:gd name="connsiteY2" fmla="*/ 394377 h 414642"/>
              <a:gd name="connsiteX3" fmla="*/ 577199 w 607639"/>
              <a:gd name="connsiteY3" fmla="*/ 394377 h 414642"/>
              <a:gd name="connsiteX4" fmla="*/ 587346 w 607639"/>
              <a:gd name="connsiteY4" fmla="*/ 384244 h 414642"/>
              <a:gd name="connsiteX5" fmla="*/ 587346 w 607639"/>
              <a:gd name="connsiteY5" fmla="*/ 364067 h 414642"/>
              <a:gd name="connsiteX6" fmla="*/ 556995 w 607639"/>
              <a:gd name="connsiteY6" fmla="*/ 364067 h 414642"/>
              <a:gd name="connsiteX7" fmla="*/ 394916 w 607639"/>
              <a:gd name="connsiteY7" fmla="*/ 364067 h 414642"/>
              <a:gd name="connsiteX8" fmla="*/ 394916 w 607639"/>
              <a:gd name="connsiteY8" fmla="*/ 374200 h 414642"/>
              <a:gd name="connsiteX9" fmla="*/ 384859 w 607639"/>
              <a:gd name="connsiteY9" fmla="*/ 384244 h 414642"/>
              <a:gd name="connsiteX10" fmla="*/ 222780 w 607639"/>
              <a:gd name="connsiteY10" fmla="*/ 384244 h 414642"/>
              <a:gd name="connsiteX11" fmla="*/ 212634 w 607639"/>
              <a:gd name="connsiteY11" fmla="*/ 374200 h 414642"/>
              <a:gd name="connsiteX12" fmla="*/ 212634 w 607639"/>
              <a:gd name="connsiteY12" fmla="*/ 364067 h 414642"/>
              <a:gd name="connsiteX13" fmla="*/ 50644 w 607639"/>
              <a:gd name="connsiteY13" fmla="*/ 364067 h 414642"/>
              <a:gd name="connsiteX14" fmla="*/ 263288 w 607639"/>
              <a:gd name="connsiteY14" fmla="*/ 252811 h 414642"/>
              <a:gd name="connsiteX15" fmla="*/ 243084 w 607639"/>
              <a:gd name="connsiteY15" fmla="*/ 273078 h 414642"/>
              <a:gd name="connsiteX16" fmla="*/ 263288 w 607639"/>
              <a:gd name="connsiteY16" fmla="*/ 293255 h 414642"/>
              <a:gd name="connsiteX17" fmla="*/ 283580 w 607639"/>
              <a:gd name="connsiteY17" fmla="*/ 273078 h 414642"/>
              <a:gd name="connsiteX18" fmla="*/ 278685 w 607639"/>
              <a:gd name="connsiteY18" fmla="*/ 260011 h 414642"/>
              <a:gd name="connsiteX19" fmla="*/ 277528 w 607639"/>
              <a:gd name="connsiteY19" fmla="*/ 258944 h 414642"/>
              <a:gd name="connsiteX20" fmla="*/ 276549 w 607639"/>
              <a:gd name="connsiteY20" fmla="*/ 257789 h 414642"/>
              <a:gd name="connsiteX21" fmla="*/ 263288 w 607639"/>
              <a:gd name="connsiteY21" fmla="*/ 252811 h 414642"/>
              <a:gd name="connsiteX22" fmla="*/ 121505 w 607639"/>
              <a:gd name="connsiteY22" fmla="*/ 252811 h 414642"/>
              <a:gd name="connsiteX23" fmla="*/ 101302 w 607639"/>
              <a:gd name="connsiteY23" fmla="*/ 273078 h 414642"/>
              <a:gd name="connsiteX24" fmla="*/ 121505 w 607639"/>
              <a:gd name="connsiteY24" fmla="*/ 293255 h 414642"/>
              <a:gd name="connsiteX25" fmla="*/ 141798 w 607639"/>
              <a:gd name="connsiteY25" fmla="*/ 273078 h 414642"/>
              <a:gd name="connsiteX26" fmla="*/ 121505 w 607639"/>
              <a:gd name="connsiteY26" fmla="*/ 252811 h 414642"/>
              <a:gd name="connsiteX27" fmla="*/ 486063 w 607639"/>
              <a:gd name="connsiteY27" fmla="*/ 232633 h 414642"/>
              <a:gd name="connsiteX28" fmla="*/ 465859 w 607639"/>
              <a:gd name="connsiteY28" fmla="*/ 252811 h 414642"/>
              <a:gd name="connsiteX29" fmla="*/ 486063 w 607639"/>
              <a:gd name="connsiteY29" fmla="*/ 273078 h 414642"/>
              <a:gd name="connsiteX30" fmla="*/ 506355 w 607639"/>
              <a:gd name="connsiteY30" fmla="*/ 252811 h 414642"/>
              <a:gd name="connsiteX31" fmla="*/ 486063 w 607639"/>
              <a:gd name="connsiteY31" fmla="*/ 232633 h 414642"/>
              <a:gd name="connsiteX32" fmla="*/ 192441 w 607639"/>
              <a:gd name="connsiteY32" fmla="*/ 182056 h 414642"/>
              <a:gd name="connsiteX33" fmla="*/ 172148 w 607639"/>
              <a:gd name="connsiteY33" fmla="*/ 202233 h 414642"/>
              <a:gd name="connsiteX34" fmla="*/ 192441 w 607639"/>
              <a:gd name="connsiteY34" fmla="*/ 222500 h 414642"/>
              <a:gd name="connsiteX35" fmla="*/ 212645 w 607639"/>
              <a:gd name="connsiteY35" fmla="*/ 202233 h 414642"/>
              <a:gd name="connsiteX36" fmla="*/ 192441 w 607639"/>
              <a:gd name="connsiteY36" fmla="*/ 182056 h 414642"/>
              <a:gd name="connsiteX37" fmla="*/ 394923 w 607639"/>
              <a:gd name="connsiteY37" fmla="*/ 131478 h 414642"/>
              <a:gd name="connsiteX38" fmla="*/ 374720 w 607639"/>
              <a:gd name="connsiteY38" fmla="*/ 151744 h 414642"/>
              <a:gd name="connsiteX39" fmla="*/ 394923 w 607639"/>
              <a:gd name="connsiteY39" fmla="*/ 171922 h 414642"/>
              <a:gd name="connsiteX40" fmla="*/ 415216 w 607639"/>
              <a:gd name="connsiteY40" fmla="*/ 151744 h 414642"/>
              <a:gd name="connsiteX41" fmla="*/ 394923 w 607639"/>
              <a:gd name="connsiteY41" fmla="*/ 131478 h 414642"/>
              <a:gd name="connsiteX42" fmla="*/ 394923 w 607639"/>
              <a:gd name="connsiteY42" fmla="*/ 111211 h 414642"/>
              <a:gd name="connsiteX43" fmla="*/ 435420 w 607639"/>
              <a:gd name="connsiteY43" fmla="*/ 151744 h 414642"/>
              <a:gd name="connsiteX44" fmla="*/ 433106 w 607639"/>
              <a:gd name="connsiteY44" fmla="*/ 165344 h 414642"/>
              <a:gd name="connsiteX45" fmla="*/ 472979 w 607639"/>
              <a:gd name="connsiteY45" fmla="*/ 214589 h 414642"/>
              <a:gd name="connsiteX46" fmla="*/ 486063 w 607639"/>
              <a:gd name="connsiteY46" fmla="*/ 212367 h 414642"/>
              <a:gd name="connsiteX47" fmla="*/ 526559 w 607639"/>
              <a:gd name="connsiteY47" fmla="*/ 252811 h 414642"/>
              <a:gd name="connsiteX48" fmla="*/ 486063 w 607639"/>
              <a:gd name="connsiteY48" fmla="*/ 293255 h 414642"/>
              <a:gd name="connsiteX49" fmla="*/ 445566 w 607639"/>
              <a:gd name="connsiteY49" fmla="*/ 252811 h 414642"/>
              <a:gd name="connsiteX50" fmla="*/ 456157 w 607639"/>
              <a:gd name="connsiteY50" fmla="*/ 225700 h 414642"/>
              <a:gd name="connsiteX51" fmla="*/ 421090 w 607639"/>
              <a:gd name="connsiteY51" fmla="*/ 182500 h 414642"/>
              <a:gd name="connsiteX52" fmla="*/ 394923 w 607639"/>
              <a:gd name="connsiteY52" fmla="*/ 192189 h 414642"/>
              <a:gd name="connsiteX53" fmla="*/ 368489 w 607639"/>
              <a:gd name="connsiteY53" fmla="*/ 182233 h 414642"/>
              <a:gd name="connsiteX54" fmla="*/ 298088 w 607639"/>
              <a:gd name="connsiteY54" fmla="*/ 252455 h 414642"/>
              <a:gd name="connsiteX55" fmla="*/ 303784 w 607639"/>
              <a:gd name="connsiteY55" fmla="*/ 273078 h 414642"/>
              <a:gd name="connsiteX56" fmla="*/ 263288 w 607639"/>
              <a:gd name="connsiteY56" fmla="*/ 313522 h 414642"/>
              <a:gd name="connsiteX57" fmla="*/ 222791 w 607639"/>
              <a:gd name="connsiteY57" fmla="*/ 273078 h 414642"/>
              <a:gd name="connsiteX58" fmla="*/ 232759 w 607639"/>
              <a:gd name="connsiteY58" fmla="*/ 246589 h 414642"/>
              <a:gd name="connsiteX59" fmla="*/ 218964 w 607639"/>
              <a:gd name="connsiteY59" fmla="*/ 232811 h 414642"/>
              <a:gd name="connsiteX60" fmla="*/ 192441 w 607639"/>
              <a:gd name="connsiteY60" fmla="*/ 242767 h 414642"/>
              <a:gd name="connsiteX61" fmla="*/ 165918 w 607639"/>
              <a:gd name="connsiteY61" fmla="*/ 232811 h 414642"/>
              <a:gd name="connsiteX62" fmla="*/ 152123 w 607639"/>
              <a:gd name="connsiteY62" fmla="*/ 246589 h 414642"/>
              <a:gd name="connsiteX63" fmla="*/ 162002 w 607639"/>
              <a:gd name="connsiteY63" fmla="*/ 273078 h 414642"/>
              <a:gd name="connsiteX64" fmla="*/ 121505 w 607639"/>
              <a:gd name="connsiteY64" fmla="*/ 313522 h 414642"/>
              <a:gd name="connsiteX65" fmla="*/ 81009 w 607639"/>
              <a:gd name="connsiteY65" fmla="*/ 273078 h 414642"/>
              <a:gd name="connsiteX66" fmla="*/ 121505 w 607639"/>
              <a:gd name="connsiteY66" fmla="*/ 232633 h 414642"/>
              <a:gd name="connsiteX67" fmla="*/ 136013 w 607639"/>
              <a:gd name="connsiteY67" fmla="*/ 235300 h 414642"/>
              <a:gd name="connsiteX68" fmla="*/ 154615 w 607639"/>
              <a:gd name="connsiteY68" fmla="*/ 216722 h 414642"/>
              <a:gd name="connsiteX69" fmla="*/ 151945 w 607639"/>
              <a:gd name="connsiteY69" fmla="*/ 202233 h 414642"/>
              <a:gd name="connsiteX70" fmla="*/ 192441 w 607639"/>
              <a:gd name="connsiteY70" fmla="*/ 161789 h 414642"/>
              <a:gd name="connsiteX71" fmla="*/ 232937 w 607639"/>
              <a:gd name="connsiteY71" fmla="*/ 202233 h 414642"/>
              <a:gd name="connsiteX72" fmla="*/ 230534 w 607639"/>
              <a:gd name="connsiteY72" fmla="*/ 216011 h 414642"/>
              <a:gd name="connsiteX73" fmla="*/ 249492 w 607639"/>
              <a:gd name="connsiteY73" fmla="*/ 235033 h 414642"/>
              <a:gd name="connsiteX74" fmla="*/ 263288 w 607639"/>
              <a:gd name="connsiteY74" fmla="*/ 232633 h 414642"/>
              <a:gd name="connsiteX75" fmla="*/ 283936 w 607639"/>
              <a:gd name="connsiteY75" fmla="*/ 238322 h 414642"/>
              <a:gd name="connsiteX76" fmla="*/ 356830 w 607639"/>
              <a:gd name="connsiteY76" fmla="*/ 165433 h 414642"/>
              <a:gd name="connsiteX77" fmla="*/ 354427 w 607639"/>
              <a:gd name="connsiteY77" fmla="*/ 151744 h 414642"/>
              <a:gd name="connsiteX78" fmla="*/ 394923 w 607639"/>
              <a:gd name="connsiteY78" fmla="*/ 111211 h 414642"/>
              <a:gd name="connsiteX79" fmla="*/ 324090 w 607639"/>
              <a:gd name="connsiteY79" fmla="*/ 80938 h 414642"/>
              <a:gd name="connsiteX80" fmla="*/ 334234 w 607639"/>
              <a:gd name="connsiteY80" fmla="*/ 80938 h 414642"/>
              <a:gd name="connsiteX81" fmla="*/ 344289 w 607639"/>
              <a:gd name="connsiteY81" fmla="*/ 91064 h 414642"/>
              <a:gd name="connsiteX82" fmla="*/ 334234 w 607639"/>
              <a:gd name="connsiteY82" fmla="*/ 101190 h 414642"/>
              <a:gd name="connsiteX83" fmla="*/ 324090 w 607639"/>
              <a:gd name="connsiteY83" fmla="*/ 101190 h 414642"/>
              <a:gd name="connsiteX84" fmla="*/ 313946 w 607639"/>
              <a:gd name="connsiteY84" fmla="*/ 91064 h 414642"/>
              <a:gd name="connsiteX85" fmla="*/ 324090 w 607639"/>
              <a:gd name="connsiteY85" fmla="*/ 80938 h 414642"/>
              <a:gd name="connsiteX86" fmla="*/ 192417 w 607639"/>
              <a:gd name="connsiteY86" fmla="*/ 80938 h 414642"/>
              <a:gd name="connsiteX87" fmla="*/ 283548 w 607639"/>
              <a:gd name="connsiteY87" fmla="*/ 80938 h 414642"/>
              <a:gd name="connsiteX88" fmla="*/ 293694 w 607639"/>
              <a:gd name="connsiteY88" fmla="*/ 91064 h 414642"/>
              <a:gd name="connsiteX89" fmla="*/ 283548 w 607639"/>
              <a:gd name="connsiteY89" fmla="*/ 101190 h 414642"/>
              <a:gd name="connsiteX90" fmla="*/ 192417 w 607639"/>
              <a:gd name="connsiteY90" fmla="*/ 101190 h 414642"/>
              <a:gd name="connsiteX91" fmla="*/ 182271 w 607639"/>
              <a:gd name="connsiteY91" fmla="*/ 91064 h 414642"/>
              <a:gd name="connsiteX92" fmla="*/ 192417 w 607639"/>
              <a:gd name="connsiteY92" fmla="*/ 80938 h 414642"/>
              <a:gd name="connsiteX93" fmla="*/ 91157 w 607639"/>
              <a:gd name="connsiteY93" fmla="*/ 80938 h 414642"/>
              <a:gd name="connsiteX94" fmla="*/ 151959 w 607639"/>
              <a:gd name="connsiteY94" fmla="*/ 80938 h 414642"/>
              <a:gd name="connsiteX95" fmla="*/ 162018 w 607639"/>
              <a:gd name="connsiteY95" fmla="*/ 91064 h 414642"/>
              <a:gd name="connsiteX96" fmla="*/ 151959 w 607639"/>
              <a:gd name="connsiteY96" fmla="*/ 101190 h 414642"/>
              <a:gd name="connsiteX97" fmla="*/ 91157 w 607639"/>
              <a:gd name="connsiteY97" fmla="*/ 101190 h 414642"/>
              <a:gd name="connsiteX98" fmla="*/ 81009 w 607639"/>
              <a:gd name="connsiteY98" fmla="*/ 91064 h 414642"/>
              <a:gd name="connsiteX99" fmla="*/ 91157 w 607639"/>
              <a:gd name="connsiteY99" fmla="*/ 80938 h 414642"/>
              <a:gd name="connsiteX100" fmla="*/ 243084 w 607639"/>
              <a:gd name="connsiteY100" fmla="*/ 40505 h 414642"/>
              <a:gd name="connsiteX101" fmla="*/ 334231 w 607639"/>
              <a:gd name="connsiteY101" fmla="*/ 40505 h 414642"/>
              <a:gd name="connsiteX102" fmla="*/ 344289 w 607639"/>
              <a:gd name="connsiteY102" fmla="*/ 50631 h 414642"/>
              <a:gd name="connsiteX103" fmla="*/ 334231 w 607639"/>
              <a:gd name="connsiteY103" fmla="*/ 60757 h 414642"/>
              <a:gd name="connsiteX104" fmla="*/ 243084 w 607639"/>
              <a:gd name="connsiteY104" fmla="*/ 60757 h 414642"/>
              <a:gd name="connsiteX105" fmla="*/ 232937 w 607639"/>
              <a:gd name="connsiteY105" fmla="*/ 50631 h 414642"/>
              <a:gd name="connsiteX106" fmla="*/ 243084 w 607639"/>
              <a:gd name="connsiteY106" fmla="*/ 40505 h 414642"/>
              <a:gd name="connsiteX107" fmla="*/ 91153 w 607639"/>
              <a:gd name="connsiteY107" fmla="*/ 40505 h 414642"/>
              <a:gd name="connsiteX108" fmla="*/ 202559 w 607639"/>
              <a:gd name="connsiteY108" fmla="*/ 40505 h 414642"/>
              <a:gd name="connsiteX109" fmla="*/ 212614 w 607639"/>
              <a:gd name="connsiteY109" fmla="*/ 50631 h 414642"/>
              <a:gd name="connsiteX110" fmla="*/ 202559 w 607639"/>
              <a:gd name="connsiteY110" fmla="*/ 60757 h 414642"/>
              <a:gd name="connsiteX111" fmla="*/ 91153 w 607639"/>
              <a:gd name="connsiteY111" fmla="*/ 60757 h 414642"/>
              <a:gd name="connsiteX112" fmla="*/ 81009 w 607639"/>
              <a:gd name="connsiteY112" fmla="*/ 50631 h 414642"/>
              <a:gd name="connsiteX113" fmla="*/ 91153 w 607639"/>
              <a:gd name="connsiteY113" fmla="*/ 40505 h 414642"/>
              <a:gd name="connsiteX114" fmla="*/ 70848 w 607639"/>
              <a:gd name="connsiteY114" fmla="*/ 20176 h 414642"/>
              <a:gd name="connsiteX115" fmla="*/ 60791 w 607639"/>
              <a:gd name="connsiteY115" fmla="*/ 30309 h 414642"/>
              <a:gd name="connsiteX116" fmla="*/ 60791 w 607639"/>
              <a:gd name="connsiteY116" fmla="*/ 343802 h 414642"/>
              <a:gd name="connsiteX117" fmla="*/ 222780 w 607639"/>
              <a:gd name="connsiteY117" fmla="*/ 343802 h 414642"/>
              <a:gd name="connsiteX118" fmla="*/ 232927 w 607639"/>
              <a:gd name="connsiteY118" fmla="*/ 353935 h 414642"/>
              <a:gd name="connsiteX119" fmla="*/ 232927 w 607639"/>
              <a:gd name="connsiteY119" fmla="*/ 364067 h 414642"/>
              <a:gd name="connsiteX120" fmla="*/ 374712 w 607639"/>
              <a:gd name="connsiteY120" fmla="*/ 364067 h 414642"/>
              <a:gd name="connsiteX121" fmla="*/ 374712 w 607639"/>
              <a:gd name="connsiteY121" fmla="*/ 353935 h 414642"/>
              <a:gd name="connsiteX122" fmla="*/ 384859 w 607639"/>
              <a:gd name="connsiteY122" fmla="*/ 343802 h 414642"/>
              <a:gd name="connsiteX123" fmla="*/ 546848 w 607639"/>
              <a:gd name="connsiteY123" fmla="*/ 343802 h 414642"/>
              <a:gd name="connsiteX124" fmla="*/ 546848 w 607639"/>
              <a:gd name="connsiteY124" fmla="*/ 30309 h 414642"/>
              <a:gd name="connsiteX125" fmla="*/ 536702 w 607639"/>
              <a:gd name="connsiteY125" fmla="*/ 20176 h 414642"/>
              <a:gd name="connsiteX126" fmla="*/ 70848 w 607639"/>
              <a:gd name="connsiteY126" fmla="*/ 0 h 414642"/>
              <a:gd name="connsiteX127" fmla="*/ 536702 w 607639"/>
              <a:gd name="connsiteY127" fmla="*/ 0 h 414642"/>
              <a:gd name="connsiteX128" fmla="*/ 567142 w 607639"/>
              <a:gd name="connsiteY128" fmla="*/ 30309 h 414642"/>
              <a:gd name="connsiteX129" fmla="*/ 567142 w 607639"/>
              <a:gd name="connsiteY129" fmla="*/ 343802 h 414642"/>
              <a:gd name="connsiteX130" fmla="*/ 597492 w 607639"/>
              <a:gd name="connsiteY130" fmla="*/ 343802 h 414642"/>
              <a:gd name="connsiteX131" fmla="*/ 607639 w 607639"/>
              <a:gd name="connsiteY131" fmla="*/ 353935 h 414642"/>
              <a:gd name="connsiteX132" fmla="*/ 607639 w 607639"/>
              <a:gd name="connsiteY132" fmla="*/ 384244 h 414642"/>
              <a:gd name="connsiteX133" fmla="*/ 577199 w 607639"/>
              <a:gd name="connsiteY133" fmla="*/ 414642 h 414642"/>
              <a:gd name="connsiteX134" fmla="*/ 30351 w 607639"/>
              <a:gd name="connsiteY134" fmla="*/ 414642 h 414642"/>
              <a:gd name="connsiteX135" fmla="*/ 0 w 607639"/>
              <a:gd name="connsiteY135" fmla="*/ 384244 h 414642"/>
              <a:gd name="connsiteX136" fmla="*/ 0 w 607639"/>
              <a:gd name="connsiteY136" fmla="*/ 353935 h 414642"/>
              <a:gd name="connsiteX137" fmla="*/ 10147 w 607639"/>
              <a:gd name="connsiteY137" fmla="*/ 343802 h 414642"/>
              <a:gd name="connsiteX138" fmla="*/ 40497 w 607639"/>
              <a:gd name="connsiteY138" fmla="*/ 343802 h 414642"/>
              <a:gd name="connsiteX139" fmla="*/ 40497 w 607639"/>
              <a:gd name="connsiteY139" fmla="*/ 30309 h 414642"/>
              <a:gd name="connsiteX140" fmla="*/ 70848 w 607639"/>
              <a:gd name="connsiteY140" fmla="*/ 0 h 4146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</a:cxnLst>
            <a:rect l="l" t="t" r="r" b="b"/>
            <a:pathLst>
              <a:path w="607639" h="414642">
                <a:moveTo>
                  <a:pt x="20293" y="364067"/>
                </a:moveTo>
                <a:lnTo>
                  <a:pt x="20293" y="384244"/>
                </a:lnTo>
                <a:cubicBezTo>
                  <a:pt x="20293" y="390377"/>
                  <a:pt x="24298" y="394377"/>
                  <a:pt x="30351" y="394377"/>
                </a:cubicBezTo>
                <a:lnTo>
                  <a:pt x="577199" y="394377"/>
                </a:lnTo>
                <a:cubicBezTo>
                  <a:pt x="583341" y="394377"/>
                  <a:pt x="587346" y="390377"/>
                  <a:pt x="587346" y="384244"/>
                </a:cubicBezTo>
                <a:lnTo>
                  <a:pt x="587346" y="364067"/>
                </a:lnTo>
                <a:lnTo>
                  <a:pt x="556995" y="364067"/>
                </a:lnTo>
                <a:lnTo>
                  <a:pt x="394916" y="364067"/>
                </a:lnTo>
                <a:lnTo>
                  <a:pt x="394916" y="374200"/>
                </a:lnTo>
                <a:cubicBezTo>
                  <a:pt x="394916" y="380244"/>
                  <a:pt x="390911" y="384244"/>
                  <a:pt x="384859" y="384244"/>
                </a:cubicBezTo>
                <a:lnTo>
                  <a:pt x="222780" y="384244"/>
                </a:lnTo>
                <a:cubicBezTo>
                  <a:pt x="216728" y="384244"/>
                  <a:pt x="212634" y="380244"/>
                  <a:pt x="212634" y="374200"/>
                </a:cubicBezTo>
                <a:lnTo>
                  <a:pt x="212634" y="364067"/>
                </a:lnTo>
                <a:lnTo>
                  <a:pt x="50644" y="364067"/>
                </a:lnTo>
                <a:close/>
                <a:moveTo>
                  <a:pt x="263288" y="252811"/>
                </a:moveTo>
                <a:cubicBezTo>
                  <a:pt x="252162" y="252811"/>
                  <a:pt x="243084" y="261967"/>
                  <a:pt x="243084" y="273078"/>
                </a:cubicBezTo>
                <a:cubicBezTo>
                  <a:pt x="243084" y="284189"/>
                  <a:pt x="252162" y="293255"/>
                  <a:pt x="263288" y="293255"/>
                </a:cubicBezTo>
                <a:cubicBezTo>
                  <a:pt x="274413" y="293255"/>
                  <a:pt x="283580" y="284189"/>
                  <a:pt x="283580" y="273078"/>
                </a:cubicBezTo>
                <a:cubicBezTo>
                  <a:pt x="283580" y="268100"/>
                  <a:pt x="281711" y="263567"/>
                  <a:pt x="278685" y="260011"/>
                </a:cubicBezTo>
                <a:cubicBezTo>
                  <a:pt x="278329" y="259655"/>
                  <a:pt x="277884" y="259300"/>
                  <a:pt x="277528" y="258944"/>
                </a:cubicBezTo>
                <a:cubicBezTo>
                  <a:pt x="277172" y="258589"/>
                  <a:pt x="276816" y="258144"/>
                  <a:pt x="276549" y="257789"/>
                </a:cubicBezTo>
                <a:cubicBezTo>
                  <a:pt x="272989" y="254678"/>
                  <a:pt x="268361" y="252811"/>
                  <a:pt x="263288" y="252811"/>
                </a:cubicBezTo>
                <a:close/>
                <a:moveTo>
                  <a:pt x="121505" y="252811"/>
                </a:moveTo>
                <a:cubicBezTo>
                  <a:pt x="110380" y="252811"/>
                  <a:pt x="101302" y="261967"/>
                  <a:pt x="101302" y="273078"/>
                </a:cubicBezTo>
                <a:cubicBezTo>
                  <a:pt x="101302" y="284189"/>
                  <a:pt x="110380" y="293255"/>
                  <a:pt x="121505" y="293255"/>
                </a:cubicBezTo>
                <a:cubicBezTo>
                  <a:pt x="132631" y="293255"/>
                  <a:pt x="141798" y="284189"/>
                  <a:pt x="141798" y="273078"/>
                </a:cubicBezTo>
                <a:cubicBezTo>
                  <a:pt x="141798" y="261967"/>
                  <a:pt x="132631" y="252811"/>
                  <a:pt x="121505" y="252811"/>
                </a:cubicBezTo>
                <a:close/>
                <a:moveTo>
                  <a:pt x="486063" y="232633"/>
                </a:moveTo>
                <a:cubicBezTo>
                  <a:pt x="474937" y="232633"/>
                  <a:pt x="465859" y="241700"/>
                  <a:pt x="465859" y="252811"/>
                </a:cubicBezTo>
                <a:cubicBezTo>
                  <a:pt x="465859" y="263922"/>
                  <a:pt x="474937" y="273078"/>
                  <a:pt x="486063" y="273078"/>
                </a:cubicBezTo>
                <a:cubicBezTo>
                  <a:pt x="497188" y="273078"/>
                  <a:pt x="506355" y="263922"/>
                  <a:pt x="506355" y="252811"/>
                </a:cubicBezTo>
                <a:cubicBezTo>
                  <a:pt x="506355" y="241700"/>
                  <a:pt x="497188" y="232633"/>
                  <a:pt x="486063" y="232633"/>
                </a:cubicBezTo>
                <a:close/>
                <a:moveTo>
                  <a:pt x="192441" y="182056"/>
                </a:moveTo>
                <a:cubicBezTo>
                  <a:pt x="181316" y="182056"/>
                  <a:pt x="172148" y="191122"/>
                  <a:pt x="172148" y="202233"/>
                </a:cubicBezTo>
                <a:cubicBezTo>
                  <a:pt x="172148" y="213433"/>
                  <a:pt x="181316" y="222500"/>
                  <a:pt x="192441" y="222500"/>
                </a:cubicBezTo>
                <a:cubicBezTo>
                  <a:pt x="203566" y="222500"/>
                  <a:pt x="212645" y="213433"/>
                  <a:pt x="212645" y="202233"/>
                </a:cubicBezTo>
                <a:cubicBezTo>
                  <a:pt x="212645" y="191122"/>
                  <a:pt x="203566" y="182056"/>
                  <a:pt x="192441" y="182056"/>
                </a:cubicBezTo>
                <a:close/>
                <a:moveTo>
                  <a:pt x="394923" y="131478"/>
                </a:moveTo>
                <a:cubicBezTo>
                  <a:pt x="383798" y="131478"/>
                  <a:pt x="374720" y="140544"/>
                  <a:pt x="374720" y="151744"/>
                </a:cubicBezTo>
                <a:cubicBezTo>
                  <a:pt x="374720" y="162856"/>
                  <a:pt x="383798" y="171922"/>
                  <a:pt x="394923" y="171922"/>
                </a:cubicBezTo>
                <a:cubicBezTo>
                  <a:pt x="406049" y="171922"/>
                  <a:pt x="415216" y="162856"/>
                  <a:pt x="415216" y="151744"/>
                </a:cubicBezTo>
                <a:cubicBezTo>
                  <a:pt x="415216" y="140544"/>
                  <a:pt x="406049" y="131478"/>
                  <a:pt x="394923" y="131478"/>
                </a:cubicBezTo>
                <a:close/>
                <a:moveTo>
                  <a:pt x="394923" y="111211"/>
                </a:moveTo>
                <a:cubicBezTo>
                  <a:pt x="417263" y="111211"/>
                  <a:pt x="435420" y="129433"/>
                  <a:pt x="435420" y="151744"/>
                </a:cubicBezTo>
                <a:cubicBezTo>
                  <a:pt x="435420" y="156456"/>
                  <a:pt x="434619" y="161078"/>
                  <a:pt x="433106" y="165344"/>
                </a:cubicBezTo>
                <a:lnTo>
                  <a:pt x="472979" y="214589"/>
                </a:lnTo>
                <a:cubicBezTo>
                  <a:pt x="477162" y="213167"/>
                  <a:pt x="481523" y="212367"/>
                  <a:pt x="486063" y="212367"/>
                </a:cubicBezTo>
                <a:cubicBezTo>
                  <a:pt x="508402" y="212367"/>
                  <a:pt x="526559" y="230589"/>
                  <a:pt x="526559" y="252811"/>
                </a:cubicBezTo>
                <a:cubicBezTo>
                  <a:pt x="526559" y="275122"/>
                  <a:pt x="508402" y="293255"/>
                  <a:pt x="486063" y="293255"/>
                </a:cubicBezTo>
                <a:cubicBezTo>
                  <a:pt x="463812" y="293255"/>
                  <a:pt x="445566" y="275122"/>
                  <a:pt x="445566" y="252811"/>
                </a:cubicBezTo>
                <a:cubicBezTo>
                  <a:pt x="445566" y="242411"/>
                  <a:pt x="449571" y="232900"/>
                  <a:pt x="456157" y="225700"/>
                </a:cubicBezTo>
                <a:lnTo>
                  <a:pt x="421090" y="182500"/>
                </a:lnTo>
                <a:cubicBezTo>
                  <a:pt x="414059" y="188544"/>
                  <a:pt x="404892" y="192189"/>
                  <a:pt x="394923" y="192189"/>
                </a:cubicBezTo>
                <a:cubicBezTo>
                  <a:pt x="384866" y="192189"/>
                  <a:pt x="375610" y="188367"/>
                  <a:pt x="368489" y="182233"/>
                </a:cubicBezTo>
                <a:lnTo>
                  <a:pt x="298088" y="252455"/>
                </a:lnTo>
                <a:cubicBezTo>
                  <a:pt x="301737" y="258500"/>
                  <a:pt x="303784" y="265522"/>
                  <a:pt x="303784" y="273078"/>
                </a:cubicBezTo>
                <a:cubicBezTo>
                  <a:pt x="303784" y="295300"/>
                  <a:pt x="285627" y="313522"/>
                  <a:pt x="263288" y="313522"/>
                </a:cubicBezTo>
                <a:cubicBezTo>
                  <a:pt x="241037" y="313522"/>
                  <a:pt x="222791" y="295300"/>
                  <a:pt x="222791" y="273078"/>
                </a:cubicBezTo>
                <a:cubicBezTo>
                  <a:pt x="222791" y="262944"/>
                  <a:pt x="226529" y="253700"/>
                  <a:pt x="232759" y="246589"/>
                </a:cubicBezTo>
                <a:lnTo>
                  <a:pt x="218964" y="232811"/>
                </a:lnTo>
                <a:cubicBezTo>
                  <a:pt x="211844" y="238944"/>
                  <a:pt x="202498" y="242767"/>
                  <a:pt x="192441" y="242767"/>
                </a:cubicBezTo>
                <a:cubicBezTo>
                  <a:pt x="182295" y="242767"/>
                  <a:pt x="173038" y="238944"/>
                  <a:pt x="165918" y="232811"/>
                </a:cubicBezTo>
                <a:lnTo>
                  <a:pt x="152123" y="246589"/>
                </a:lnTo>
                <a:cubicBezTo>
                  <a:pt x="158264" y="253700"/>
                  <a:pt x="162002" y="262944"/>
                  <a:pt x="162002" y="273078"/>
                </a:cubicBezTo>
                <a:cubicBezTo>
                  <a:pt x="162002" y="295300"/>
                  <a:pt x="143845" y="313522"/>
                  <a:pt x="121505" y="313522"/>
                </a:cubicBezTo>
                <a:cubicBezTo>
                  <a:pt x="99255" y="313522"/>
                  <a:pt x="81009" y="295300"/>
                  <a:pt x="81009" y="273078"/>
                </a:cubicBezTo>
                <a:cubicBezTo>
                  <a:pt x="81009" y="250856"/>
                  <a:pt x="99255" y="232633"/>
                  <a:pt x="121505" y="232633"/>
                </a:cubicBezTo>
                <a:cubicBezTo>
                  <a:pt x="126668" y="232633"/>
                  <a:pt x="131563" y="233611"/>
                  <a:pt x="136013" y="235300"/>
                </a:cubicBezTo>
                <a:lnTo>
                  <a:pt x="154615" y="216722"/>
                </a:lnTo>
                <a:cubicBezTo>
                  <a:pt x="152924" y="212278"/>
                  <a:pt x="151945" y="207389"/>
                  <a:pt x="151945" y="202233"/>
                </a:cubicBezTo>
                <a:cubicBezTo>
                  <a:pt x="151945" y="180011"/>
                  <a:pt x="170101" y="161789"/>
                  <a:pt x="192441" y="161789"/>
                </a:cubicBezTo>
                <a:cubicBezTo>
                  <a:pt x="214692" y="161789"/>
                  <a:pt x="232937" y="180011"/>
                  <a:pt x="232937" y="202233"/>
                </a:cubicBezTo>
                <a:cubicBezTo>
                  <a:pt x="232937" y="207122"/>
                  <a:pt x="232047" y="211744"/>
                  <a:pt x="230534" y="216011"/>
                </a:cubicBezTo>
                <a:lnTo>
                  <a:pt x="249492" y="235033"/>
                </a:lnTo>
                <a:cubicBezTo>
                  <a:pt x="253853" y="233433"/>
                  <a:pt x="258481" y="232633"/>
                  <a:pt x="263288" y="232633"/>
                </a:cubicBezTo>
                <a:cubicBezTo>
                  <a:pt x="270853" y="232633"/>
                  <a:pt x="277884" y="234678"/>
                  <a:pt x="283936" y="238322"/>
                </a:cubicBezTo>
                <a:lnTo>
                  <a:pt x="356830" y="165433"/>
                </a:lnTo>
                <a:cubicBezTo>
                  <a:pt x="355317" y="161167"/>
                  <a:pt x="354427" y="156544"/>
                  <a:pt x="354427" y="151744"/>
                </a:cubicBezTo>
                <a:cubicBezTo>
                  <a:pt x="354427" y="129433"/>
                  <a:pt x="372672" y="111211"/>
                  <a:pt x="394923" y="111211"/>
                </a:cubicBezTo>
                <a:close/>
                <a:moveTo>
                  <a:pt x="324090" y="80938"/>
                </a:moveTo>
                <a:lnTo>
                  <a:pt x="334234" y="80938"/>
                </a:lnTo>
                <a:cubicBezTo>
                  <a:pt x="340285" y="80938"/>
                  <a:pt x="344289" y="85024"/>
                  <a:pt x="344289" y="91064"/>
                </a:cubicBezTo>
                <a:cubicBezTo>
                  <a:pt x="344289" y="97104"/>
                  <a:pt x="340285" y="101190"/>
                  <a:pt x="334234" y="101190"/>
                </a:cubicBezTo>
                <a:lnTo>
                  <a:pt x="324090" y="101190"/>
                </a:lnTo>
                <a:cubicBezTo>
                  <a:pt x="318039" y="101190"/>
                  <a:pt x="313946" y="97104"/>
                  <a:pt x="313946" y="91064"/>
                </a:cubicBezTo>
                <a:cubicBezTo>
                  <a:pt x="313946" y="85024"/>
                  <a:pt x="318039" y="80938"/>
                  <a:pt x="324090" y="80938"/>
                </a:cubicBezTo>
                <a:close/>
                <a:moveTo>
                  <a:pt x="192417" y="80938"/>
                </a:moveTo>
                <a:lnTo>
                  <a:pt x="283548" y="80938"/>
                </a:lnTo>
                <a:cubicBezTo>
                  <a:pt x="289600" y="80938"/>
                  <a:pt x="293694" y="85024"/>
                  <a:pt x="293694" y="91064"/>
                </a:cubicBezTo>
                <a:cubicBezTo>
                  <a:pt x="293694" y="97104"/>
                  <a:pt x="289600" y="101190"/>
                  <a:pt x="283548" y="101190"/>
                </a:cubicBezTo>
                <a:lnTo>
                  <a:pt x="192417" y="101190"/>
                </a:lnTo>
                <a:cubicBezTo>
                  <a:pt x="186365" y="101190"/>
                  <a:pt x="182271" y="97104"/>
                  <a:pt x="182271" y="91064"/>
                </a:cubicBezTo>
                <a:cubicBezTo>
                  <a:pt x="182271" y="85024"/>
                  <a:pt x="186365" y="80938"/>
                  <a:pt x="192417" y="80938"/>
                </a:cubicBezTo>
                <a:close/>
                <a:moveTo>
                  <a:pt x="91157" y="80938"/>
                </a:moveTo>
                <a:lnTo>
                  <a:pt x="151959" y="80938"/>
                </a:lnTo>
                <a:cubicBezTo>
                  <a:pt x="158012" y="80938"/>
                  <a:pt x="162018" y="85024"/>
                  <a:pt x="162018" y="91064"/>
                </a:cubicBezTo>
                <a:cubicBezTo>
                  <a:pt x="162018" y="97104"/>
                  <a:pt x="158012" y="101190"/>
                  <a:pt x="151959" y="101190"/>
                </a:cubicBezTo>
                <a:lnTo>
                  <a:pt x="91157" y="101190"/>
                </a:lnTo>
                <a:cubicBezTo>
                  <a:pt x="85104" y="101190"/>
                  <a:pt x="81009" y="97104"/>
                  <a:pt x="81009" y="91064"/>
                </a:cubicBezTo>
                <a:cubicBezTo>
                  <a:pt x="81009" y="85024"/>
                  <a:pt x="85104" y="80938"/>
                  <a:pt x="91157" y="80938"/>
                </a:cubicBezTo>
                <a:close/>
                <a:moveTo>
                  <a:pt x="243084" y="40505"/>
                </a:moveTo>
                <a:lnTo>
                  <a:pt x="334231" y="40505"/>
                </a:lnTo>
                <a:cubicBezTo>
                  <a:pt x="340284" y="40505"/>
                  <a:pt x="344289" y="44591"/>
                  <a:pt x="344289" y="50631"/>
                </a:cubicBezTo>
                <a:cubicBezTo>
                  <a:pt x="344289" y="56671"/>
                  <a:pt x="340284" y="60757"/>
                  <a:pt x="334231" y="60757"/>
                </a:cubicBezTo>
                <a:lnTo>
                  <a:pt x="243084" y="60757"/>
                </a:lnTo>
                <a:cubicBezTo>
                  <a:pt x="236942" y="60757"/>
                  <a:pt x="232937" y="56671"/>
                  <a:pt x="232937" y="50631"/>
                </a:cubicBezTo>
                <a:cubicBezTo>
                  <a:pt x="232937" y="44591"/>
                  <a:pt x="236942" y="40505"/>
                  <a:pt x="243084" y="40505"/>
                </a:cubicBezTo>
                <a:close/>
                <a:moveTo>
                  <a:pt x="91153" y="40505"/>
                </a:moveTo>
                <a:lnTo>
                  <a:pt x="202559" y="40505"/>
                </a:lnTo>
                <a:cubicBezTo>
                  <a:pt x="208610" y="40505"/>
                  <a:pt x="212614" y="44591"/>
                  <a:pt x="212614" y="50631"/>
                </a:cubicBezTo>
                <a:cubicBezTo>
                  <a:pt x="212614" y="56671"/>
                  <a:pt x="208610" y="60757"/>
                  <a:pt x="202559" y="60757"/>
                </a:cubicBezTo>
                <a:lnTo>
                  <a:pt x="91153" y="60757"/>
                </a:lnTo>
                <a:cubicBezTo>
                  <a:pt x="85102" y="60757"/>
                  <a:pt x="81009" y="56671"/>
                  <a:pt x="81009" y="50631"/>
                </a:cubicBezTo>
                <a:cubicBezTo>
                  <a:pt x="81009" y="44591"/>
                  <a:pt x="85102" y="40505"/>
                  <a:pt x="91153" y="40505"/>
                </a:cubicBezTo>
                <a:close/>
                <a:moveTo>
                  <a:pt x="70848" y="20176"/>
                </a:moveTo>
                <a:cubicBezTo>
                  <a:pt x="64796" y="20176"/>
                  <a:pt x="60791" y="24265"/>
                  <a:pt x="60791" y="30309"/>
                </a:cubicBezTo>
                <a:lnTo>
                  <a:pt x="60791" y="343802"/>
                </a:lnTo>
                <a:lnTo>
                  <a:pt x="222780" y="343802"/>
                </a:lnTo>
                <a:cubicBezTo>
                  <a:pt x="228833" y="343802"/>
                  <a:pt x="232927" y="347891"/>
                  <a:pt x="232927" y="353935"/>
                </a:cubicBezTo>
                <a:lnTo>
                  <a:pt x="232927" y="364067"/>
                </a:lnTo>
                <a:lnTo>
                  <a:pt x="374712" y="364067"/>
                </a:lnTo>
                <a:lnTo>
                  <a:pt x="374712" y="353935"/>
                </a:lnTo>
                <a:cubicBezTo>
                  <a:pt x="374712" y="347891"/>
                  <a:pt x="378717" y="343802"/>
                  <a:pt x="384859" y="343802"/>
                </a:cubicBezTo>
                <a:lnTo>
                  <a:pt x="546848" y="343802"/>
                </a:lnTo>
                <a:lnTo>
                  <a:pt x="546848" y="30309"/>
                </a:lnTo>
                <a:cubicBezTo>
                  <a:pt x="546848" y="24265"/>
                  <a:pt x="542754" y="20176"/>
                  <a:pt x="536702" y="20176"/>
                </a:cubicBezTo>
                <a:close/>
                <a:moveTo>
                  <a:pt x="70848" y="0"/>
                </a:moveTo>
                <a:lnTo>
                  <a:pt x="536702" y="0"/>
                </a:lnTo>
                <a:cubicBezTo>
                  <a:pt x="553969" y="0"/>
                  <a:pt x="567142" y="13155"/>
                  <a:pt x="567142" y="30309"/>
                </a:cubicBezTo>
                <a:lnTo>
                  <a:pt x="567142" y="343802"/>
                </a:lnTo>
                <a:lnTo>
                  <a:pt x="597492" y="343802"/>
                </a:lnTo>
                <a:cubicBezTo>
                  <a:pt x="603545" y="343802"/>
                  <a:pt x="607639" y="347891"/>
                  <a:pt x="607639" y="353935"/>
                </a:cubicBezTo>
                <a:lnTo>
                  <a:pt x="607639" y="384244"/>
                </a:lnTo>
                <a:cubicBezTo>
                  <a:pt x="607639" y="401487"/>
                  <a:pt x="594466" y="414642"/>
                  <a:pt x="577199" y="414642"/>
                </a:cubicBezTo>
                <a:lnTo>
                  <a:pt x="30351" y="414642"/>
                </a:lnTo>
                <a:cubicBezTo>
                  <a:pt x="13173" y="414642"/>
                  <a:pt x="0" y="401487"/>
                  <a:pt x="0" y="384244"/>
                </a:cubicBezTo>
                <a:lnTo>
                  <a:pt x="0" y="353935"/>
                </a:lnTo>
                <a:cubicBezTo>
                  <a:pt x="0" y="347891"/>
                  <a:pt x="4094" y="343802"/>
                  <a:pt x="10147" y="343802"/>
                </a:cubicBezTo>
                <a:lnTo>
                  <a:pt x="40497" y="343802"/>
                </a:lnTo>
                <a:lnTo>
                  <a:pt x="40497" y="30309"/>
                </a:lnTo>
                <a:cubicBezTo>
                  <a:pt x="40497" y="13155"/>
                  <a:pt x="53670" y="0"/>
                  <a:pt x="70848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anchor="ctr"/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/>
          </a:p>
        </p:txBody>
      </p:sp>
      <p:sp>
        <p:nvSpPr>
          <p:cNvPr id="30" name="ïṧ1iďê">
            <a:extLst>
              <a:ext uri="{FF2B5EF4-FFF2-40B4-BE49-F238E27FC236}">
                <a16:creationId xmlns:a16="http://schemas.microsoft.com/office/drawing/2014/main" id="{1ACE4160-9BCF-4810-B72C-AF9336DD9C95}"/>
              </a:ext>
            </a:extLst>
          </p:cNvPr>
          <p:cNvSpPr txBox="1"/>
          <p:nvPr/>
        </p:nvSpPr>
        <p:spPr>
          <a:xfrm>
            <a:off x="9571794" y="4875931"/>
            <a:ext cx="1130424" cy="386922"/>
          </a:xfrm>
          <a:prstGeom prst="rect">
            <a:avLst/>
          </a:prstGeom>
          <a:noFill/>
        </p:spPr>
        <p:txBody>
          <a:bodyPr wrap="none" lIns="90000" tIns="46800" rIns="90000" bIns="46800" rtlCol="0" anchor="ctr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zh-CN" altLang="en-US" sz="1400" b="1" dirty="0">
                <a:solidFill>
                  <a:schemeClr val="bg1"/>
                </a:solidFill>
              </a:rPr>
              <a:t>关键词</a:t>
            </a:r>
          </a:p>
        </p:txBody>
      </p:sp>
      <p:sp>
        <p:nvSpPr>
          <p:cNvPr id="27" name="ïśḻïḍe">
            <a:extLst>
              <a:ext uri="{FF2B5EF4-FFF2-40B4-BE49-F238E27FC236}">
                <a16:creationId xmlns:a16="http://schemas.microsoft.com/office/drawing/2014/main" id="{1E924C85-6C1E-4A4E-8843-796E6CBF911D}"/>
              </a:ext>
            </a:extLst>
          </p:cNvPr>
          <p:cNvSpPr>
            <a:spLocks/>
          </p:cNvSpPr>
          <p:nvPr/>
        </p:nvSpPr>
        <p:spPr bwMode="auto">
          <a:xfrm>
            <a:off x="3731538" y="2860443"/>
            <a:ext cx="2164253" cy="5573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9000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zh-CN" altLang="en-US" sz="1000" dirty="0"/>
              <a:t>此部分内容作为文字排版占位显示</a:t>
            </a:r>
            <a:br>
              <a:rPr lang="en-US" altLang="zh-CN" sz="1000" dirty="0"/>
            </a:br>
            <a:r>
              <a:rPr lang="zh-CN" altLang="en-US" sz="1000" dirty="0"/>
              <a:t> （建议使用主题字体）</a:t>
            </a:r>
            <a:endParaRPr lang="en-US" altLang="zh-CN" sz="1000" dirty="0"/>
          </a:p>
        </p:txBody>
      </p:sp>
      <p:sp>
        <p:nvSpPr>
          <p:cNvPr id="28" name="î$ḷiḋe">
            <a:extLst>
              <a:ext uri="{FF2B5EF4-FFF2-40B4-BE49-F238E27FC236}">
                <a16:creationId xmlns:a16="http://schemas.microsoft.com/office/drawing/2014/main" id="{51BD58D6-491D-445D-87D7-191AAE8926B8}"/>
              </a:ext>
            </a:extLst>
          </p:cNvPr>
          <p:cNvSpPr txBox="1">
            <a:spLocks/>
          </p:cNvSpPr>
          <p:nvPr/>
        </p:nvSpPr>
        <p:spPr bwMode="auto">
          <a:xfrm>
            <a:off x="3731538" y="2509304"/>
            <a:ext cx="2164253" cy="3511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0000">
            <a:normAutofit lnSpcReduction="10000"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1800" b="1" dirty="0">
                <a:solidFill>
                  <a:schemeClr val="accent3"/>
                </a:solidFill>
              </a:rPr>
              <a:t>标题文本预设</a:t>
            </a:r>
            <a:endParaRPr lang="en-US" altLang="zh-CN" sz="1800" b="1" dirty="0">
              <a:solidFill>
                <a:schemeClr val="accent3"/>
              </a:solidFill>
            </a:endParaRPr>
          </a:p>
        </p:txBody>
      </p:sp>
      <p:sp>
        <p:nvSpPr>
          <p:cNvPr id="25" name="ïṡļïďe">
            <a:extLst>
              <a:ext uri="{FF2B5EF4-FFF2-40B4-BE49-F238E27FC236}">
                <a16:creationId xmlns:a16="http://schemas.microsoft.com/office/drawing/2014/main" id="{61342975-8509-4ABB-B778-3192BEFCBE06}"/>
              </a:ext>
            </a:extLst>
          </p:cNvPr>
          <p:cNvSpPr>
            <a:spLocks/>
          </p:cNvSpPr>
          <p:nvPr/>
        </p:nvSpPr>
        <p:spPr bwMode="auto">
          <a:xfrm>
            <a:off x="6409504" y="2860443"/>
            <a:ext cx="2164253" cy="5573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9000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zh-CN" altLang="en-US" sz="1000" dirty="0"/>
              <a:t>此部分内容作为文字排版占位显示</a:t>
            </a:r>
            <a:br>
              <a:rPr lang="en-US" altLang="zh-CN" sz="1000" dirty="0"/>
            </a:br>
            <a:r>
              <a:rPr lang="zh-CN" altLang="en-US" sz="1000" dirty="0"/>
              <a:t> （建议使用主题字体）</a:t>
            </a:r>
            <a:endParaRPr lang="en-US" altLang="zh-CN" sz="1000" dirty="0"/>
          </a:p>
        </p:txBody>
      </p:sp>
      <p:sp>
        <p:nvSpPr>
          <p:cNvPr id="26" name="ïš1ïďe">
            <a:extLst>
              <a:ext uri="{FF2B5EF4-FFF2-40B4-BE49-F238E27FC236}">
                <a16:creationId xmlns:a16="http://schemas.microsoft.com/office/drawing/2014/main" id="{DD62D9CF-D8A6-4C16-9FCE-5E0EC632B1BF}"/>
              </a:ext>
            </a:extLst>
          </p:cNvPr>
          <p:cNvSpPr txBox="1">
            <a:spLocks/>
          </p:cNvSpPr>
          <p:nvPr/>
        </p:nvSpPr>
        <p:spPr bwMode="auto">
          <a:xfrm>
            <a:off x="6409504" y="2509304"/>
            <a:ext cx="2164253" cy="3511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0000">
            <a:normAutofit lnSpcReduction="10000"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1800" b="1" dirty="0">
                <a:solidFill>
                  <a:schemeClr val="accent3"/>
                </a:solidFill>
              </a:rPr>
              <a:t>标题文本预设</a:t>
            </a:r>
            <a:endParaRPr lang="en-US" altLang="zh-CN" sz="1800" b="1" dirty="0">
              <a:solidFill>
                <a:schemeClr val="accent3"/>
              </a:solidFill>
            </a:endParaRPr>
          </a:p>
        </p:txBody>
      </p:sp>
      <p:sp>
        <p:nvSpPr>
          <p:cNvPr id="23" name="îS1ïḋé">
            <a:extLst>
              <a:ext uri="{FF2B5EF4-FFF2-40B4-BE49-F238E27FC236}">
                <a16:creationId xmlns:a16="http://schemas.microsoft.com/office/drawing/2014/main" id="{78AB5590-133B-4FF3-9B98-7D4D0CCE707D}"/>
              </a:ext>
            </a:extLst>
          </p:cNvPr>
          <p:cNvSpPr>
            <a:spLocks/>
          </p:cNvSpPr>
          <p:nvPr/>
        </p:nvSpPr>
        <p:spPr bwMode="auto">
          <a:xfrm>
            <a:off x="9316068" y="2860443"/>
            <a:ext cx="2164253" cy="5573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9000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zh-CN" altLang="en-US" sz="1000" dirty="0"/>
              <a:t>此部分内容作为文字排版占位显示</a:t>
            </a:r>
            <a:br>
              <a:rPr lang="en-US" altLang="zh-CN" sz="1000" dirty="0"/>
            </a:br>
            <a:r>
              <a:rPr lang="zh-CN" altLang="en-US" sz="1000" dirty="0"/>
              <a:t> （建议使用主题字体）</a:t>
            </a:r>
            <a:endParaRPr lang="en-US" altLang="zh-CN" sz="1000" dirty="0"/>
          </a:p>
        </p:txBody>
      </p:sp>
      <p:sp>
        <p:nvSpPr>
          <p:cNvPr id="24" name="iSḷïḍè">
            <a:extLst>
              <a:ext uri="{FF2B5EF4-FFF2-40B4-BE49-F238E27FC236}">
                <a16:creationId xmlns:a16="http://schemas.microsoft.com/office/drawing/2014/main" id="{4A1A74F4-5E4C-49C0-BFD7-331753799E5B}"/>
              </a:ext>
            </a:extLst>
          </p:cNvPr>
          <p:cNvSpPr txBox="1">
            <a:spLocks/>
          </p:cNvSpPr>
          <p:nvPr/>
        </p:nvSpPr>
        <p:spPr bwMode="auto">
          <a:xfrm>
            <a:off x="9316068" y="2509304"/>
            <a:ext cx="2164253" cy="3511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0000">
            <a:normAutofit lnSpcReduction="10000"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1800" b="1" dirty="0">
                <a:solidFill>
                  <a:schemeClr val="accent3"/>
                </a:solidFill>
              </a:rPr>
              <a:t>标题文本预设</a:t>
            </a:r>
            <a:endParaRPr lang="en-US" altLang="zh-CN" sz="1800" b="1" dirty="0">
              <a:solidFill>
                <a:schemeClr val="accent3"/>
              </a:solidFill>
            </a:endParaRPr>
          </a:p>
        </p:txBody>
      </p:sp>
      <p:cxnSp>
        <p:nvCxnSpPr>
          <p:cNvPr id="20" name="直接连接符 19">
            <a:extLst>
              <a:ext uri="{FF2B5EF4-FFF2-40B4-BE49-F238E27FC236}">
                <a16:creationId xmlns:a16="http://schemas.microsoft.com/office/drawing/2014/main" id="{21E33E2C-F416-445C-8144-EB3AABFAF538}"/>
              </a:ext>
            </a:extLst>
          </p:cNvPr>
          <p:cNvCxnSpPr>
            <a:cxnSpLocks/>
          </p:cNvCxnSpPr>
          <p:nvPr/>
        </p:nvCxnSpPr>
        <p:spPr>
          <a:xfrm>
            <a:off x="6049414" y="2509304"/>
            <a:ext cx="0" cy="884213"/>
          </a:xfrm>
          <a:prstGeom prst="line">
            <a:avLst/>
          </a:prstGeom>
          <a:ln w="3175" cap="rnd">
            <a:solidFill>
              <a:schemeClr val="bg1">
                <a:lumMod val="8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直接连接符 20">
            <a:extLst>
              <a:ext uri="{FF2B5EF4-FFF2-40B4-BE49-F238E27FC236}">
                <a16:creationId xmlns:a16="http://schemas.microsoft.com/office/drawing/2014/main" id="{1796DE5D-3A53-445F-98FE-93E87323520A}"/>
              </a:ext>
            </a:extLst>
          </p:cNvPr>
          <p:cNvCxnSpPr>
            <a:cxnSpLocks/>
          </p:cNvCxnSpPr>
          <p:nvPr/>
        </p:nvCxnSpPr>
        <p:spPr>
          <a:xfrm>
            <a:off x="9001742" y="2509304"/>
            <a:ext cx="0" cy="893357"/>
          </a:xfrm>
          <a:prstGeom prst="line">
            <a:avLst/>
          </a:prstGeom>
          <a:ln w="3175" cap="rnd">
            <a:solidFill>
              <a:schemeClr val="bg1">
                <a:lumMod val="8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>
            <a:extLst>
              <a:ext uri="{FF2B5EF4-FFF2-40B4-BE49-F238E27FC236}">
                <a16:creationId xmlns:a16="http://schemas.microsoft.com/office/drawing/2014/main" id="{389F7909-BF36-4823-8015-BC3D80C0F239}"/>
              </a:ext>
            </a:extLst>
          </p:cNvPr>
          <p:cNvCxnSpPr>
            <a:cxnSpLocks/>
          </p:cNvCxnSpPr>
          <p:nvPr/>
        </p:nvCxnSpPr>
        <p:spPr>
          <a:xfrm>
            <a:off x="3689078" y="1195296"/>
            <a:ext cx="0" cy="2207365"/>
          </a:xfrm>
          <a:prstGeom prst="line">
            <a:avLst/>
          </a:prstGeom>
          <a:ln w="3175" cap="rnd">
            <a:solidFill>
              <a:schemeClr val="bg1">
                <a:lumMod val="8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0054594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7D16B849-FEF0-4A41-9C2F-42374B16CE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0686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3E6631AF-A28B-4308-B046-C23DD0B5CA3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32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6384924" y="2618245"/>
            <a:ext cx="5135564" cy="1621509"/>
          </a:xfrm>
        </p:spPr>
        <p:txBody>
          <a:bodyPr/>
          <a:lstStyle/>
          <a:p>
            <a:r>
              <a:rPr lang="en-US" altLang="zh-CN" dirty="0"/>
              <a:t>Thanks.</a:t>
            </a:r>
            <a:br>
              <a:rPr lang="en-US" altLang="zh-CN" dirty="0"/>
            </a:br>
            <a:r>
              <a:rPr lang="en-US" altLang="zh-CN" dirty="0"/>
              <a:t>And Your Slogan Here.</a:t>
            </a:r>
            <a:endParaRPr lang="zh-CN" altLang="en-US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8"/>
          </p:nvPr>
        </p:nvSpPr>
        <p:spPr>
          <a:xfrm>
            <a:off x="6384924" y="4924481"/>
            <a:ext cx="5135564" cy="310871"/>
          </a:xfrm>
        </p:spPr>
        <p:txBody>
          <a:bodyPr/>
          <a:lstStyle/>
          <a:p>
            <a:r>
              <a:rPr lang="en-US" altLang="zh-CN" dirty="0"/>
              <a:t>mba.guet.edu.cn</a:t>
            </a:r>
            <a:endParaRPr lang="en-US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6384925" y="4628210"/>
            <a:ext cx="5135564" cy="296271"/>
          </a:xfrm>
        </p:spPr>
        <p:txBody>
          <a:bodyPr/>
          <a:lstStyle/>
          <a:p>
            <a:r>
              <a:rPr lang="en-US" altLang="zh-CN"/>
              <a:t>Speaker name and title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选题背景和研究意义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 dirty="0"/>
              <a:t>Supporting text here.</a:t>
            </a:r>
          </a:p>
          <a:p>
            <a:pPr lvl="0"/>
            <a:r>
              <a:rPr lang="en-US" altLang="zh-CN" dirty="0"/>
              <a:t>When you copy &amp; paste, choose "keep text only" option.</a:t>
            </a:r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2549768" y="2031279"/>
            <a:ext cx="890213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1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289325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íśḷiďe">
            <a:extLst>
              <a:ext uri="{FF2B5EF4-FFF2-40B4-BE49-F238E27FC236}">
                <a16:creationId xmlns:a16="http://schemas.microsoft.com/office/drawing/2014/main" id="{85AFF5F0-D08A-4413-A482-499C9D541835}"/>
              </a:ext>
            </a:extLst>
          </p:cNvPr>
          <p:cNvSpPr/>
          <p:nvPr/>
        </p:nvSpPr>
        <p:spPr>
          <a:xfrm>
            <a:off x="0" y="-9648"/>
            <a:ext cx="4588534" cy="6858000"/>
          </a:xfrm>
          <a:prstGeom prst="rect">
            <a:avLst/>
          </a:prstGeom>
          <a:blipFill>
            <a:blip r:embed="rId3"/>
            <a:srcRect/>
            <a:stretch>
              <a:fillRect l="-65695" r="-65338"/>
            </a:stretch>
          </a:blip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dirty="0"/>
          </a:p>
        </p:txBody>
      </p:sp>
      <p:sp>
        <p:nvSpPr>
          <p:cNvPr id="7" name="îṡlîḑe">
            <a:extLst>
              <a:ext uri="{FF2B5EF4-FFF2-40B4-BE49-F238E27FC236}">
                <a16:creationId xmlns:a16="http://schemas.microsoft.com/office/drawing/2014/main" id="{EE8C1840-98EA-4A61-8FC5-41F6BCC7D64D}"/>
              </a:ext>
            </a:extLst>
          </p:cNvPr>
          <p:cNvSpPr/>
          <p:nvPr/>
        </p:nvSpPr>
        <p:spPr>
          <a:xfrm>
            <a:off x="0" y="2051200"/>
            <a:ext cx="4588534" cy="3240360"/>
          </a:xfrm>
          <a:prstGeom prst="rect">
            <a:avLst/>
          </a:pr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3" name="ïsḻîḓe">
            <a:extLst>
              <a:ext uri="{FF2B5EF4-FFF2-40B4-BE49-F238E27FC236}">
                <a16:creationId xmlns:a16="http://schemas.microsoft.com/office/drawing/2014/main" id="{ED7504D4-5C6B-4528-831C-7D1334C1210B}"/>
              </a:ext>
            </a:extLst>
          </p:cNvPr>
          <p:cNvSpPr txBox="1"/>
          <p:nvPr/>
        </p:nvSpPr>
        <p:spPr>
          <a:xfrm>
            <a:off x="691069" y="2809606"/>
            <a:ext cx="3501717" cy="1169551"/>
          </a:xfrm>
          <a:prstGeom prst="rect">
            <a:avLst/>
          </a:prstGeom>
          <a:noFill/>
        </p:spPr>
        <p:txBody>
          <a:bodyPr wrap="square" lIns="90000" tIns="46800" rIns="90000" bIns="46800" anchor="ctr">
            <a:normAutofit/>
          </a:bodyPr>
          <a:lstStyle/>
          <a:p>
            <a:r>
              <a:rPr lang="zh-CN" altLang="en-US" sz="2400" b="1" dirty="0">
                <a:solidFill>
                  <a:schemeClr val="bg1"/>
                </a:solidFill>
              </a:rPr>
              <a:t>更能够让枯燥的段落赋予变化！</a:t>
            </a:r>
          </a:p>
        </p:txBody>
      </p:sp>
      <p:sp>
        <p:nvSpPr>
          <p:cNvPr id="34" name="iṧḻîde">
            <a:extLst>
              <a:ext uri="{FF2B5EF4-FFF2-40B4-BE49-F238E27FC236}">
                <a16:creationId xmlns:a16="http://schemas.microsoft.com/office/drawing/2014/main" id="{6D12E969-5CA9-445F-B098-8F2FF3D5FD60}"/>
              </a:ext>
            </a:extLst>
          </p:cNvPr>
          <p:cNvSpPr txBox="1"/>
          <p:nvPr/>
        </p:nvSpPr>
        <p:spPr>
          <a:xfrm>
            <a:off x="691069" y="2532607"/>
            <a:ext cx="3501717" cy="276999"/>
          </a:xfrm>
          <a:prstGeom prst="rect">
            <a:avLst/>
          </a:prstGeom>
          <a:noFill/>
        </p:spPr>
        <p:txBody>
          <a:bodyPr wrap="square" lIns="90000" tIns="46800" rIns="90000" bIns="46800" anchor="ctr">
            <a:normAutofit/>
          </a:bodyPr>
          <a:lstStyle/>
          <a:p>
            <a:r>
              <a:rPr lang="zh-CN" altLang="en-US" sz="1050" dirty="0">
                <a:solidFill>
                  <a:schemeClr val="bg1"/>
                </a:solidFill>
              </a:rPr>
              <a:t>或许大小不同的文字错落的排版</a:t>
            </a:r>
          </a:p>
        </p:txBody>
      </p:sp>
      <p:sp>
        <p:nvSpPr>
          <p:cNvPr id="35" name="iśḻïḑé">
            <a:extLst>
              <a:ext uri="{FF2B5EF4-FFF2-40B4-BE49-F238E27FC236}">
                <a16:creationId xmlns:a16="http://schemas.microsoft.com/office/drawing/2014/main" id="{E1761325-D602-4341-B6A1-3B715412A4DE}"/>
              </a:ext>
            </a:extLst>
          </p:cNvPr>
          <p:cNvSpPr txBox="1"/>
          <p:nvPr/>
        </p:nvSpPr>
        <p:spPr>
          <a:xfrm>
            <a:off x="691069" y="3979157"/>
            <a:ext cx="3501717" cy="830997"/>
          </a:xfrm>
          <a:prstGeom prst="rect">
            <a:avLst/>
          </a:prstGeom>
          <a:noFill/>
        </p:spPr>
        <p:txBody>
          <a:bodyPr wrap="square" lIns="90000" tIns="46800" rIns="90000" bIns="46800" anchor="ctr">
            <a:normAutofit/>
          </a:bodyPr>
          <a:lstStyle/>
          <a:p>
            <a:r>
              <a:rPr lang="zh-CN" altLang="en-US" sz="1600" dirty="0">
                <a:solidFill>
                  <a:schemeClr val="bg1"/>
                </a:solidFill>
              </a:rPr>
              <a:t>主次分明的布局排版帮助</a:t>
            </a:r>
            <a:r>
              <a:rPr lang="en-US" altLang="zh-CN" sz="1600" dirty="0">
                <a:solidFill>
                  <a:schemeClr val="bg1"/>
                </a:solidFill>
              </a:rPr>
              <a:t>PPT</a:t>
            </a:r>
            <a:r>
              <a:rPr lang="zh-CN" altLang="en-US" sz="1600" dirty="0">
                <a:solidFill>
                  <a:schemeClr val="bg1"/>
                </a:solidFill>
              </a:rPr>
              <a:t>更好的传递和表达信息。</a:t>
            </a:r>
          </a:p>
        </p:txBody>
      </p:sp>
      <p:sp>
        <p:nvSpPr>
          <p:cNvPr id="9" name="íSḻídé">
            <a:extLst>
              <a:ext uri="{FF2B5EF4-FFF2-40B4-BE49-F238E27FC236}">
                <a16:creationId xmlns:a16="http://schemas.microsoft.com/office/drawing/2014/main" id="{349E9FC3-7A66-4754-A229-CBA059770C23}"/>
              </a:ext>
            </a:extLst>
          </p:cNvPr>
          <p:cNvSpPr/>
          <p:nvPr/>
        </p:nvSpPr>
        <p:spPr>
          <a:xfrm flipH="1">
            <a:off x="3936000" y="2655365"/>
            <a:ext cx="2023624" cy="2023624"/>
          </a:xfrm>
          <a:prstGeom prst="diamond">
            <a:avLst/>
          </a:prstGeom>
          <a:solidFill>
            <a:schemeClr val="tx1">
              <a:lumMod val="60000"/>
              <a:lumOff val="40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rmAutofit/>
          </a:bodyPr>
          <a:lstStyle/>
          <a:p>
            <a:pPr algn="ctr"/>
            <a:r>
              <a:rPr lang="zh-CN" altLang="en-US" sz="2400" b="1" dirty="0"/>
              <a:t>关键词</a:t>
            </a:r>
          </a:p>
        </p:txBody>
      </p:sp>
      <p:sp>
        <p:nvSpPr>
          <p:cNvPr id="10" name="íšḷîďe">
            <a:extLst>
              <a:ext uri="{FF2B5EF4-FFF2-40B4-BE49-F238E27FC236}">
                <a16:creationId xmlns:a16="http://schemas.microsoft.com/office/drawing/2014/main" id="{A6D158E3-9E5C-4DA8-917D-5F40722F4C5B}"/>
              </a:ext>
            </a:extLst>
          </p:cNvPr>
          <p:cNvSpPr/>
          <p:nvPr/>
        </p:nvSpPr>
        <p:spPr>
          <a:xfrm flipH="1">
            <a:off x="5976866" y="3125595"/>
            <a:ext cx="1083163" cy="1083163"/>
          </a:xfrm>
          <a:prstGeom prst="diamond">
            <a:avLst/>
          </a:prstGeom>
          <a:solidFill>
            <a:schemeClr val="accent1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rmAutofit/>
          </a:bodyPr>
          <a:lstStyle/>
          <a:p>
            <a:pPr algn="ctr"/>
            <a:endParaRPr lang="zh-CN" altLang="en-US" sz="2800" dirty="0"/>
          </a:p>
        </p:txBody>
      </p:sp>
      <p:sp>
        <p:nvSpPr>
          <p:cNvPr id="11" name="ïsľiḓê">
            <a:extLst>
              <a:ext uri="{FF2B5EF4-FFF2-40B4-BE49-F238E27FC236}">
                <a16:creationId xmlns:a16="http://schemas.microsoft.com/office/drawing/2014/main" id="{8CD371B3-F417-4789-8EE7-CF5C5FB6BD1C}"/>
              </a:ext>
            </a:extLst>
          </p:cNvPr>
          <p:cNvSpPr>
            <a:spLocks/>
          </p:cNvSpPr>
          <p:nvPr/>
        </p:nvSpPr>
        <p:spPr bwMode="auto">
          <a:xfrm>
            <a:off x="6343905" y="3489870"/>
            <a:ext cx="349084" cy="354612"/>
          </a:xfrm>
          <a:custGeom>
            <a:avLst/>
            <a:gdLst>
              <a:gd name="connsiteX0" fmla="*/ 149604 w 577154"/>
              <a:gd name="connsiteY0" fmla="*/ 536234 h 586292"/>
              <a:gd name="connsiteX1" fmla="*/ 214914 w 577154"/>
              <a:gd name="connsiteY1" fmla="*/ 562021 h 586292"/>
              <a:gd name="connsiteX2" fmla="*/ 211877 w 577154"/>
              <a:gd name="connsiteY2" fmla="*/ 559746 h 586292"/>
              <a:gd name="connsiteX3" fmla="*/ 202004 w 577154"/>
              <a:gd name="connsiteY3" fmla="*/ 554437 h 586292"/>
              <a:gd name="connsiteX4" fmla="*/ 196688 w 577154"/>
              <a:gd name="connsiteY4" fmla="*/ 551403 h 586292"/>
              <a:gd name="connsiteX5" fmla="*/ 184537 w 577154"/>
              <a:gd name="connsiteY5" fmla="*/ 543818 h 586292"/>
              <a:gd name="connsiteX6" fmla="*/ 177702 w 577154"/>
              <a:gd name="connsiteY6" fmla="*/ 538509 h 586292"/>
              <a:gd name="connsiteX7" fmla="*/ 173905 w 577154"/>
              <a:gd name="connsiteY7" fmla="*/ 536234 h 586292"/>
              <a:gd name="connsiteX8" fmla="*/ 299943 w 577154"/>
              <a:gd name="connsiteY8" fmla="*/ 499816 h 586292"/>
              <a:gd name="connsiteX9" fmla="*/ 318939 w 577154"/>
              <a:gd name="connsiteY9" fmla="*/ 500576 h 586292"/>
              <a:gd name="connsiteX10" fmla="*/ 329576 w 577154"/>
              <a:gd name="connsiteY10" fmla="*/ 511222 h 586292"/>
              <a:gd name="connsiteX11" fmla="*/ 319698 w 577154"/>
              <a:gd name="connsiteY11" fmla="*/ 521108 h 586292"/>
              <a:gd name="connsiteX12" fmla="*/ 318939 w 577154"/>
              <a:gd name="connsiteY12" fmla="*/ 521108 h 586292"/>
              <a:gd name="connsiteX13" fmla="*/ 297663 w 577154"/>
              <a:gd name="connsiteY13" fmla="*/ 519587 h 586292"/>
              <a:gd name="connsiteX14" fmla="*/ 288545 w 577154"/>
              <a:gd name="connsiteY14" fmla="*/ 508941 h 586292"/>
              <a:gd name="connsiteX15" fmla="*/ 299943 w 577154"/>
              <a:gd name="connsiteY15" fmla="*/ 499816 h 586292"/>
              <a:gd name="connsiteX16" fmla="*/ 88851 w 577154"/>
              <a:gd name="connsiteY16" fmla="*/ 485417 h 586292"/>
              <a:gd name="connsiteX17" fmla="*/ 119987 w 577154"/>
              <a:gd name="connsiteY17" fmla="*/ 515755 h 586292"/>
              <a:gd name="connsiteX18" fmla="*/ 150364 w 577154"/>
              <a:gd name="connsiteY18" fmla="*/ 515755 h 586292"/>
              <a:gd name="connsiteX19" fmla="*/ 148085 w 577154"/>
              <a:gd name="connsiteY19" fmla="*/ 513480 h 586292"/>
              <a:gd name="connsiteX20" fmla="*/ 142010 w 577154"/>
              <a:gd name="connsiteY20" fmla="*/ 507412 h 586292"/>
              <a:gd name="connsiteX21" fmla="*/ 136694 w 577154"/>
              <a:gd name="connsiteY21" fmla="*/ 501344 h 586292"/>
              <a:gd name="connsiteX22" fmla="*/ 127581 w 577154"/>
              <a:gd name="connsiteY22" fmla="*/ 489967 h 586292"/>
              <a:gd name="connsiteX23" fmla="*/ 123784 w 577154"/>
              <a:gd name="connsiteY23" fmla="*/ 485417 h 586292"/>
              <a:gd name="connsiteX24" fmla="*/ 399912 w 577154"/>
              <a:gd name="connsiteY24" fmla="*/ 482256 h 586292"/>
              <a:gd name="connsiteX25" fmla="*/ 405611 w 577154"/>
              <a:gd name="connsiteY25" fmla="*/ 486996 h 586292"/>
              <a:gd name="connsiteX26" fmla="*/ 401812 w 577154"/>
              <a:gd name="connsiteY26" fmla="*/ 500648 h 586292"/>
              <a:gd name="connsiteX27" fmla="*/ 382056 w 577154"/>
              <a:gd name="connsiteY27" fmla="*/ 509750 h 586292"/>
              <a:gd name="connsiteX28" fmla="*/ 378257 w 577154"/>
              <a:gd name="connsiteY28" fmla="*/ 510508 h 586292"/>
              <a:gd name="connsiteX29" fmla="*/ 369139 w 577154"/>
              <a:gd name="connsiteY29" fmla="*/ 503682 h 586292"/>
              <a:gd name="connsiteX30" fmla="*/ 375217 w 577154"/>
              <a:gd name="connsiteY30" fmla="*/ 490789 h 586292"/>
              <a:gd name="connsiteX31" fmla="*/ 391934 w 577154"/>
              <a:gd name="connsiteY31" fmla="*/ 483204 h 586292"/>
              <a:gd name="connsiteX32" fmla="*/ 399912 w 577154"/>
              <a:gd name="connsiteY32" fmla="*/ 482256 h 586292"/>
              <a:gd name="connsiteX33" fmla="*/ 229351 w 577154"/>
              <a:gd name="connsiteY33" fmla="*/ 474063 h 586292"/>
              <a:gd name="connsiteX34" fmla="*/ 246091 w 577154"/>
              <a:gd name="connsiteY34" fmla="*/ 483157 h 586292"/>
              <a:gd name="connsiteX35" fmla="*/ 250656 w 577154"/>
              <a:gd name="connsiteY35" fmla="*/ 496797 h 586292"/>
              <a:gd name="connsiteX36" fmla="*/ 241525 w 577154"/>
              <a:gd name="connsiteY36" fmla="*/ 502101 h 586292"/>
              <a:gd name="connsiteX37" fmla="*/ 236960 w 577154"/>
              <a:gd name="connsiteY37" fmla="*/ 501343 h 586292"/>
              <a:gd name="connsiteX38" fmla="*/ 218698 w 577154"/>
              <a:gd name="connsiteY38" fmla="*/ 490735 h 586292"/>
              <a:gd name="connsiteX39" fmla="*/ 215654 w 577154"/>
              <a:gd name="connsiteY39" fmla="*/ 477094 h 586292"/>
              <a:gd name="connsiteX40" fmla="*/ 229351 w 577154"/>
              <a:gd name="connsiteY40" fmla="*/ 474063 h 586292"/>
              <a:gd name="connsiteX41" fmla="*/ 464745 w 577154"/>
              <a:gd name="connsiteY41" fmla="*/ 433889 h 586292"/>
              <a:gd name="connsiteX42" fmla="*/ 466262 w 577154"/>
              <a:gd name="connsiteY42" fmla="*/ 447550 h 586292"/>
              <a:gd name="connsiteX43" fmla="*/ 451842 w 577154"/>
              <a:gd name="connsiteY43" fmla="*/ 463488 h 586292"/>
              <a:gd name="connsiteX44" fmla="*/ 445012 w 577154"/>
              <a:gd name="connsiteY44" fmla="*/ 466524 h 586292"/>
              <a:gd name="connsiteX45" fmla="*/ 438181 w 577154"/>
              <a:gd name="connsiteY45" fmla="*/ 463488 h 586292"/>
              <a:gd name="connsiteX46" fmla="*/ 438181 w 577154"/>
              <a:gd name="connsiteY46" fmla="*/ 449068 h 586292"/>
              <a:gd name="connsiteX47" fmla="*/ 450324 w 577154"/>
              <a:gd name="connsiteY47" fmla="*/ 435407 h 586292"/>
              <a:gd name="connsiteX48" fmla="*/ 464745 w 577154"/>
              <a:gd name="connsiteY48" fmla="*/ 433889 h 586292"/>
              <a:gd name="connsiteX49" fmla="*/ 49362 w 577154"/>
              <a:gd name="connsiteY49" fmla="*/ 424740 h 586292"/>
              <a:gd name="connsiteX50" fmla="*/ 73663 w 577154"/>
              <a:gd name="connsiteY50" fmla="*/ 464938 h 586292"/>
              <a:gd name="connsiteX51" fmla="*/ 109355 w 577154"/>
              <a:gd name="connsiteY51" fmla="*/ 464938 h 586292"/>
              <a:gd name="connsiteX52" fmla="*/ 104039 w 577154"/>
              <a:gd name="connsiteY52" fmla="*/ 456595 h 586292"/>
              <a:gd name="connsiteX53" fmla="*/ 101761 w 577154"/>
              <a:gd name="connsiteY53" fmla="*/ 452044 h 586292"/>
              <a:gd name="connsiteX54" fmla="*/ 94926 w 577154"/>
              <a:gd name="connsiteY54" fmla="*/ 439909 h 586292"/>
              <a:gd name="connsiteX55" fmla="*/ 92648 w 577154"/>
              <a:gd name="connsiteY55" fmla="*/ 435358 h 586292"/>
              <a:gd name="connsiteX56" fmla="*/ 88092 w 577154"/>
              <a:gd name="connsiteY56" fmla="*/ 424740 h 586292"/>
              <a:gd name="connsiteX57" fmla="*/ 161771 w 577154"/>
              <a:gd name="connsiteY57" fmla="*/ 417898 h 586292"/>
              <a:gd name="connsiteX58" fmla="*/ 176164 w 577154"/>
              <a:gd name="connsiteY58" fmla="*/ 420173 h 586292"/>
              <a:gd name="connsiteX59" fmla="*/ 187527 w 577154"/>
              <a:gd name="connsiteY59" fmla="*/ 435341 h 586292"/>
              <a:gd name="connsiteX60" fmla="*/ 186012 w 577154"/>
              <a:gd name="connsiteY60" fmla="*/ 449750 h 586292"/>
              <a:gd name="connsiteX61" fmla="*/ 179194 w 577154"/>
              <a:gd name="connsiteY61" fmla="*/ 452025 h 586292"/>
              <a:gd name="connsiteX62" fmla="*/ 171619 w 577154"/>
              <a:gd name="connsiteY62" fmla="*/ 448233 h 586292"/>
              <a:gd name="connsiteX63" fmla="*/ 159498 w 577154"/>
              <a:gd name="connsiteY63" fmla="*/ 431549 h 586292"/>
              <a:gd name="connsiteX64" fmla="*/ 161771 w 577154"/>
              <a:gd name="connsiteY64" fmla="*/ 417898 h 586292"/>
              <a:gd name="connsiteX65" fmla="*/ 31136 w 577154"/>
              <a:gd name="connsiteY65" fmla="*/ 373923 h 586292"/>
              <a:gd name="connsiteX66" fmla="*/ 41008 w 577154"/>
              <a:gd name="connsiteY66" fmla="*/ 404261 h 586292"/>
              <a:gd name="connsiteX67" fmla="*/ 79738 w 577154"/>
              <a:gd name="connsiteY67" fmla="*/ 404261 h 586292"/>
              <a:gd name="connsiteX68" fmla="*/ 78979 w 577154"/>
              <a:gd name="connsiteY68" fmla="*/ 401227 h 586292"/>
              <a:gd name="connsiteX69" fmla="*/ 77460 w 577154"/>
              <a:gd name="connsiteY69" fmla="*/ 397435 h 586292"/>
              <a:gd name="connsiteX70" fmla="*/ 72144 w 577154"/>
              <a:gd name="connsiteY70" fmla="*/ 379232 h 586292"/>
              <a:gd name="connsiteX71" fmla="*/ 71385 w 577154"/>
              <a:gd name="connsiteY71" fmla="*/ 377715 h 586292"/>
              <a:gd name="connsiteX72" fmla="*/ 70625 w 577154"/>
              <a:gd name="connsiteY72" fmla="*/ 373923 h 586292"/>
              <a:gd name="connsiteX73" fmla="*/ 499728 w 577154"/>
              <a:gd name="connsiteY73" fmla="*/ 361797 h 586292"/>
              <a:gd name="connsiteX74" fmla="*/ 506554 w 577154"/>
              <a:gd name="connsiteY74" fmla="*/ 374694 h 586292"/>
              <a:gd name="connsiteX75" fmla="*/ 498970 w 577154"/>
              <a:gd name="connsiteY75" fmla="*/ 394418 h 586292"/>
              <a:gd name="connsiteX76" fmla="*/ 489868 w 577154"/>
              <a:gd name="connsiteY76" fmla="*/ 400487 h 586292"/>
              <a:gd name="connsiteX77" fmla="*/ 485318 w 577154"/>
              <a:gd name="connsiteY77" fmla="*/ 399729 h 586292"/>
              <a:gd name="connsiteX78" fmla="*/ 480009 w 577154"/>
              <a:gd name="connsiteY78" fmla="*/ 386073 h 586292"/>
              <a:gd name="connsiteX79" fmla="*/ 486835 w 577154"/>
              <a:gd name="connsiteY79" fmla="*/ 367866 h 586292"/>
              <a:gd name="connsiteX80" fmla="*/ 499728 w 577154"/>
              <a:gd name="connsiteY80" fmla="*/ 361797 h 586292"/>
              <a:gd name="connsiteX81" fmla="*/ 132907 w 577154"/>
              <a:gd name="connsiteY81" fmla="*/ 343643 h 586292"/>
              <a:gd name="connsiteX82" fmla="*/ 145066 w 577154"/>
              <a:gd name="connsiteY82" fmla="*/ 350471 h 586292"/>
              <a:gd name="connsiteX83" fmla="*/ 150385 w 577154"/>
              <a:gd name="connsiteY83" fmla="*/ 368678 h 586292"/>
              <a:gd name="connsiteX84" fmla="*/ 144306 w 577154"/>
              <a:gd name="connsiteY84" fmla="*/ 381575 h 586292"/>
              <a:gd name="connsiteX85" fmla="*/ 141266 w 577154"/>
              <a:gd name="connsiteY85" fmla="*/ 382333 h 586292"/>
              <a:gd name="connsiteX86" fmla="*/ 131388 w 577154"/>
              <a:gd name="connsiteY86" fmla="*/ 375506 h 586292"/>
              <a:gd name="connsiteX87" fmla="*/ 125309 w 577154"/>
              <a:gd name="connsiteY87" fmla="*/ 355781 h 586292"/>
              <a:gd name="connsiteX88" fmla="*/ 132907 w 577154"/>
              <a:gd name="connsiteY88" fmla="*/ 343643 h 586292"/>
              <a:gd name="connsiteX89" fmla="*/ 21263 w 577154"/>
              <a:gd name="connsiteY89" fmla="*/ 323864 h 586292"/>
              <a:gd name="connsiteX90" fmla="*/ 25820 w 577154"/>
              <a:gd name="connsiteY90" fmla="*/ 354203 h 586292"/>
              <a:gd name="connsiteX91" fmla="*/ 66069 w 577154"/>
              <a:gd name="connsiteY91" fmla="*/ 354203 h 586292"/>
              <a:gd name="connsiteX92" fmla="*/ 63031 w 577154"/>
              <a:gd name="connsiteY92" fmla="*/ 337516 h 586292"/>
              <a:gd name="connsiteX93" fmla="*/ 63031 w 577154"/>
              <a:gd name="connsiteY93" fmla="*/ 335999 h 586292"/>
              <a:gd name="connsiteX94" fmla="*/ 61512 w 577154"/>
              <a:gd name="connsiteY94" fmla="*/ 323864 h 586292"/>
              <a:gd name="connsiteX95" fmla="*/ 509625 w 577154"/>
              <a:gd name="connsiteY95" fmla="*/ 282911 h 586292"/>
              <a:gd name="connsiteX96" fmla="*/ 519524 w 577154"/>
              <a:gd name="connsiteY96" fmla="*/ 292773 h 586292"/>
              <a:gd name="connsiteX97" fmla="*/ 519524 w 577154"/>
              <a:gd name="connsiteY97" fmla="*/ 293532 h 586292"/>
              <a:gd name="connsiteX98" fmla="*/ 518763 w 577154"/>
              <a:gd name="connsiteY98" fmla="*/ 313256 h 586292"/>
              <a:gd name="connsiteX99" fmla="*/ 508863 w 577154"/>
              <a:gd name="connsiteY99" fmla="*/ 323118 h 586292"/>
              <a:gd name="connsiteX100" fmla="*/ 508102 w 577154"/>
              <a:gd name="connsiteY100" fmla="*/ 322360 h 586292"/>
              <a:gd name="connsiteX101" fmla="*/ 498964 w 577154"/>
              <a:gd name="connsiteY101" fmla="*/ 311739 h 586292"/>
              <a:gd name="connsiteX102" fmla="*/ 498964 w 577154"/>
              <a:gd name="connsiteY102" fmla="*/ 293532 h 586292"/>
              <a:gd name="connsiteX103" fmla="*/ 509625 w 577154"/>
              <a:gd name="connsiteY103" fmla="*/ 282911 h 586292"/>
              <a:gd name="connsiteX104" fmla="*/ 20504 w 577154"/>
              <a:gd name="connsiteY104" fmla="*/ 273047 h 586292"/>
              <a:gd name="connsiteX105" fmla="*/ 19744 w 577154"/>
              <a:gd name="connsiteY105" fmla="*/ 293525 h 586292"/>
              <a:gd name="connsiteX106" fmla="*/ 20504 w 577154"/>
              <a:gd name="connsiteY106" fmla="*/ 303385 h 586292"/>
              <a:gd name="connsiteX107" fmla="*/ 60753 w 577154"/>
              <a:gd name="connsiteY107" fmla="*/ 303385 h 586292"/>
              <a:gd name="connsiteX108" fmla="*/ 60753 w 577154"/>
              <a:gd name="connsiteY108" fmla="*/ 293525 h 586292"/>
              <a:gd name="connsiteX109" fmla="*/ 61512 w 577154"/>
              <a:gd name="connsiteY109" fmla="*/ 273805 h 586292"/>
              <a:gd name="connsiteX110" fmla="*/ 61512 w 577154"/>
              <a:gd name="connsiteY110" fmla="*/ 273047 h 586292"/>
              <a:gd name="connsiteX111" fmla="*/ 129811 w 577154"/>
              <a:gd name="connsiteY111" fmla="*/ 263173 h 586292"/>
              <a:gd name="connsiteX112" fmla="*/ 138897 w 577154"/>
              <a:gd name="connsiteY112" fmla="*/ 274553 h 586292"/>
              <a:gd name="connsiteX113" fmla="*/ 138140 w 577154"/>
              <a:gd name="connsiteY113" fmla="*/ 292760 h 586292"/>
              <a:gd name="connsiteX114" fmla="*/ 138140 w 577154"/>
              <a:gd name="connsiteY114" fmla="*/ 293518 h 586292"/>
              <a:gd name="connsiteX115" fmla="*/ 128297 w 577154"/>
              <a:gd name="connsiteY115" fmla="*/ 303380 h 586292"/>
              <a:gd name="connsiteX116" fmla="*/ 117697 w 577154"/>
              <a:gd name="connsiteY116" fmla="*/ 294277 h 586292"/>
              <a:gd name="connsiteX117" fmla="*/ 117697 w 577154"/>
              <a:gd name="connsiteY117" fmla="*/ 293518 h 586292"/>
              <a:gd name="connsiteX118" fmla="*/ 118454 w 577154"/>
              <a:gd name="connsiteY118" fmla="*/ 273035 h 586292"/>
              <a:gd name="connsiteX119" fmla="*/ 129811 w 577154"/>
              <a:gd name="connsiteY119" fmla="*/ 263173 h 586292"/>
              <a:gd name="connsiteX120" fmla="*/ 28098 w 577154"/>
              <a:gd name="connsiteY120" fmla="*/ 222230 h 586292"/>
              <a:gd name="connsiteX121" fmla="*/ 22782 w 577154"/>
              <a:gd name="connsiteY121" fmla="*/ 252568 h 586292"/>
              <a:gd name="connsiteX122" fmla="*/ 63031 w 577154"/>
              <a:gd name="connsiteY122" fmla="*/ 252568 h 586292"/>
              <a:gd name="connsiteX123" fmla="*/ 63031 w 577154"/>
              <a:gd name="connsiteY123" fmla="*/ 250293 h 586292"/>
              <a:gd name="connsiteX124" fmla="*/ 63031 w 577154"/>
              <a:gd name="connsiteY124" fmla="*/ 249535 h 586292"/>
              <a:gd name="connsiteX125" fmla="*/ 66828 w 577154"/>
              <a:gd name="connsiteY125" fmla="*/ 229815 h 586292"/>
              <a:gd name="connsiteX126" fmla="*/ 67588 w 577154"/>
              <a:gd name="connsiteY126" fmla="*/ 226022 h 586292"/>
              <a:gd name="connsiteX127" fmla="*/ 68347 w 577154"/>
              <a:gd name="connsiteY127" fmla="*/ 222230 h 586292"/>
              <a:gd name="connsiteX128" fmla="*/ 492894 w 577154"/>
              <a:gd name="connsiteY128" fmla="*/ 204013 h 586292"/>
              <a:gd name="connsiteX129" fmla="*/ 505825 w 577154"/>
              <a:gd name="connsiteY129" fmla="*/ 210836 h 586292"/>
              <a:gd name="connsiteX130" fmla="*/ 511911 w 577154"/>
              <a:gd name="connsiteY130" fmla="*/ 230547 h 586292"/>
              <a:gd name="connsiteX131" fmla="*/ 504304 w 577154"/>
              <a:gd name="connsiteY131" fmla="*/ 242677 h 586292"/>
              <a:gd name="connsiteX132" fmla="*/ 502022 w 577154"/>
              <a:gd name="connsiteY132" fmla="*/ 243435 h 586292"/>
              <a:gd name="connsiteX133" fmla="*/ 492133 w 577154"/>
              <a:gd name="connsiteY133" fmla="*/ 235854 h 586292"/>
              <a:gd name="connsiteX134" fmla="*/ 486809 w 577154"/>
              <a:gd name="connsiteY134" fmla="*/ 216901 h 586292"/>
              <a:gd name="connsiteX135" fmla="*/ 492894 w 577154"/>
              <a:gd name="connsiteY135" fmla="*/ 204013 h 586292"/>
              <a:gd name="connsiteX136" fmla="*/ 151873 w 577154"/>
              <a:gd name="connsiteY136" fmla="*/ 186619 h 586292"/>
              <a:gd name="connsiteX137" fmla="*/ 157203 w 577154"/>
              <a:gd name="connsiteY137" fmla="*/ 200274 h 586292"/>
              <a:gd name="connsiteX138" fmla="*/ 150350 w 577154"/>
              <a:gd name="connsiteY138" fmla="*/ 217723 h 586292"/>
              <a:gd name="connsiteX139" fmla="*/ 140450 w 577154"/>
              <a:gd name="connsiteY139" fmla="*/ 224550 h 586292"/>
              <a:gd name="connsiteX140" fmla="*/ 137404 w 577154"/>
              <a:gd name="connsiteY140" fmla="*/ 224550 h 586292"/>
              <a:gd name="connsiteX141" fmla="*/ 131312 w 577154"/>
              <a:gd name="connsiteY141" fmla="*/ 211654 h 586292"/>
              <a:gd name="connsiteX142" fmla="*/ 138927 w 577154"/>
              <a:gd name="connsiteY142" fmla="*/ 191929 h 586292"/>
              <a:gd name="connsiteX143" fmla="*/ 151873 w 577154"/>
              <a:gd name="connsiteY143" fmla="*/ 186619 h 586292"/>
              <a:gd name="connsiteX144" fmla="*/ 218736 w 577154"/>
              <a:gd name="connsiteY144" fmla="*/ 186536 h 586292"/>
              <a:gd name="connsiteX145" fmla="*/ 281780 w 577154"/>
              <a:gd name="connsiteY145" fmla="*/ 186536 h 586292"/>
              <a:gd name="connsiteX146" fmla="*/ 292414 w 577154"/>
              <a:gd name="connsiteY146" fmla="*/ 196401 h 586292"/>
              <a:gd name="connsiteX147" fmla="*/ 281780 w 577154"/>
              <a:gd name="connsiteY147" fmla="*/ 207024 h 586292"/>
              <a:gd name="connsiteX148" fmla="*/ 264310 w 577154"/>
              <a:gd name="connsiteY148" fmla="*/ 207024 h 586292"/>
              <a:gd name="connsiteX149" fmla="*/ 322037 w 577154"/>
              <a:gd name="connsiteY149" fmla="*/ 294288 h 586292"/>
              <a:gd name="connsiteX150" fmla="*/ 379004 w 577154"/>
              <a:gd name="connsiteY150" fmla="*/ 207024 h 586292"/>
              <a:gd name="connsiteX151" fmla="*/ 361534 w 577154"/>
              <a:gd name="connsiteY151" fmla="*/ 207024 h 586292"/>
              <a:gd name="connsiteX152" fmla="*/ 351659 w 577154"/>
              <a:gd name="connsiteY152" fmla="*/ 196401 h 586292"/>
              <a:gd name="connsiteX153" fmla="*/ 361534 w 577154"/>
              <a:gd name="connsiteY153" fmla="*/ 186536 h 586292"/>
              <a:gd name="connsiteX154" fmla="*/ 425337 w 577154"/>
              <a:gd name="connsiteY154" fmla="*/ 186536 h 586292"/>
              <a:gd name="connsiteX155" fmla="*/ 435211 w 577154"/>
              <a:gd name="connsiteY155" fmla="*/ 196401 h 586292"/>
              <a:gd name="connsiteX156" fmla="*/ 425337 w 577154"/>
              <a:gd name="connsiteY156" fmla="*/ 207024 h 586292"/>
              <a:gd name="connsiteX157" fmla="*/ 405588 w 577154"/>
              <a:gd name="connsiteY157" fmla="*/ 207024 h 586292"/>
              <a:gd name="connsiteX158" fmla="*/ 401031 w 577154"/>
              <a:gd name="connsiteY158" fmla="*/ 209301 h 586292"/>
              <a:gd name="connsiteX159" fmla="*/ 337987 w 577154"/>
              <a:gd name="connsiteY159" fmla="*/ 307947 h 586292"/>
              <a:gd name="connsiteX160" fmla="*/ 373687 w 577154"/>
              <a:gd name="connsiteY160" fmla="*/ 307947 h 586292"/>
              <a:gd name="connsiteX161" fmla="*/ 384321 w 577154"/>
              <a:gd name="connsiteY161" fmla="*/ 317812 h 586292"/>
              <a:gd name="connsiteX162" fmla="*/ 373687 w 577154"/>
              <a:gd name="connsiteY162" fmla="*/ 328435 h 586292"/>
              <a:gd name="connsiteX163" fmla="*/ 331911 w 577154"/>
              <a:gd name="connsiteY163" fmla="*/ 328435 h 586292"/>
              <a:gd name="connsiteX164" fmla="*/ 331911 w 577154"/>
              <a:gd name="connsiteY164" fmla="*/ 338300 h 586292"/>
              <a:gd name="connsiteX165" fmla="*/ 373687 w 577154"/>
              <a:gd name="connsiteY165" fmla="*/ 338300 h 586292"/>
              <a:gd name="connsiteX166" fmla="*/ 384321 w 577154"/>
              <a:gd name="connsiteY166" fmla="*/ 348164 h 586292"/>
              <a:gd name="connsiteX167" fmla="*/ 373687 w 577154"/>
              <a:gd name="connsiteY167" fmla="*/ 358788 h 586292"/>
              <a:gd name="connsiteX168" fmla="*/ 331911 w 577154"/>
              <a:gd name="connsiteY168" fmla="*/ 358788 h 586292"/>
              <a:gd name="connsiteX169" fmla="*/ 331911 w 577154"/>
              <a:gd name="connsiteY169" fmla="*/ 399005 h 586292"/>
              <a:gd name="connsiteX170" fmla="*/ 355457 w 577154"/>
              <a:gd name="connsiteY170" fmla="*/ 399005 h 586292"/>
              <a:gd name="connsiteX171" fmla="*/ 365332 w 577154"/>
              <a:gd name="connsiteY171" fmla="*/ 408870 h 586292"/>
              <a:gd name="connsiteX172" fmla="*/ 355457 w 577154"/>
              <a:gd name="connsiteY172" fmla="*/ 419493 h 586292"/>
              <a:gd name="connsiteX173" fmla="*/ 288616 w 577154"/>
              <a:gd name="connsiteY173" fmla="*/ 419493 h 586292"/>
              <a:gd name="connsiteX174" fmla="*/ 278742 w 577154"/>
              <a:gd name="connsiteY174" fmla="*/ 408870 h 586292"/>
              <a:gd name="connsiteX175" fmla="*/ 288616 w 577154"/>
              <a:gd name="connsiteY175" fmla="*/ 399005 h 586292"/>
              <a:gd name="connsiteX176" fmla="*/ 312162 w 577154"/>
              <a:gd name="connsiteY176" fmla="*/ 399005 h 586292"/>
              <a:gd name="connsiteX177" fmla="*/ 312162 w 577154"/>
              <a:gd name="connsiteY177" fmla="*/ 358788 h 586292"/>
              <a:gd name="connsiteX178" fmla="*/ 270386 w 577154"/>
              <a:gd name="connsiteY178" fmla="*/ 358788 h 586292"/>
              <a:gd name="connsiteX179" fmla="*/ 259752 w 577154"/>
              <a:gd name="connsiteY179" fmla="*/ 348164 h 586292"/>
              <a:gd name="connsiteX180" fmla="*/ 270386 w 577154"/>
              <a:gd name="connsiteY180" fmla="*/ 338300 h 586292"/>
              <a:gd name="connsiteX181" fmla="*/ 312162 w 577154"/>
              <a:gd name="connsiteY181" fmla="*/ 338300 h 586292"/>
              <a:gd name="connsiteX182" fmla="*/ 312162 w 577154"/>
              <a:gd name="connsiteY182" fmla="*/ 328435 h 586292"/>
              <a:gd name="connsiteX183" fmla="*/ 270386 w 577154"/>
              <a:gd name="connsiteY183" fmla="*/ 328435 h 586292"/>
              <a:gd name="connsiteX184" fmla="*/ 259752 w 577154"/>
              <a:gd name="connsiteY184" fmla="*/ 317812 h 586292"/>
              <a:gd name="connsiteX185" fmla="*/ 270386 w 577154"/>
              <a:gd name="connsiteY185" fmla="*/ 307947 h 586292"/>
              <a:gd name="connsiteX186" fmla="*/ 305326 w 577154"/>
              <a:gd name="connsiteY186" fmla="*/ 307947 h 586292"/>
              <a:gd name="connsiteX187" fmla="*/ 242283 w 577154"/>
              <a:gd name="connsiteY187" fmla="*/ 209301 h 586292"/>
              <a:gd name="connsiteX188" fmla="*/ 238485 w 577154"/>
              <a:gd name="connsiteY188" fmla="*/ 207024 h 586292"/>
              <a:gd name="connsiteX189" fmla="*/ 218736 w 577154"/>
              <a:gd name="connsiteY189" fmla="*/ 207024 h 586292"/>
              <a:gd name="connsiteX190" fmla="*/ 208102 w 577154"/>
              <a:gd name="connsiteY190" fmla="*/ 196401 h 586292"/>
              <a:gd name="connsiteX191" fmla="*/ 218736 w 577154"/>
              <a:gd name="connsiteY191" fmla="*/ 186536 h 586292"/>
              <a:gd name="connsiteX192" fmla="*/ 44805 w 577154"/>
              <a:gd name="connsiteY192" fmla="*/ 172171 h 586292"/>
              <a:gd name="connsiteX193" fmla="*/ 33414 w 577154"/>
              <a:gd name="connsiteY193" fmla="*/ 202510 h 586292"/>
              <a:gd name="connsiteX194" fmla="*/ 73663 w 577154"/>
              <a:gd name="connsiteY194" fmla="*/ 202510 h 586292"/>
              <a:gd name="connsiteX195" fmla="*/ 77460 w 577154"/>
              <a:gd name="connsiteY195" fmla="*/ 188858 h 586292"/>
              <a:gd name="connsiteX196" fmla="*/ 78979 w 577154"/>
              <a:gd name="connsiteY196" fmla="*/ 185065 h 586292"/>
              <a:gd name="connsiteX197" fmla="*/ 83535 w 577154"/>
              <a:gd name="connsiteY197" fmla="*/ 172171 h 586292"/>
              <a:gd name="connsiteX198" fmla="*/ 451103 w 577154"/>
              <a:gd name="connsiteY198" fmla="*/ 136487 h 586292"/>
              <a:gd name="connsiteX199" fmla="*/ 465547 w 577154"/>
              <a:gd name="connsiteY199" fmla="*/ 138009 h 586292"/>
              <a:gd name="connsiteX200" fmla="*/ 477709 w 577154"/>
              <a:gd name="connsiteY200" fmla="*/ 154748 h 586292"/>
              <a:gd name="connsiteX201" fmla="*/ 475429 w 577154"/>
              <a:gd name="connsiteY201" fmla="*/ 168444 h 586292"/>
              <a:gd name="connsiteX202" fmla="*/ 469347 w 577154"/>
              <a:gd name="connsiteY202" fmla="*/ 169966 h 586292"/>
              <a:gd name="connsiteX203" fmla="*/ 460986 w 577154"/>
              <a:gd name="connsiteY203" fmla="*/ 166161 h 586292"/>
              <a:gd name="connsiteX204" fmla="*/ 449583 w 577154"/>
              <a:gd name="connsiteY204" fmla="*/ 150183 h 586292"/>
              <a:gd name="connsiteX205" fmla="*/ 451103 w 577154"/>
              <a:gd name="connsiteY205" fmla="*/ 136487 h 586292"/>
              <a:gd name="connsiteX206" fmla="*/ 185242 w 577154"/>
              <a:gd name="connsiteY206" fmla="*/ 122835 h 586292"/>
              <a:gd name="connsiteX207" fmla="*/ 199674 w 577154"/>
              <a:gd name="connsiteY207" fmla="*/ 122835 h 586292"/>
              <a:gd name="connsiteX208" fmla="*/ 199674 w 577154"/>
              <a:gd name="connsiteY208" fmla="*/ 137266 h 586292"/>
              <a:gd name="connsiteX209" fmla="*/ 186762 w 577154"/>
              <a:gd name="connsiteY209" fmla="*/ 150938 h 586292"/>
              <a:gd name="connsiteX210" fmla="*/ 179166 w 577154"/>
              <a:gd name="connsiteY210" fmla="*/ 154736 h 586292"/>
              <a:gd name="connsiteX211" fmla="*/ 173090 w 577154"/>
              <a:gd name="connsiteY211" fmla="*/ 152457 h 586292"/>
              <a:gd name="connsiteX212" fmla="*/ 171571 w 577154"/>
              <a:gd name="connsiteY212" fmla="*/ 138026 h 586292"/>
              <a:gd name="connsiteX213" fmla="*/ 185242 w 577154"/>
              <a:gd name="connsiteY213" fmla="*/ 122835 h 586292"/>
              <a:gd name="connsiteX214" fmla="*/ 81257 w 577154"/>
              <a:gd name="connsiteY214" fmla="*/ 111494 h 586292"/>
              <a:gd name="connsiteX215" fmla="*/ 54677 w 577154"/>
              <a:gd name="connsiteY215" fmla="*/ 151692 h 586292"/>
              <a:gd name="connsiteX216" fmla="*/ 92648 w 577154"/>
              <a:gd name="connsiteY216" fmla="*/ 151692 h 586292"/>
              <a:gd name="connsiteX217" fmla="*/ 92648 w 577154"/>
              <a:gd name="connsiteY217" fmla="*/ 150934 h 586292"/>
              <a:gd name="connsiteX218" fmla="*/ 94926 w 577154"/>
              <a:gd name="connsiteY218" fmla="*/ 146383 h 586292"/>
              <a:gd name="connsiteX219" fmla="*/ 101761 w 577154"/>
              <a:gd name="connsiteY219" fmla="*/ 135006 h 586292"/>
              <a:gd name="connsiteX220" fmla="*/ 104039 w 577154"/>
              <a:gd name="connsiteY220" fmla="*/ 130455 h 586292"/>
              <a:gd name="connsiteX221" fmla="*/ 113152 w 577154"/>
              <a:gd name="connsiteY221" fmla="*/ 116803 h 586292"/>
              <a:gd name="connsiteX222" fmla="*/ 116190 w 577154"/>
              <a:gd name="connsiteY222" fmla="*/ 111494 h 586292"/>
              <a:gd name="connsiteX223" fmla="*/ 400213 w 577154"/>
              <a:gd name="connsiteY223" fmla="*/ 85002 h 586292"/>
              <a:gd name="connsiteX224" fmla="*/ 418420 w 577154"/>
              <a:gd name="connsiteY224" fmla="*/ 95611 h 586292"/>
              <a:gd name="connsiteX225" fmla="*/ 421455 w 577154"/>
              <a:gd name="connsiteY225" fmla="*/ 109251 h 586292"/>
              <a:gd name="connsiteX226" fmla="*/ 413110 w 577154"/>
              <a:gd name="connsiteY226" fmla="*/ 113798 h 586292"/>
              <a:gd name="connsiteX227" fmla="*/ 407800 w 577154"/>
              <a:gd name="connsiteY227" fmla="*/ 112282 h 586292"/>
              <a:gd name="connsiteX228" fmla="*/ 391110 w 577154"/>
              <a:gd name="connsiteY228" fmla="*/ 103189 h 586292"/>
              <a:gd name="connsiteX229" fmla="*/ 386558 w 577154"/>
              <a:gd name="connsiteY229" fmla="*/ 89549 h 586292"/>
              <a:gd name="connsiteX230" fmla="*/ 400213 w 577154"/>
              <a:gd name="connsiteY230" fmla="*/ 85002 h 586292"/>
              <a:gd name="connsiteX231" fmla="*/ 255897 w 577154"/>
              <a:gd name="connsiteY231" fmla="*/ 76571 h 586292"/>
              <a:gd name="connsiteX232" fmla="*/ 268814 w 577154"/>
              <a:gd name="connsiteY232" fmla="*/ 82644 h 586292"/>
              <a:gd name="connsiteX233" fmla="*/ 262735 w 577154"/>
              <a:gd name="connsiteY233" fmla="*/ 95550 h 586292"/>
              <a:gd name="connsiteX234" fmla="*/ 245259 w 577154"/>
              <a:gd name="connsiteY234" fmla="*/ 103141 h 586292"/>
              <a:gd name="connsiteX235" fmla="*/ 240700 w 577154"/>
              <a:gd name="connsiteY235" fmla="*/ 104660 h 586292"/>
              <a:gd name="connsiteX236" fmla="*/ 231582 w 577154"/>
              <a:gd name="connsiteY236" fmla="*/ 99346 h 586292"/>
              <a:gd name="connsiteX237" fmla="*/ 236141 w 577154"/>
              <a:gd name="connsiteY237" fmla="*/ 85681 h 586292"/>
              <a:gd name="connsiteX238" fmla="*/ 255897 w 577154"/>
              <a:gd name="connsiteY238" fmla="*/ 76571 h 586292"/>
              <a:gd name="connsiteX239" fmla="*/ 318232 w 577154"/>
              <a:gd name="connsiteY239" fmla="*/ 65184 h 586292"/>
              <a:gd name="connsiteX240" fmla="*/ 318990 w 577154"/>
              <a:gd name="connsiteY240" fmla="*/ 65184 h 586292"/>
              <a:gd name="connsiteX241" fmla="*/ 339459 w 577154"/>
              <a:gd name="connsiteY241" fmla="*/ 66705 h 586292"/>
              <a:gd name="connsiteX242" fmla="*/ 348556 w 577154"/>
              <a:gd name="connsiteY242" fmla="*/ 78111 h 586292"/>
              <a:gd name="connsiteX243" fmla="*/ 337943 w 577154"/>
              <a:gd name="connsiteY243" fmla="*/ 87237 h 586292"/>
              <a:gd name="connsiteX244" fmla="*/ 337184 w 577154"/>
              <a:gd name="connsiteY244" fmla="*/ 86476 h 586292"/>
              <a:gd name="connsiteX245" fmla="*/ 318990 w 577154"/>
              <a:gd name="connsiteY245" fmla="*/ 85716 h 586292"/>
              <a:gd name="connsiteX246" fmla="*/ 308376 w 577154"/>
              <a:gd name="connsiteY246" fmla="*/ 75830 h 586292"/>
              <a:gd name="connsiteX247" fmla="*/ 318232 w 577154"/>
              <a:gd name="connsiteY247" fmla="*/ 65184 h 586292"/>
              <a:gd name="connsiteX248" fmla="*/ 133656 w 577154"/>
              <a:gd name="connsiteY248" fmla="*/ 60677 h 586292"/>
              <a:gd name="connsiteX249" fmla="*/ 98723 w 577154"/>
              <a:gd name="connsiteY249" fmla="*/ 91015 h 586292"/>
              <a:gd name="connsiteX250" fmla="*/ 132138 w 577154"/>
              <a:gd name="connsiteY250" fmla="*/ 91015 h 586292"/>
              <a:gd name="connsiteX251" fmla="*/ 136694 w 577154"/>
              <a:gd name="connsiteY251" fmla="*/ 85706 h 586292"/>
              <a:gd name="connsiteX252" fmla="*/ 142010 w 577154"/>
              <a:gd name="connsiteY252" fmla="*/ 79638 h 586292"/>
              <a:gd name="connsiteX253" fmla="*/ 148085 w 577154"/>
              <a:gd name="connsiteY253" fmla="*/ 73571 h 586292"/>
              <a:gd name="connsiteX254" fmla="*/ 154161 w 577154"/>
              <a:gd name="connsiteY254" fmla="*/ 67503 h 586292"/>
              <a:gd name="connsiteX255" fmla="*/ 161755 w 577154"/>
              <a:gd name="connsiteY255" fmla="*/ 60677 h 586292"/>
              <a:gd name="connsiteX256" fmla="*/ 214914 w 577154"/>
              <a:gd name="connsiteY256" fmla="*/ 25029 h 586292"/>
              <a:gd name="connsiteX257" fmla="*/ 168589 w 577154"/>
              <a:gd name="connsiteY257" fmla="*/ 40198 h 586292"/>
              <a:gd name="connsiteX258" fmla="*/ 188334 w 577154"/>
              <a:gd name="connsiteY258" fmla="*/ 40198 h 586292"/>
              <a:gd name="connsiteX259" fmla="*/ 196688 w 577154"/>
              <a:gd name="connsiteY259" fmla="*/ 34889 h 586292"/>
              <a:gd name="connsiteX260" fmla="*/ 202004 w 577154"/>
              <a:gd name="connsiteY260" fmla="*/ 31855 h 586292"/>
              <a:gd name="connsiteX261" fmla="*/ 211877 w 577154"/>
              <a:gd name="connsiteY261" fmla="*/ 26546 h 586292"/>
              <a:gd name="connsiteX262" fmla="*/ 214914 w 577154"/>
              <a:gd name="connsiteY262" fmla="*/ 25029 h 586292"/>
              <a:gd name="connsiteX263" fmla="*/ 318954 w 577154"/>
              <a:gd name="connsiteY263" fmla="*/ 20478 h 586292"/>
              <a:gd name="connsiteX264" fmla="*/ 294653 w 577154"/>
              <a:gd name="connsiteY264" fmla="*/ 21237 h 586292"/>
              <a:gd name="connsiteX265" fmla="*/ 290855 w 577154"/>
              <a:gd name="connsiteY265" fmla="*/ 21995 h 586292"/>
              <a:gd name="connsiteX266" fmla="*/ 289337 w 577154"/>
              <a:gd name="connsiteY266" fmla="*/ 22754 h 586292"/>
              <a:gd name="connsiteX267" fmla="*/ 278705 w 577154"/>
              <a:gd name="connsiteY267" fmla="*/ 24271 h 586292"/>
              <a:gd name="connsiteX268" fmla="*/ 277945 w 577154"/>
              <a:gd name="connsiteY268" fmla="*/ 24271 h 586292"/>
              <a:gd name="connsiteX269" fmla="*/ 268073 w 577154"/>
              <a:gd name="connsiteY269" fmla="*/ 26546 h 586292"/>
              <a:gd name="connsiteX270" fmla="*/ 266554 w 577154"/>
              <a:gd name="connsiteY270" fmla="*/ 26546 h 586292"/>
              <a:gd name="connsiteX271" fmla="*/ 257441 w 577154"/>
              <a:gd name="connsiteY271" fmla="*/ 29580 h 586292"/>
              <a:gd name="connsiteX272" fmla="*/ 254404 w 577154"/>
              <a:gd name="connsiteY272" fmla="*/ 30338 h 586292"/>
              <a:gd name="connsiteX273" fmla="*/ 246810 w 577154"/>
              <a:gd name="connsiteY273" fmla="*/ 32614 h 586292"/>
              <a:gd name="connsiteX274" fmla="*/ 240734 w 577154"/>
              <a:gd name="connsiteY274" fmla="*/ 35648 h 586292"/>
              <a:gd name="connsiteX275" fmla="*/ 236937 w 577154"/>
              <a:gd name="connsiteY275" fmla="*/ 37164 h 586292"/>
              <a:gd name="connsiteX276" fmla="*/ 109355 w 577154"/>
              <a:gd name="connsiteY276" fmla="*/ 163069 h 586292"/>
              <a:gd name="connsiteX277" fmla="*/ 109355 w 577154"/>
              <a:gd name="connsiteY277" fmla="*/ 164586 h 586292"/>
              <a:gd name="connsiteX278" fmla="*/ 104799 w 577154"/>
              <a:gd name="connsiteY278" fmla="*/ 174446 h 586292"/>
              <a:gd name="connsiteX279" fmla="*/ 103280 w 577154"/>
              <a:gd name="connsiteY279" fmla="*/ 178239 h 586292"/>
              <a:gd name="connsiteX280" fmla="*/ 100242 w 577154"/>
              <a:gd name="connsiteY280" fmla="*/ 185823 h 586292"/>
              <a:gd name="connsiteX281" fmla="*/ 97964 w 577154"/>
              <a:gd name="connsiteY281" fmla="*/ 190374 h 586292"/>
              <a:gd name="connsiteX282" fmla="*/ 95686 w 577154"/>
              <a:gd name="connsiteY282" fmla="*/ 197201 h 586292"/>
              <a:gd name="connsiteX283" fmla="*/ 94167 w 577154"/>
              <a:gd name="connsiteY283" fmla="*/ 203268 h 586292"/>
              <a:gd name="connsiteX284" fmla="*/ 92648 w 577154"/>
              <a:gd name="connsiteY284" fmla="*/ 209336 h 586292"/>
              <a:gd name="connsiteX285" fmla="*/ 90370 w 577154"/>
              <a:gd name="connsiteY285" fmla="*/ 215404 h 586292"/>
              <a:gd name="connsiteX286" fmla="*/ 88851 w 577154"/>
              <a:gd name="connsiteY286" fmla="*/ 221471 h 586292"/>
              <a:gd name="connsiteX287" fmla="*/ 87332 w 577154"/>
              <a:gd name="connsiteY287" fmla="*/ 227539 h 586292"/>
              <a:gd name="connsiteX288" fmla="*/ 86573 w 577154"/>
              <a:gd name="connsiteY288" fmla="*/ 234365 h 586292"/>
              <a:gd name="connsiteX289" fmla="*/ 85054 w 577154"/>
              <a:gd name="connsiteY289" fmla="*/ 240433 h 586292"/>
              <a:gd name="connsiteX290" fmla="*/ 84295 w 577154"/>
              <a:gd name="connsiteY290" fmla="*/ 247259 h 586292"/>
              <a:gd name="connsiteX291" fmla="*/ 83535 w 577154"/>
              <a:gd name="connsiteY291" fmla="*/ 253327 h 586292"/>
              <a:gd name="connsiteX292" fmla="*/ 82776 w 577154"/>
              <a:gd name="connsiteY292" fmla="*/ 260912 h 586292"/>
              <a:gd name="connsiteX293" fmla="*/ 82016 w 577154"/>
              <a:gd name="connsiteY293" fmla="*/ 266221 h 586292"/>
              <a:gd name="connsiteX294" fmla="*/ 81257 w 577154"/>
              <a:gd name="connsiteY294" fmla="*/ 275322 h 586292"/>
              <a:gd name="connsiteX295" fmla="*/ 81257 w 577154"/>
              <a:gd name="connsiteY295" fmla="*/ 279873 h 586292"/>
              <a:gd name="connsiteX296" fmla="*/ 80498 w 577154"/>
              <a:gd name="connsiteY296" fmla="*/ 293525 h 586292"/>
              <a:gd name="connsiteX297" fmla="*/ 81257 w 577154"/>
              <a:gd name="connsiteY297" fmla="*/ 306419 h 586292"/>
              <a:gd name="connsiteX298" fmla="*/ 81257 w 577154"/>
              <a:gd name="connsiteY298" fmla="*/ 311729 h 586292"/>
              <a:gd name="connsiteX299" fmla="*/ 82016 w 577154"/>
              <a:gd name="connsiteY299" fmla="*/ 320072 h 586292"/>
              <a:gd name="connsiteX300" fmla="*/ 82776 w 577154"/>
              <a:gd name="connsiteY300" fmla="*/ 325381 h 586292"/>
              <a:gd name="connsiteX301" fmla="*/ 83535 w 577154"/>
              <a:gd name="connsiteY301" fmla="*/ 332966 h 586292"/>
              <a:gd name="connsiteX302" fmla="*/ 84295 w 577154"/>
              <a:gd name="connsiteY302" fmla="*/ 339033 h 586292"/>
              <a:gd name="connsiteX303" fmla="*/ 85054 w 577154"/>
              <a:gd name="connsiteY303" fmla="*/ 345859 h 586292"/>
              <a:gd name="connsiteX304" fmla="*/ 86573 w 577154"/>
              <a:gd name="connsiteY304" fmla="*/ 351927 h 586292"/>
              <a:gd name="connsiteX305" fmla="*/ 87332 w 577154"/>
              <a:gd name="connsiteY305" fmla="*/ 358753 h 586292"/>
              <a:gd name="connsiteX306" fmla="*/ 88851 w 577154"/>
              <a:gd name="connsiteY306" fmla="*/ 364821 h 586292"/>
              <a:gd name="connsiteX307" fmla="*/ 90370 w 577154"/>
              <a:gd name="connsiteY307" fmla="*/ 370889 h 586292"/>
              <a:gd name="connsiteX308" fmla="*/ 91889 w 577154"/>
              <a:gd name="connsiteY308" fmla="*/ 376956 h 586292"/>
              <a:gd name="connsiteX309" fmla="*/ 94167 w 577154"/>
              <a:gd name="connsiteY309" fmla="*/ 383783 h 586292"/>
              <a:gd name="connsiteX310" fmla="*/ 95686 w 577154"/>
              <a:gd name="connsiteY310" fmla="*/ 389092 h 586292"/>
              <a:gd name="connsiteX311" fmla="*/ 97964 w 577154"/>
              <a:gd name="connsiteY311" fmla="*/ 395918 h 586292"/>
              <a:gd name="connsiteX312" fmla="*/ 100242 w 577154"/>
              <a:gd name="connsiteY312" fmla="*/ 401227 h 586292"/>
              <a:gd name="connsiteX313" fmla="*/ 103280 w 577154"/>
              <a:gd name="connsiteY313" fmla="*/ 408812 h 586292"/>
              <a:gd name="connsiteX314" fmla="*/ 104799 w 577154"/>
              <a:gd name="connsiteY314" fmla="*/ 412604 h 586292"/>
              <a:gd name="connsiteX315" fmla="*/ 108596 w 577154"/>
              <a:gd name="connsiteY315" fmla="*/ 422464 h 586292"/>
              <a:gd name="connsiteX316" fmla="*/ 109355 w 577154"/>
              <a:gd name="connsiteY316" fmla="*/ 423223 h 586292"/>
              <a:gd name="connsiteX317" fmla="*/ 236937 w 577154"/>
              <a:gd name="connsiteY317" fmla="*/ 549886 h 586292"/>
              <a:gd name="connsiteX318" fmla="*/ 240734 w 577154"/>
              <a:gd name="connsiteY318" fmla="*/ 551403 h 586292"/>
              <a:gd name="connsiteX319" fmla="*/ 246810 w 577154"/>
              <a:gd name="connsiteY319" fmla="*/ 553678 h 586292"/>
              <a:gd name="connsiteX320" fmla="*/ 254404 w 577154"/>
              <a:gd name="connsiteY320" fmla="*/ 555954 h 586292"/>
              <a:gd name="connsiteX321" fmla="*/ 257441 w 577154"/>
              <a:gd name="connsiteY321" fmla="*/ 557471 h 586292"/>
              <a:gd name="connsiteX322" fmla="*/ 266554 w 577154"/>
              <a:gd name="connsiteY322" fmla="*/ 559746 h 586292"/>
              <a:gd name="connsiteX323" fmla="*/ 268073 w 577154"/>
              <a:gd name="connsiteY323" fmla="*/ 559746 h 586292"/>
              <a:gd name="connsiteX324" fmla="*/ 277945 w 577154"/>
              <a:gd name="connsiteY324" fmla="*/ 562021 h 586292"/>
              <a:gd name="connsiteX325" fmla="*/ 278705 w 577154"/>
              <a:gd name="connsiteY325" fmla="*/ 562780 h 586292"/>
              <a:gd name="connsiteX326" fmla="*/ 289337 w 577154"/>
              <a:gd name="connsiteY326" fmla="*/ 564297 h 586292"/>
              <a:gd name="connsiteX327" fmla="*/ 290855 w 577154"/>
              <a:gd name="connsiteY327" fmla="*/ 564297 h 586292"/>
              <a:gd name="connsiteX328" fmla="*/ 294653 w 577154"/>
              <a:gd name="connsiteY328" fmla="*/ 565055 h 586292"/>
              <a:gd name="connsiteX329" fmla="*/ 318954 w 577154"/>
              <a:gd name="connsiteY329" fmla="*/ 566572 h 586292"/>
              <a:gd name="connsiteX330" fmla="*/ 556650 w 577154"/>
              <a:gd name="connsiteY330" fmla="*/ 293525 h 586292"/>
              <a:gd name="connsiteX331" fmla="*/ 318954 w 577154"/>
              <a:gd name="connsiteY331" fmla="*/ 20478 h 586292"/>
              <a:gd name="connsiteX332" fmla="*/ 258201 w 577154"/>
              <a:gd name="connsiteY332" fmla="*/ 0 h 586292"/>
              <a:gd name="connsiteX333" fmla="*/ 287818 w 577154"/>
              <a:gd name="connsiteY333" fmla="*/ 2275 h 586292"/>
              <a:gd name="connsiteX334" fmla="*/ 318954 w 577154"/>
              <a:gd name="connsiteY334" fmla="*/ 0 h 586292"/>
              <a:gd name="connsiteX335" fmla="*/ 577154 w 577154"/>
              <a:gd name="connsiteY335" fmla="*/ 293525 h 586292"/>
              <a:gd name="connsiteX336" fmla="*/ 318954 w 577154"/>
              <a:gd name="connsiteY336" fmla="*/ 586292 h 586292"/>
              <a:gd name="connsiteX337" fmla="*/ 287818 w 577154"/>
              <a:gd name="connsiteY337" fmla="*/ 584775 h 586292"/>
              <a:gd name="connsiteX338" fmla="*/ 258201 w 577154"/>
              <a:gd name="connsiteY338" fmla="*/ 586292 h 586292"/>
              <a:gd name="connsiteX339" fmla="*/ 110874 w 577154"/>
              <a:gd name="connsiteY339" fmla="*/ 533958 h 586292"/>
              <a:gd name="connsiteX340" fmla="*/ 108596 w 577154"/>
              <a:gd name="connsiteY340" fmla="*/ 532441 h 586292"/>
              <a:gd name="connsiteX341" fmla="*/ 60753 w 577154"/>
              <a:gd name="connsiteY341" fmla="*/ 482383 h 586292"/>
              <a:gd name="connsiteX342" fmla="*/ 59993 w 577154"/>
              <a:gd name="connsiteY342" fmla="*/ 480866 h 586292"/>
              <a:gd name="connsiteX343" fmla="*/ 25060 w 577154"/>
              <a:gd name="connsiteY343" fmla="*/ 419430 h 586292"/>
              <a:gd name="connsiteX344" fmla="*/ 24301 w 577154"/>
              <a:gd name="connsiteY344" fmla="*/ 417913 h 586292"/>
              <a:gd name="connsiteX345" fmla="*/ 0 w 577154"/>
              <a:gd name="connsiteY345" fmla="*/ 293525 h 586292"/>
              <a:gd name="connsiteX346" fmla="*/ 9872 w 577154"/>
              <a:gd name="connsiteY346" fmla="*/ 211611 h 586292"/>
              <a:gd name="connsiteX347" fmla="*/ 10632 w 577154"/>
              <a:gd name="connsiteY347" fmla="*/ 207819 h 586292"/>
              <a:gd name="connsiteX348" fmla="*/ 28857 w 577154"/>
              <a:gd name="connsiteY348" fmla="*/ 158519 h 586292"/>
              <a:gd name="connsiteX349" fmla="*/ 29617 w 577154"/>
              <a:gd name="connsiteY349" fmla="*/ 157002 h 586292"/>
              <a:gd name="connsiteX350" fmla="*/ 67588 w 577154"/>
              <a:gd name="connsiteY350" fmla="*/ 94808 h 586292"/>
              <a:gd name="connsiteX351" fmla="*/ 69106 w 577154"/>
              <a:gd name="connsiteY351" fmla="*/ 94049 h 586292"/>
              <a:gd name="connsiteX352" fmla="*/ 123025 w 577154"/>
              <a:gd name="connsiteY352" fmla="*/ 43232 h 586292"/>
              <a:gd name="connsiteX353" fmla="*/ 258201 w 577154"/>
              <a:gd name="connsiteY353" fmla="*/ 0 h 5862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</a:cxnLst>
            <a:rect l="l" t="t" r="r" b="b"/>
            <a:pathLst>
              <a:path w="577154" h="586292">
                <a:moveTo>
                  <a:pt x="149604" y="536234"/>
                </a:moveTo>
                <a:cubicBezTo>
                  <a:pt x="170108" y="548369"/>
                  <a:pt x="191372" y="556712"/>
                  <a:pt x="214914" y="562021"/>
                </a:cubicBezTo>
                <a:cubicBezTo>
                  <a:pt x="214155" y="561263"/>
                  <a:pt x="212636" y="560504"/>
                  <a:pt x="211877" y="559746"/>
                </a:cubicBezTo>
                <a:cubicBezTo>
                  <a:pt x="208079" y="558229"/>
                  <a:pt x="205041" y="556712"/>
                  <a:pt x="202004" y="554437"/>
                </a:cubicBezTo>
                <a:cubicBezTo>
                  <a:pt x="199725" y="553678"/>
                  <a:pt x="198207" y="552920"/>
                  <a:pt x="196688" y="551403"/>
                </a:cubicBezTo>
                <a:cubicBezTo>
                  <a:pt x="192131" y="549128"/>
                  <a:pt x="188334" y="546094"/>
                  <a:pt x="184537" y="543818"/>
                </a:cubicBezTo>
                <a:cubicBezTo>
                  <a:pt x="182259" y="542301"/>
                  <a:pt x="179981" y="540784"/>
                  <a:pt x="177702" y="538509"/>
                </a:cubicBezTo>
                <a:cubicBezTo>
                  <a:pt x="176184" y="537751"/>
                  <a:pt x="175424" y="536992"/>
                  <a:pt x="173905" y="536234"/>
                </a:cubicBezTo>
                <a:close/>
                <a:moveTo>
                  <a:pt x="299943" y="499816"/>
                </a:moveTo>
                <a:cubicBezTo>
                  <a:pt x="306021" y="500576"/>
                  <a:pt x="312100" y="500576"/>
                  <a:pt x="318939" y="500576"/>
                </a:cubicBezTo>
                <a:cubicBezTo>
                  <a:pt x="324257" y="500576"/>
                  <a:pt x="329576" y="505139"/>
                  <a:pt x="329576" y="511222"/>
                </a:cubicBezTo>
                <a:cubicBezTo>
                  <a:pt x="329576" y="516546"/>
                  <a:pt x="325017" y="521108"/>
                  <a:pt x="319698" y="521108"/>
                </a:cubicBezTo>
                <a:lnTo>
                  <a:pt x="318939" y="521108"/>
                </a:lnTo>
                <a:cubicBezTo>
                  <a:pt x="311340" y="521108"/>
                  <a:pt x="304502" y="520348"/>
                  <a:pt x="297663" y="519587"/>
                </a:cubicBezTo>
                <a:cubicBezTo>
                  <a:pt x="291584" y="518827"/>
                  <a:pt x="287785" y="514264"/>
                  <a:pt x="288545" y="508941"/>
                </a:cubicBezTo>
                <a:cubicBezTo>
                  <a:pt x="289305" y="502857"/>
                  <a:pt x="293864" y="499055"/>
                  <a:pt x="299943" y="499816"/>
                </a:cubicBezTo>
                <a:close/>
                <a:moveTo>
                  <a:pt x="88851" y="485417"/>
                </a:moveTo>
                <a:cubicBezTo>
                  <a:pt x="98723" y="496794"/>
                  <a:pt x="109355" y="506654"/>
                  <a:pt x="119987" y="515755"/>
                </a:cubicBezTo>
                <a:lnTo>
                  <a:pt x="150364" y="515755"/>
                </a:lnTo>
                <a:cubicBezTo>
                  <a:pt x="149604" y="514997"/>
                  <a:pt x="148845" y="514238"/>
                  <a:pt x="148085" y="513480"/>
                </a:cubicBezTo>
                <a:cubicBezTo>
                  <a:pt x="146566" y="511204"/>
                  <a:pt x="144288" y="508929"/>
                  <a:pt x="142010" y="507412"/>
                </a:cubicBezTo>
                <a:cubicBezTo>
                  <a:pt x="140491" y="505137"/>
                  <a:pt x="138213" y="502861"/>
                  <a:pt x="136694" y="501344"/>
                </a:cubicBezTo>
                <a:cubicBezTo>
                  <a:pt x="133656" y="497552"/>
                  <a:pt x="130619" y="493760"/>
                  <a:pt x="127581" y="489967"/>
                </a:cubicBezTo>
                <a:cubicBezTo>
                  <a:pt x="126062" y="488450"/>
                  <a:pt x="125303" y="486934"/>
                  <a:pt x="123784" y="485417"/>
                </a:cubicBezTo>
                <a:close/>
                <a:moveTo>
                  <a:pt x="399912" y="482256"/>
                </a:moveTo>
                <a:cubicBezTo>
                  <a:pt x="402382" y="483014"/>
                  <a:pt x="404471" y="484721"/>
                  <a:pt x="405611" y="486996"/>
                </a:cubicBezTo>
                <a:cubicBezTo>
                  <a:pt x="408650" y="492305"/>
                  <a:pt x="406371" y="498373"/>
                  <a:pt x="401812" y="500648"/>
                </a:cubicBezTo>
                <a:cubicBezTo>
                  <a:pt x="394973" y="504441"/>
                  <a:pt x="388895" y="506716"/>
                  <a:pt x="382056" y="509750"/>
                </a:cubicBezTo>
                <a:cubicBezTo>
                  <a:pt x="380536" y="509750"/>
                  <a:pt x="379776" y="510508"/>
                  <a:pt x="378257" y="510508"/>
                </a:cubicBezTo>
                <a:cubicBezTo>
                  <a:pt x="374458" y="510508"/>
                  <a:pt x="370658" y="507474"/>
                  <a:pt x="369139" y="503682"/>
                </a:cubicBezTo>
                <a:cubicBezTo>
                  <a:pt x="366859" y="498373"/>
                  <a:pt x="369899" y="492305"/>
                  <a:pt x="375217" y="490789"/>
                </a:cubicBezTo>
                <a:cubicBezTo>
                  <a:pt x="380536" y="488513"/>
                  <a:pt x="386615" y="486238"/>
                  <a:pt x="391934" y="483204"/>
                </a:cubicBezTo>
                <a:cubicBezTo>
                  <a:pt x="394593" y="481687"/>
                  <a:pt x="397443" y="481498"/>
                  <a:pt x="399912" y="482256"/>
                </a:cubicBezTo>
                <a:close/>
                <a:moveTo>
                  <a:pt x="229351" y="474063"/>
                </a:moveTo>
                <a:cubicBezTo>
                  <a:pt x="234677" y="477094"/>
                  <a:pt x="240764" y="480126"/>
                  <a:pt x="246091" y="483157"/>
                </a:cubicBezTo>
                <a:cubicBezTo>
                  <a:pt x="250656" y="486188"/>
                  <a:pt x="252939" y="492250"/>
                  <a:pt x="250656" y="496797"/>
                </a:cubicBezTo>
                <a:cubicBezTo>
                  <a:pt x="248374" y="500586"/>
                  <a:pt x="245330" y="502101"/>
                  <a:pt x="241525" y="502101"/>
                </a:cubicBezTo>
                <a:cubicBezTo>
                  <a:pt x="240004" y="502101"/>
                  <a:pt x="238482" y="502101"/>
                  <a:pt x="236960" y="501343"/>
                </a:cubicBezTo>
                <a:cubicBezTo>
                  <a:pt x="230872" y="498312"/>
                  <a:pt x="224024" y="494523"/>
                  <a:pt x="218698" y="490735"/>
                </a:cubicBezTo>
                <a:cubicBezTo>
                  <a:pt x="214132" y="487703"/>
                  <a:pt x="212610" y="481641"/>
                  <a:pt x="215654" y="477094"/>
                </a:cubicBezTo>
                <a:cubicBezTo>
                  <a:pt x="218698" y="471790"/>
                  <a:pt x="224785" y="471032"/>
                  <a:pt x="229351" y="474063"/>
                </a:cubicBezTo>
                <a:close/>
                <a:moveTo>
                  <a:pt x="464745" y="433889"/>
                </a:moveTo>
                <a:cubicBezTo>
                  <a:pt x="469298" y="436925"/>
                  <a:pt x="470057" y="443755"/>
                  <a:pt x="466262" y="447550"/>
                </a:cubicBezTo>
                <a:cubicBezTo>
                  <a:pt x="461709" y="453622"/>
                  <a:pt x="457155" y="458935"/>
                  <a:pt x="451842" y="463488"/>
                </a:cubicBezTo>
                <a:cubicBezTo>
                  <a:pt x="450324" y="465765"/>
                  <a:pt x="447288" y="466524"/>
                  <a:pt x="445012" y="466524"/>
                </a:cubicBezTo>
                <a:cubicBezTo>
                  <a:pt x="442735" y="466524"/>
                  <a:pt x="439699" y="465765"/>
                  <a:pt x="438181" y="463488"/>
                </a:cubicBezTo>
                <a:cubicBezTo>
                  <a:pt x="433627" y="459694"/>
                  <a:pt x="433627" y="453622"/>
                  <a:pt x="438181" y="449068"/>
                </a:cubicBezTo>
                <a:cubicBezTo>
                  <a:pt x="441976" y="444514"/>
                  <a:pt x="446530" y="439961"/>
                  <a:pt x="450324" y="435407"/>
                </a:cubicBezTo>
                <a:cubicBezTo>
                  <a:pt x="454119" y="430853"/>
                  <a:pt x="460191" y="430094"/>
                  <a:pt x="464745" y="433889"/>
                </a:cubicBezTo>
                <a:close/>
                <a:moveTo>
                  <a:pt x="49362" y="424740"/>
                </a:moveTo>
                <a:cubicBezTo>
                  <a:pt x="56196" y="439150"/>
                  <a:pt x="64550" y="452803"/>
                  <a:pt x="73663" y="464938"/>
                </a:cubicBezTo>
                <a:lnTo>
                  <a:pt x="109355" y="464938"/>
                </a:lnTo>
                <a:cubicBezTo>
                  <a:pt x="107836" y="461904"/>
                  <a:pt x="106318" y="459629"/>
                  <a:pt x="104039" y="456595"/>
                </a:cubicBezTo>
                <a:cubicBezTo>
                  <a:pt x="103280" y="455078"/>
                  <a:pt x="102521" y="453561"/>
                  <a:pt x="101761" y="452044"/>
                </a:cubicBezTo>
                <a:cubicBezTo>
                  <a:pt x="99483" y="448252"/>
                  <a:pt x="97205" y="443701"/>
                  <a:pt x="94926" y="439909"/>
                </a:cubicBezTo>
                <a:cubicBezTo>
                  <a:pt x="94167" y="438392"/>
                  <a:pt x="93408" y="436875"/>
                  <a:pt x="92648" y="435358"/>
                </a:cubicBezTo>
                <a:cubicBezTo>
                  <a:pt x="91129" y="431566"/>
                  <a:pt x="89611" y="428532"/>
                  <a:pt x="88092" y="424740"/>
                </a:cubicBezTo>
                <a:close/>
                <a:moveTo>
                  <a:pt x="161771" y="417898"/>
                </a:moveTo>
                <a:cubicBezTo>
                  <a:pt x="166316" y="414864"/>
                  <a:pt x="173134" y="415623"/>
                  <a:pt x="176164" y="420173"/>
                </a:cubicBezTo>
                <a:cubicBezTo>
                  <a:pt x="179194" y="425482"/>
                  <a:pt x="183739" y="430790"/>
                  <a:pt x="187527" y="435341"/>
                </a:cubicBezTo>
                <a:cubicBezTo>
                  <a:pt x="190557" y="439891"/>
                  <a:pt x="190557" y="446717"/>
                  <a:pt x="186012" y="449750"/>
                </a:cubicBezTo>
                <a:cubicBezTo>
                  <a:pt x="183739" y="451267"/>
                  <a:pt x="181466" y="452025"/>
                  <a:pt x="179194" y="452025"/>
                </a:cubicBezTo>
                <a:cubicBezTo>
                  <a:pt x="176921" y="452025"/>
                  <a:pt x="173891" y="451267"/>
                  <a:pt x="171619" y="448233"/>
                </a:cubicBezTo>
                <a:cubicBezTo>
                  <a:pt x="167074" y="442925"/>
                  <a:pt x="163286" y="437616"/>
                  <a:pt x="159498" y="431549"/>
                </a:cubicBezTo>
                <a:cubicBezTo>
                  <a:pt x="155711" y="426998"/>
                  <a:pt x="157226" y="420931"/>
                  <a:pt x="161771" y="417898"/>
                </a:cubicBezTo>
                <a:close/>
                <a:moveTo>
                  <a:pt x="31136" y="373923"/>
                </a:moveTo>
                <a:cubicBezTo>
                  <a:pt x="33414" y="384541"/>
                  <a:pt x="37211" y="394401"/>
                  <a:pt x="41008" y="404261"/>
                </a:cubicBezTo>
                <a:lnTo>
                  <a:pt x="79738" y="404261"/>
                </a:lnTo>
                <a:cubicBezTo>
                  <a:pt x="79738" y="403503"/>
                  <a:pt x="78979" y="401986"/>
                  <a:pt x="78979" y="401227"/>
                </a:cubicBezTo>
                <a:cubicBezTo>
                  <a:pt x="78219" y="399710"/>
                  <a:pt x="77460" y="398952"/>
                  <a:pt x="77460" y="397435"/>
                </a:cubicBezTo>
                <a:cubicBezTo>
                  <a:pt x="75182" y="391367"/>
                  <a:pt x="73663" y="385300"/>
                  <a:pt x="72144" y="379232"/>
                </a:cubicBezTo>
                <a:cubicBezTo>
                  <a:pt x="71385" y="378473"/>
                  <a:pt x="71385" y="378473"/>
                  <a:pt x="71385" y="377715"/>
                </a:cubicBezTo>
                <a:cubicBezTo>
                  <a:pt x="71385" y="376956"/>
                  <a:pt x="70625" y="375439"/>
                  <a:pt x="70625" y="373923"/>
                </a:cubicBezTo>
                <a:close/>
                <a:moveTo>
                  <a:pt x="499728" y="361797"/>
                </a:moveTo>
                <a:cubicBezTo>
                  <a:pt x="505037" y="363315"/>
                  <a:pt x="508071" y="369384"/>
                  <a:pt x="506554" y="374694"/>
                </a:cubicBezTo>
                <a:cubicBezTo>
                  <a:pt x="504279" y="381522"/>
                  <a:pt x="501245" y="387591"/>
                  <a:pt x="498970" y="394418"/>
                </a:cubicBezTo>
                <a:cubicBezTo>
                  <a:pt x="497453" y="398211"/>
                  <a:pt x="493661" y="400487"/>
                  <a:pt x="489868" y="400487"/>
                </a:cubicBezTo>
                <a:cubicBezTo>
                  <a:pt x="488352" y="400487"/>
                  <a:pt x="486835" y="399729"/>
                  <a:pt x="485318" y="399729"/>
                </a:cubicBezTo>
                <a:cubicBezTo>
                  <a:pt x="480767" y="397453"/>
                  <a:pt x="477733" y="391384"/>
                  <a:pt x="480009" y="386073"/>
                </a:cubicBezTo>
                <a:cubicBezTo>
                  <a:pt x="483042" y="380004"/>
                  <a:pt x="485318" y="373935"/>
                  <a:pt x="486835" y="367866"/>
                </a:cubicBezTo>
                <a:cubicBezTo>
                  <a:pt x="489110" y="362556"/>
                  <a:pt x="494419" y="360280"/>
                  <a:pt x="499728" y="361797"/>
                </a:cubicBezTo>
                <a:close/>
                <a:moveTo>
                  <a:pt x="132907" y="343643"/>
                </a:moveTo>
                <a:cubicBezTo>
                  <a:pt x="138227" y="342126"/>
                  <a:pt x="143546" y="345161"/>
                  <a:pt x="145066" y="350471"/>
                </a:cubicBezTo>
                <a:cubicBezTo>
                  <a:pt x="146586" y="356540"/>
                  <a:pt x="148865" y="363368"/>
                  <a:pt x="150385" y="368678"/>
                </a:cubicBezTo>
                <a:cubicBezTo>
                  <a:pt x="152665" y="373988"/>
                  <a:pt x="149625" y="380057"/>
                  <a:pt x="144306" y="381575"/>
                </a:cubicBezTo>
                <a:cubicBezTo>
                  <a:pt x="142786" y="382333"/>
                  <a:pt x="142026" y="382333"/>
                  <a:pt x="141266" y="382333"/>
                </a:cubicBezTo>
                <a:cubicBezTo>
                  <a:pt x="136707" y="382333"/>
                  <a:pt x="132907" y="380057"/>
                  <a:pt x="131388" y="375506"/>
                </a:cubicBezTo>
                <a:cubicBezTo>
                  <a:pt x="129108" y="368678"/>
                  <a:pt x="126828" y="362609"/>
                  <a:pt x="125309" y="355781"/>
                </a:cubicBezTo>
                <a:cubicBezTo>
                  <a:pt x="123789" y="350471"/>
                  <a:pt x="127588" y="344402"/>
                  <a:pt x="132907" y="343643"/>
                </a:cubicBezTo>
                <a:close/>
                <a:moveTo>
                  <a:pt x="21263" y="323864"/>
                </a:moveTo>
                <a:cubicBezTo>
                  <a:pt x="22782" y="333724"/>
                  <a:pt x="24301" y="344342"/>
                  <a:pt x="25820" y="354203"/>
                </a:cubicBezTo>
                <a:lnTo>
                  <a:pt x="66069" y="354203"/>
                </a:lnTo>
                <a:cubicBezTo>
                  <a:pt x="65309" y="348135"/>
                  <a:pt x="63790" y="342826"/>
                  <a:pt x="63031" y="337516"/>
                </a:cubicBezTo>
                <a:cubicBezTo>
                  <a:pt x="63031" y="336758"/>
                  <a:pt x="63031" y="336758"/>
                  <a:pt x="63031" y="335999"/>
                </a:cubicBezTo>
                <a:cubicBezTo>
                  <a:pt x="63031" y="332207"/>
                  <a:pt x="62272" y="327656"/>
                  <a:pt x="61512" y="323864"/>
                </a:cubicBezTo>
                <a:close/>
                <a:moveTo>
                  <a:pt x="509625" y="282911"/>
                </a:moveTo>
                <a:cubicBezTo>
                  <a:pt x="514955" y="282911"/>
                  <a:pt x="519524" y="286704"/>
                  <a:pt x="519524" y="292773"/>
                </a:cubicBezTo>
                <a:lnTo>
                  <a:pt x="519524" y="293532"/>
                </a:lnTo>
                <a:cubicBezTo>
                  <a:pt x="519524" y="300360"/>
                  <a:pt x="519524" y="307187"/>
                  <a:pt x="518763" y="313256"/>
                </a:cubicBezTo>
                <a:cubicBezTo>
                  <a:pt x="518763" y="318567"/>
                  <a:pt x="514194" y="323118"/>
                  <a:pt x="508863" y="323118"/>
                </a:cubicBezTo>
                <a:cubicBezTo>
                  <a:pt x="508102" y="323118"/>
                  <a:pt x="508102" y="323118"/>
                  <a:pt x="508102" y="322360"/>
                </a:cubicBezTo>
                <a:cubicBezTo>
                  <a:pt x="502010" y="322360"/>
                  <a:pt x="498202" y="317808"/>
                  <a:pt x="498964" y="311739"/>
                </a:cubicBezTo>
                <a:cubicBezTo>
                  <a:pt x="498964" y="305670"/>
                  <a:pt x="498964" y="299601"/>
                  <a:pt x="498964" y="293532"/>
                </a:cubicBezTo>
                <a:cubicBezTo>
                  <a:pt x="498964" y="287463"/>
                  <a:pt x="503533" y="282911"/>
                  <a:pt x="509625" y="282911"/>
                </a:cubicBezTo>
                <a:close/>
                <a:moveTo>
                  <a:pt x="20504" y="273047"/>
                </a:moveTo>
                <a:cubicBezTo>
                  <a:pt x="20504" y="279873"/>
                  <a:pt x="19744" y="286699"/>
                  <a:pt x="19744" y="293525"/>
                </a:cubicBezTo>
                <a:cubicBezTo>
                  <a:pt x="19744" y="296559"/>
                  <a:pt x="20504" y="300352"/>
                  <a:pt x="20504" y="303385"/>
                </a:cubicBezTo>
                <a:lnTo>
                  <a:pt x="60753" y="303385"/>
                </a:lnTo>
                <a:cubicBezTo>
                  <a:pt x="60753" y="300352"/>
                  <a:pt x="60753" y="296559"/>
                  <a:pt x="60753" y="293525"/>
                </a:cubicBezTo>
                <a:cubicBezTo>
                  <a:pt x="60753" y="286699"/>
                  <a:pt x="60753" y="279873"/>
                  <a:pt x="61512" y="273805"/>
                </a:cubicBezTo>
                <a:cubicBezTo>
                  <a:pt x="61512" y="273047"/>
                  <a:pt x="61512" y="273047"/>
                  <a:pt x="61512" y="273047"/>
                </a:cubicBezTo>
                <a:close/>
                <a:moveTo>
                  <a:pt x="129811" y="263173"/>
                </a:moveTo>
                <a:cubicBezTo>
                  <a:pt x="135111" y="263932"/>
                  <a:pt x="138897" y="268484"/>
                  <a:pt x="138897" y="274553"/>
                </a:cubicBezTo>
                <a:cubicBezTo>
                  <a:pt x="138140" y="280622"/>
                  <a:pt x="138140" y="286691"/>
                  <a:pt x="138140" y="292760"/>
                </a:cubicBezTo>
                <a:lnTo>
                  <a:pt x="138140" y="293518"/>
                </a:lnTo>
                <a:cubicBezTo>
                  <a:pt x="138140" y="298829"/>
                  <a:pt x="133597" y="303380"/>
                  <a:pt x="128297" y="303380"/>
                </a:cubicBezTo>
                <a:cubicBezTo>
                  <a:pt x="122997" y="303380"/>
                  <a:pt x="118454" y="299587"/>
                  <a:pt x="117697" y="294277"/>
                </a:cubicBezTo>
                <a:lnTo>
                  <a:pt x="117697" y="293518"/>
                </a:lnTo>
                <a:cubicBezTo>
                  <a:pt x="117697" y="286691"/>
                  <a:pt x="118454" y="279863"/>
                  <a:pt x="118454" y="273035"/>
                </a:cubicBezTo>
                <a:cubicBezTo>
                  <a:pt x="119211" y="266966"/>
                  <a:pt x="123754" y="263173"/>
                  <a:pt x="129811" y="263173"/>
                </a:cubicBezTo>
                <a:close/>
                <a:moveTo>
                  <a:pt x="28098" y="222230"/>
                </a:moveTo>
                <a:cubicBezTo>
                  <a:pt x="25820" y="232090"/>
                  <a:pt x="24301" y="242708"/>
                  <a:pt x="22782" y="252568"/>
                </a:cubicBezTo>
                <a:lnTo>
                  <a:pt x="63031" y="252568"/>
                </a:lnTo>
                <a:cubicBezTo>
                  <a:pt x="63031" y="251810"/>
                  <a:pt x="63031" y="251052"/>
                  <a:pt x="63031" y="250293"/>
                </a:cubicBezTo>
                <a:cubicBezTo>
                  <a:pt x="63031" y="250293"/>
                  <a:pt x="63031" y="249535"/>
                  <a:pt x="63031" y="249535"/>
                </a:cubicBezTo>
                <a:cubicBezTo>
                  <a:pt x="64550" y="242708"/>
                  <a:pt x="65309" y="236641"/>
                  <a:pt x="66828" y="229815"/>
                </a:cubicBezTo>
                <a:cubicBezTo>
                  <a:pt x="66828" y="229056"/>
                  <a:pt x="66828" y="227539"/>
                  <a:pt x="67588" y="226022"/>
                </a:cubicBezTo>
                <a:cubicBezTo>
                  <a:pt x="67588" y="225264"/>
                  <a:pt x="67588" y="223747"/>
                  <a:pt x="68347" y="222230"/>
                </a:cubicBezTo>
                <a:close/>
                <a:moveTo>
                  <a:pt x="492894" y="204013"/>
                </a:moveTo>
                <a:cubicBezTo>
                  <a:pt x="498219" y="202497"/>
                  <a:pt x="504304" y="205530"/>
                  <a:pt x="505825" y="210836"/>
                </a:cubicBezTo>
                <a:cubicBezTo>
                  <a:pt x="508108" y="216901"/>
                  <a:pt x="510390" y="223724"/>
                  <a:pt x="511911" y="230547"/>
                </a:cubicBezTo>
                <a:cubicBezTo>
                  <a:pt x="513432" y="235854"/>
                  <a:pt x="509629" y="241161"/>
                  <a:pt x="504304" y="242677"/>
                </a:cubicBezTo>
                <a:cubicBezTo>
                  <a:pt x="503543" y="243435"/>
                  <a:pt x="502783" y="243435"/>
                  <a:pt x="502022" y="243435"/>
                </a:cubicBezTo>
                <a:cubicBezTo>
                  <a:pt x="497458" y="243435"/>
                  <a:pt x="493655" y="240403"/>
                  <a:pt x="492133" y="235854"/>
                </a:cubicBezTo>
                <a:cubicBezTo>
                  <a:pt x="490612" y="229031"/>
                  <a:pt x="489091" y="222966"/>
                  <a:pt x="486809" y="216901"/>
                </a:cubicBezTo>
                <a:cubicBezTo>
                  <a:pt x="485287" y="211595"/>
                  <a:pt x="487569" y="206288"/>
                  <a:pt x="492894" y="204013"/>
                </a:cubicBezTo>
                <a:close/>
                <a:moveTo>
                  <a:pt x="151873" y="186619"/>
                </a:moveTo>
                <a:cubicBezTo>
                  <a:pt x="157203" y="188895"/>
                  <a:pt x="159488" y="194964"/>
                  <a:pt x="157203" y="200274"/>
                </a:cubicBezTo>
                <a:cubicBezTo>
                  <a:pt x="154919" y="205585"/>
                  <a:pt x="152634" y="211654"/>
                  <a:pt x="150350" y="217723"/>
                </a:cubicBezTo>
                <a:cubicBezTo>
                  <a:pt x="148827" y="222274"/>
                  <a:pt x="145019" y="224550"/>
                  <a:pt x="140450" y="224550"/>
                </a:cubicBezTo>
                <a:cubicBezTo>
                  <a:pt x="139689" y="224550"/>
                  <a:pt x="138927" y="224550"/>
                  <a:pt x="137404" y="224550"/>
                </a:cubicBezTo>
                <a:cubicBezTo>
                  <a:pt x="132074" y="222274"/>
                  <a:pt x="129028" y="216964"/>
                  <a:pt x="131312" y="211654"/>
                </a:cubicBezTo>
                <a:cubicBezTo>
                  <a:pt x="133597" y="204826"/>
                  <a:pt x="135881" y="197998"/>
                  <a:pt x="138927" y="191929"/>
                </a:cubicBezTo>
                <a:cubicBezTo>
                  <a:pt x="141212" y="186619"/>
                  <a:pt x="147304" y="184343"/>
                  <a:pt x="151873" y="186619"/>
                </a:cubicBezTo>
                <a:close/>
                <a:moveTo>
                  <a:pt x="218736" y="186536"/>
                </a:moveTo>
                <a:lnTo>
                  <a:pt x="281780" y="186536"/>
                </a:lnTo>
                <a:cubicBezTo>
                  <a:pt x="288616" y="186536"/>
                  <a:pt x="292414" y="190330"/>
                  <a:pt x="292414" y="196401"/>
                </a:cubicBezTo>
                <a:cubicBezTo>
                  <a:pt x="292414" y="202471"/>
                  <a:pt x="288616" y="207024"/>
                  <a:pt x="281780" y="207024"/>
                </a:cubicBezTo>
                <a:lnTo>
                  <a:pt x="264310" y="207024"/>
                </a:lnTo>
                <a:lnTo>
                  <a:pt x="322037" y="294288"/>
                </a:lnTo>
                <a:lnTo>
                  <a:pt x="379004" y="207024"/>
                </a:lnTo>
                <a:lnTo>
                  <a:pt x="361534" y="207024"/>
                </a:lnTo>
                <a:cubicBezTo>
                  <a:pt x="355457" y="207024"/>
                  <a:pt x="351659" y="202471"/>
                  <a:pt x="351659" y="196401"/>
                </a:cubicBezTo>
                <a:cubicBezTo>
                  <a:pt x="351659" y="190330"/>
                  <a:pt x="355457" y="186536"/>
                  <a:pt x="361534" y="186536"/>
                </a:cubicBezTo>
                <a:lnTo>
                  <a:pt x="425337" y="186536"/>
                </a:lnTo>
                <a:cubicBezTo>
                  <a:pt x="431413" y="186536"/>
                  <a:pt x="435211" y="190330"/>
                  <a:pt x="435211" y="196401"/>
                </a:cubicBezTo>
                <a:cubicBezTo>
                  <a:pt x="435211" y="202471"/>
                  <a:pt x="431413" y="207024"/>
                  <a:pt x="425337" y="207024"/>
                </a:cubicBezTo>
                <a:lnTo>
                  <a:pt x="405588" y="207024"/>
                </a:lnTo>
                <a:cubicBezTo>
                  <a:pt x="404069" y="207024"/>
                  <a:pt x="402550" y="207024"/>
                  <a:pt x="401031" y="209301"/>
                </a:cubicBezTo>
                <a:lnTo>
                  <a:pt x="337987" y="307947"/>
                </a:lnTo>
                <a:lnTo>
                  <a:pt x="373687" y="307947"/>
                </a:lnTo>
                <a:cubicBezTo>
                  <a:pt x="380523" y="307947"/>
                  <a:pt x="384321" y="311741"/>
                  <a:pt x="384321" y="317812"/>
                </a:cubicBezTo>
                <a:cubicBezTo>
                  <a:pt x="384321" y="324641"/>
                  <a:pt x="380523" y="328435"/>
                  <a:pt x="373687" y="328435"/>
                </a:cubicBezTo>
                <a:lnTo>
                  <a:pt x="331911" y="328435"/>
                </a:lnTo>
                <a:lnTo>
                  <a:pt x="331911" y="338300"/>
                </a:lnTo>
                <a:lnTo>
                  <a:pt x="373687" y="338300"/>
                </a:lnTo>
                <a:cubicBezTo>
                  <a:pt x="380523" y="338300"/>
                  <a:pt x="384321" y="342094"/>
                  <a:pt x="384321" y="348164"/>
                </a:cubicBezTo>
                <a:cubicBezTo>
                  <a:pt x="384321" y="354994"/>
                  <a:pt x="380523" y="358788"/>
                  <a:pt x="373687" y="358788"/>
                </a:cubicBezTo>
                <a:lnTo>
                  <a:pt x="331911" y="358788"/>
                </a:lnTo>
                <a:lnTo>
                  <a:pt x="331911" y="399005"/>
                </a:lnTo>
                <a:lnTo>
                  <a:pt x="355457" y="399005"/>
                </a:lnTo>
                <a:cubicBezTo>
                  <a:pt x="361534" y="399005"/>
                  <a:pt x="365332" y="402799"/>
                  <a:pt x="365332" y="408870"/>
                </a:cubicBezTo>
                <a:cubicBezTo>
                  <a:pt x="365332" y="415699"/>
                  <a:pt x="361534" y="419493"/>
                  <a:pt x="355457" y="419493"/>
                </a:cubicBezTo>
                <a:lnTo>
                  <a:pt x="288616" y="419493"/>
                </a:lnTo>
                <a:cubicBezTo>
                  <a:pt x="282539" y="419493"/>
                  <a:pt x="278742" y="415699"/>
                  <a:pt x="278742" y="408870"/>
                </a:cubicBezTo>
                <a:cubicBezTo>
                  <a:pt x="278742" y="402799"/>
                  <a:pt x="282539" y="399005"/>
                  <a:pt x="288616" y="399005"/>
                </a:cubicBezTo>
                <a:lnTo>
                  <a:pt x="312162" y="399005"/>
                </a:lnTo>
                <a:lnTo>
                  <a:pt x="312162" y="358788"/>
                </a:lnTo>
                <a:lnTo>
                  <a:pt x="270386" y="358788"/>
                </a:lnTo>
                <a:cubicBezTo>
                  <a:pt x="264310" y="358788"/>
                  <a:pt x="259752" y="354994"/>
                  <a:pt x="259752" y="348164"/>
                </a:cubicBezTo>
                <a:cubicBezTo>
                  <a:pt x="259752" y="342094"/>
                  <a:pt x="264310" y="338300"/>
                  <a:pt x="270386" y="338300"/>
                </a:cubicBezTo>
                <a:lnTo>
                  <a:pt x="312162" y="338300"/>
                </a:lnTo>
                <a:lnTo>
                  <a:pt x="312162" y="328435"/>
                </a:lnTo>
                <a:lnTo>
                  <a:pt x="270386" y="328435"/>
                </a:lnTo>
                <a:cubicBezTo>
                  <a:pt x="264310" y="328435"/>
                  <a:pt x="259752" y="324641"/>
                  <a:pt x="259752" y="317812"/>
                </a:cubicBezTo>
                <a:cubicBezTo>
                  <a:pt x="259752" y="311741"/>
                  <a:pt x="264310" y="307947"/>
                  <a:pt x="270386" y="307947"/>
                </a:cubicBezTo>
                <a:lnTo>
                  <a:pt x="305326" y="307947"/>
                </a:lnTo>
                <a:lnTo>
                  <a:pt x="242283" y="209301"/>
                </a:lnTo>
                <a:cubicBezTo>
                  <a:pt x="241523" y="207024"/>
                  <a:pt x="240004" y="207024"/>
                  <a:pt x="238485" y="207024"/>
                </a:cubicBezTo>
                <a:lnTo>
                  <a:pt x="218736" y="207024"/>
                </a:lnTo>
                <a:cubicBezTo>
                  <a:pt x="211900" y="207024"/>
                  <a:pt x="208102" y="202471"/>
                  <a:pt x="208102" y="196401"/>
                </a:cubicBezTo>
                <a:cubicBezTo>
                  <a:pt x="208102" y="190330"/>
                  <a:pt x="211900" y="186536"/>
                  <a:pt x="218736" y="186536"/>
                </a:cubicBezTo>
                <a:close/>
                <a:moveTo>
                  <a:pt x="44805" y="172171"/>
                </a:moveTo>
                <a:cubicBezTo>
                  <a:pt x="41008" y="182031"/>
                  <a:pt x="37211" y="191891"/>
                  <a:pt x="33414" y="202510"/>
                </a:cubicBezTo>
                <a:lnTo>
                  <a:pt x="73663" y="202510"/>
                </a:lnTo>
                <a:cubicBezTo>
                  <a:pt x="74422" y="197959"/>
                  <a:pt x="75941" y="193408"/>
                  <a:pt x="77460" y="188858"/>
                </a:cubicBezTo>
                <a:cubicBezTo>
                  <a:pt x="77460" y="188099"/>
                  <a:pt x="78219" y="186582"/>
                  <a:pt x="78979" y="185065"/>
                </a:cubicBezTo>
                <a:cubicBezTo>
                  <a:pt x="80498" y="180514"/>
                  <a:pt x="82016" y="175963"/>
                  <a:pt x="83535" y="172171"/>
                </a:cubicBezTo>
                <a:close/>
                <a:moveTo>
                  <a:pt x="451103" y="136487"/>
                </a:moveTo>
                <a:cubicBezTo>
                  <a:pt x="455664" y="132683"/>
                  <a:pt x="461746" y="133444"/>
                  <a:pt x="465547" y="138009"/>
                </a:cubicBezTo>
                <a:cubicBezTo>
                  <a:pt x="470108" y="143335"/>
                  <a:pt x="473909" y="148661"/>
                  <a:pt x="477709" y="154748"/>
                </a:cubicBezTo>
                <a:cubicBezTo>
                  <a:pt x="481510" y="159313"/>
                  <a:pt x="479990" y="165400"/>
                  <a:pt x="475429" y="168444"/>
                </a:cubicBezTo>
                <a:cubicBezTo>
                  <a:pt x="473909" y="169966"/>
                  <a:pt x="471628" y="169966"/>
                  <a:pt x="469347" y="169966"/>
                </a:cubicBezTo>
                <a:cubicBezTo>
                  <a:pt x="466307" y="169966"/>
                  <a:pt x="463266" y="168444"/>
                  <a:pt x="460986" y="166161"/>
                </a:cubicBezTo>
                <a:cubicBezTo>
                  <a:pt x="457945" y="160835"/>
                  <a:pt x="454144" y="155509"/>
                  <a:pt x="449583" y="150183"/>
                </a:cubicBezTo>
                <a:cubicBezTo>
                  <a:pt x="446542" y="146379"/>
                  <a:pt x="446542" y="139531"/>
                  <a:pt x="451103" y="136487"/>
                </a:cubicBezTo>
                <a:close/>
                <a:moveTo>
                  <a:pt x="185242" y="122835"/>
                </a:moveTo>
                <a:cubicBezTo>
                  <a:pt x="189040" y="119037"/>
                  <a:pt x="195876" y="119037"/>
                  <a:pt x="199674" y="122835"/>
                </a:cubicBezTo>
                <a:cubicBezTo>
                  <a:pt x="203472" y="126632"/>
                  <a:pt x="203472" y="132709"/>
                  <a:pt x="199674" y="137266"/>
                </a:cubicBezTo>
                <a:cubicBezTo>
                  <a:pt x="195117" y="141823"/>
                  <a:pt x="191319" y="146381"/>
                  <a:pt x="186762" y="150938"/>
                </a:cubicBezTo>
                <a:cubicBezTo>
                  <a:pt x="185242" y="153976"/>
                  <a:pt x="182204" y="154736"/>
                  <a:pt x="179166" y="154736"/>
                </a:cubicBezTo>
                <a:cubicBezTo>
                  <a:pt x="176887" y="154736"/>
                  <a:pt x="174609" y="153976"/>
                  <a:pt x="173090" y="152457"/>
                </a:cubicBezTo>
                <a:cubicBezTo>
                  <a:pt x="168532" y="149419"/>
                  <a:pt x="167773" y="142583"/>
                  <a:pt x="171571" y="138026"/>
                </a:cubicBezTo>
                <a:cubicBezTo>
                  <a:pt x="176128" y="132709"/>
                  <a:pt x="180685" y="127392"/>
                  <a:pt x="185242" y="122835"/>
                </a:cubicBezTo>
                <a:close/>
                <a:moveTo>
                  <a:pt x="81257" y="111494"/>
                </a:moveTo>
                <a:cubicBezTo>
                  <a:pt x="71385" y="123629"/>
                  <a:pt x="62272" y="137282"/>
                  <a:pt x="54677" y="151692"/>
                </a:cubicBezTo>
                <a:lnTo>
                  <a:pt x="92648" y="151692"/>
                </a:lnTo>
                <a:lnTo>
                  <a:pt x="92648" y="150934"/>
                </a:lnTo>
                <a:cubicBezTo>
                  <a:pt x="93408" y="149417"/>
                  <a:pt x="94167" y="147900"/>
                  <a:pt x="94926" y="146383"/>
                </a:cubicBezTo>
                <a:cubicBezTo>
                  <a:pt x="97205" y="142591"/>
                  <a:pt x="99483" y="138799"/>
                  <a:pt x="101761" y="135006"/>
                </a:cubicBezTo>
                <a:cubicBezTo>
                  <a:pt x="102521" y="133489"/>
                  <a:pt x="103280" y="131972"/>
                  <a:pt x="104039" y="130455"/>
                </a:cubicBezTo>
                <a:cubicBezTo>
                  <a:pt x="107077" y="125905"/>
                  <a:pt x="110115" y="121354"/>
                  <a:pt x="113152" y="116803"/>
                </a:cubicBezTo>
                <a:cubicBezTo>
                  <a:pt x="113912" y="114528"/>
                  <a:pt x="115431" y="113011"/>
                  <a:pt x="116190" y="111494"/>
                </a:cubicBezTo>
                <a:close/>
                <a:moveTo>
                  <a:pt x="400213" y="85002"/>
                </a:moveTo>
                <a:cubicBezTo>
                  <a:pt x="406282" y="88033"/>
                  <a:pt x="412351" y="91822"/>
                  <a:pt x="418420" y="95611"/>
                </a:cubicBezTo>
                <a:cubicBezTo>
                  <a:pt x="422972" y="98642"/>
                  <a:pt x="424489" y="104704"/>
                  <a:pt x="421455" y="109251"/>
                </a:cubicBezTo>
                <a:cubicBezTo>
                  <a:pt x="419179" y="112282"/>
                  <a:pt x="416144" y="113798"/>
                  <a:pt x="413110" y="113798"/>
                </a:cubicBezTo>
                <a:cubicBezTo>
                  <a:pt x="410834" y="113798"/>
                  <a:pt x="409317" y="113798"/>
                  <a:pt x="407800" y="112282"/>
                </a:cubicBezTo>
                <a:cubicBezTo>
                  <a:pt x="402489" y="109251"/>
                  <a:pt x="396420" y="106220"/>
                  <a:pt x="391110" y="103189"/>
                </a:cubicBezTo>
                <a:cubicBezTo>
                  <a:pt x="385799" y="100915"/>
                  <a:pt x="384282" y="94853"/>
                  <a:pt x="386558" y="89549"/>
                </a:cubicBezTo>
                <a:cubicBezTo>
                  <a:pt x="388834" y="84244"/>
                  <a:pt x="394903" y="82729"/>
                  <a:pt x="400213" y="85002"/>
                </a:cubicBezTo>
                <a:close/>
                <a:moveTo>
                  <a:pt x="255897" y="76571"/>
                </a:moveTo>
                <a:cubicBezTo>
                  <a:pt x="261215" y="75053"/>
                  <a:pt x="266534" y="77330"/>
                  <a:pt x="268814" y="82644"/>
                </a:cubicBezTo>
                <a:cubicBezTo>
                  <a:pt x="271093" y="87958"/>
                  <a:pt x="268054" y="94032"/>
                  <a:pt x="262735" y="95550"/>
                </a:cubicBezTo>
                <a:cubicBezTo>
                  <a:pt x="257416" y="97827"/>
                  <a:pt x="251338" y="100864"/>
                  <a:pt x="245259" y="103141"/>
                </a:cubicBezTo>
                <a:cubicBezTo>
                  <a:pt x="243739" y="103901"/>
                  <a:pt x="242219" y="104660"/>
                  <a:pt x="240700" y="104660"/>
                </a:cubicBezTo>
                <a:cubicBezTo>
                  <a:pt x="237660" y="104660"/>
                  <a:pt x="233861" y="102382"/>
                  <a:pt x="231582" y="99346"/>
                </a:cubicBezTo>
                <a:cubicBezTo>
                  <a:pt x="229302" y="94032"/>
                  <a:pt x="231582" y="87958"/>
                  <a:pt x="236141" y="85681"/>
                </a:cubicBezTo>
                <a:cubicBezTo>
                  <a:pt x="242979" y="81885"/>
                  <a:pt x="249058" y="79608"/>
                  <a:pt x="255897" y="76571"/>
                </a:cubicBezTo>
                <a:close/>
                <a:moveTo>
                  <a:pt x="318232" y="65184"/>
                </a:moveTo>
                <a:lnTo>
                  <a:pt x="318990" y="65184"/>
                </a:lnTo>
                <a:cubicBezTo>
                  <a:pt x="325813" y="65184"/>
                  <a:pt x="332636" y="65944"/>
                  <a:pt x="339459" y="66705"/>
                </a:cubicBezTo>
                <a:cubicBezTo>
                  <a:pt x="344766" y="67465"/>
                  <a:pt x="349314" y="72028"/>
                  <a:pt x="348556" y="78111"/>
                </a:cubicBezTo>
                <a:cubicBezTo>
                  <a:pt x="347798" y="83435"/>
                  <a:pt x="343249" y="87237"/>
                  <a:pt x="337943" y="87237"/>
                </a:cubicBezTo>
                <a:cubicBezTo>
                  <a:pt x="337943" y="87237"/>
                  <a:pt x="337184" y="86476"/>
                  <a:pt x="337184" y="86476"/>
                </a:cubicBezTo>
                <a:cubicBezTo>
                  <a:pt x="331120" y="85716"/>
                  <a:pt x="325055" y="85716"/>
                  <a:pt x="318990" y="85716"/>
                </a:cubicBezTo>
                <a:cubicBezTo>
                  <a:pt x="312925" y="85716"/>
                  <a:pt x="308376" y="81153"/>
                  <a:pt x="308376" y="75830"/>
                </a:cubicBezTo>
                <a:cubicBezTo>
                  <a:pt x="308376" y="69746"/>
                  <a:pt x="312925" y="65184"/>
                  <a:pt x="318232" y="65184"/>
                </a:cubicBezTo>
                <a:close/>
                <a:moveTo>
                  <a:pt x="133656" y="60677"/>
                </a:moveTo>
                <a:cubicBezTo>
                  <a:pt x="121506" y="69778"/>
                  <a:pt x="109355" y="79638"/>
                  <a:pt x="98723" y="91015"/>
                </a:cubicBezTo>
                <a:lnTo>
                  <a:pt x="132138" y="91015"/>
                </a:lnTo>
                <a:cubicBezTo>
                  <a:pt x="133656" y="89498"/>
                  <a:pt x="135175" y="87223"/>
                  <a:pt x="136694" y="85706"/>
                </a:cubicBezTo>
                <a:cubicBezTo>
                  <a:pt x="138213" y="83431"/>
                  <a:pt x="140491" y="81155"/>
                  <a:pt x="142010" y="79638"/>
                </a:cubicBezTo>
                <a:cubicBezTo>
                  <a:pt x="144288" y="77363"/>
                  <a:pt x="146566" y="75088"/>
                  <a:pt x="148085" y="73571"/>
                </a:cubicBezTo>
                <a:cubicBezTo>
                  <a:pt x="150364" y="71295"/>
                  <a:pt x="151882" y="69020"/>
                  <a:pt x="154161" y="67503"/>
                </a:cubicBezTo>
                <a:cubicBezTo>
                  <a:pt x="156439" y="65228"/>
                  <a:pt x="159477" y="62952"/>
                  <a:pt x="161755" y="60677"/>
                </a:cubicBezTo>
                <a:close/>
                <a:moveTo>
                  <a:pt x="214914" y="25029"/>
                </a:moveTo>
                <a:cubicBezTo>
                  <a:pt x="198966" y="28063"/>
                  <a:pt x="183018" y="33372"/>
                  <a:pt x="168589" y="40198"/>
                </a:cubicBezTo>
                <a:lnTo>
                  <a:pt x="188334" y="40198"/>
                </a:lnTo>
                <a:cubicBezTo>
                  <a:pt x="190612" y="38681"/>
                  <a:pt x="193650" y="37164"/>
                  <a:pt x="196688" y="34889"/>
                </a:cubicBezTo>
                <a:cubicBezTo>
                  <a:pt x="198207" y="34131"/>
                  <a:pt x="199725" y="32614"/>
                  <a:pt x="202004" y="31855"/>
                </a:cubicBezTo>
                <a:cubicBezTo>
                  <a:pt x="205041" y="30338"/>
                  <a:pt x="208079" y="28063"/>
                  <a:pt x="211877" y="26546"/>
                </a:cubicBezTo>
                <a:cubicBezTo>
                  <a:pt x="212636" y="25787"/>
                  <a:pt x="214155" y="25029"/>
                  <a:pt x="214914" y="25029"/>
                </a:cubicBezTo>
                <a:close/>
                <a:moveTo>
                  <a:pt x="318954" y="20478"/>
                </a:moveTo>
                <a:cubicBezTo>
                  <a:pt x="310600" y="20478"/>
                  <a:pt x="303006" y="20478"/>
                  <a:pt x="294653" y="21237"/>
                </a:cubicBezTo>
                <a:lnTo>
                  <a:pt x="290855" y="21995"/>
                </a:lnTo>
                <a:cubicBezTo>
                  <a:pt x="290096" y="21995"/>
                  <a:pt x="290096" y="21995"/>
                  <a:pt x="289337" y="22754"/>
                </a:cubicBezTo>
                <a:cubicBezTo>
                  <a:pt x="285540" y="22754"/>
                  <a:pt x="282502" y="23512"/>
                  <a:pt x="278705" y="24271"/>
                </a:cubicBezTo>
                <a:cubicBezTo>
                  <a:pt x="278705" y="24271"/>
                  <a:pt x="278705" y="24271"/>
                  <a:pt x="277945" y="24271"/>
                </a:cubicBezTo>
                <a:cubicBezTo>
                  <a:pt x="274908" y="25029"/>
                  <a:pt x="271111" y="25787"/>
                  <a:pt x="268073" y="26546"/>
                </a:cubicBezTo>
                <a:cubicBezTo>
                  <a:pt x="267314" y="26546"/>
                  <a:pt x="267314" y="26546"/>
                  <a:pt x="266554" y="26546"/>
                </a:cubicBezTo>
                <a:cubicBezTo>
                  <a:pt x="263517" y="27304"/>
                  <a:pt x="260479" y="28821"/>
                  <a:pt x="257441" y="29580"/>
                </a:cubicBezTo>
                <a:cubicBezTo>
                  <a:pt x="256682" y="29580"/>
                  <a:pt x="255922" y="30338"/>
                  <a:pt x="254404" y="30338"/>
                </a:cubicBezTo>
                <a:cubicBezTo>
                  <a:pt x="252125" y="31097"/>
                  <a:pt x="249847" y="31855"/>
                  <a:pt x="246810" y="32614"/>
                </a:cubicBezTo>
                <a:cubicBezTo>
                  <a:pt x="245291" y="33372"/>
                  <a:pt x="243012" y="34131"/>
                  <a:pt x="240734" y="35648"/>
                </a:cubicBezTo>
                <a:cubicBezTo>
                  <a:pt x="239215" y="35648"/>
                  <a:pt x="238456" y="36406"/>
                  <a:pt x="236937" y="37164"/>
                </a:cubicBezTo>
                <a:cubicBezTo>
                  <a:pt x="182259" y="59918"/>
                  <a:pt x="136694" y="105426"/>
                  <a:pt x="109355" y="163069"/>
                </a:cubicBezTo>
                <a:cubicBezTo>
                  <a:pt x="109355" y="163828"/>
                  <a:pt x="109355" y="163828"/>
                  <a:pt x="109355" y="164586"/>
                </a:cubicBezTo>
                <a:cubicBezTo>
                  <a:pt x="107836" y="167620"/>
                  <a:pt x="106318" y="170654"/>
                  <a:pt x="104799" y="174446"/>
                </a:cubicBezTo>
                <a:cubicBezTo>
                  <a:pt x="104039" y="175205"/>
                  <a:pt x="103280" y="176722"/>
                  <a:pt x="103280" y="178239"/>
                </a:cubicBezTo>
                <a:cubicBezTo>
                  <a:pt x="101761" y="180514"/>
                  <a:pt x="101002" y="182789"/>
                  <a:pt x="100242" y="185823"/>
                </a:cubicBezTo>
                <a:cubicBezTo>
                  <a:pt x="99483" y="187341"/>
                  <a:pt x="98723" y="188858"/>
                  <a:pt x="97964" y="190374"/>
                </a:cubicBezTo>
                <a:cubicBezTo>
                  <a:pt x="97205" y="192650"/>
                  <a:pt x="96445" y="194925"/>
                  <a:pt x="95686" y="197201"/>
                </a:cubicBezTo>
                <a:cubicBezTo>
                  <a:pt x="95686" y="199476"/>
                  <a:pt x="94926" y="200993"/>
                  <a:pt x="94167" y="203268"/>
                </a:cubicBezTo>
                <a:cubicBezTo>
                  <a:pt x="93408" y="204785"/>
                  <a:pt x="92648" y="207061"/>
                  <a:pt x="92648" y="209336"/>
                </a:cubicBezTo>
                <a:cubicBezTo>
                  <a:pt x="91889" y="211611"/>
                  <a:pt x="91129" y="213128"/>
                  <a:pt x="90370" y="215404"/>
                </a:cubicBezTo>
                <a:cubicBezTo>
                  <a:pt x="90370" y="217679"/>
                  <a:pt x="89611" y="219955"/>
                  <a:pt x="88851" y="221471"/>
                </a:cubicBezTo>
                <a:cubicBezTo>
                  <a:pt x="88851" y="223747"/>
                  <a:pt x="88092" y="226022"/>
                  <a:pt x="87332" y="227539"/>
                </a:cubicBezTo>
                <a:cubicBezTo>
                  <a:pt x="87332" y="229815"/>
                  <a:pt x="86573" y="232090"/>
                  <a:pt x="86573" y="234365"/>
                </a:cubicBezTo>
                <a:cubicBezTo>
                  <a:pt x="85813" y="236641"/>
                  <a:pt x="85813" y="238158"/>
                  <a:pt x="85054" y="240433"/>
                </a:cubicBezTo>
                <a:cubicBezTo>
                  <a:pt x="85054" y="242708"/>
                  <a:pt x="84295" y="244984"/>
                  <a:pt x="84295" y="247259"/>
                </a:cubicBezTo>
                <a:cubicBezTo>
                  <a:pt x="83535" y="249535"/>
                  <a:pt x="83535" y="251810"/>
                  <a:pt x="83535" y="253327"/>
                </a:cubicBezTo>
                <a:cubicBezTo>
                  <a:pt x="82776" y="255602"/>
                  <a:pt x="82776" y="258636"/>
                  <a:pt x="82776" y="260912"/>
                </a:cubicBezTo>
                <a:cubicBezTo>
                  <a:pt x="82016" y="262428"/>
                  <a:pt x="82016" y="264704"/>
                  <a:pt x="82016" y="266221"/>
                </a:cubicBezTo>
                <a:cubicBezTo>
                  <a:pt x="82016" y="269255"/>
                  <a:pt x="81257" y="272288"/>
                  <a:pt x="81257" y="275322"/>
                </a:cubicBezTo>
                <a:cubicBezTo>
                  <a:pt x="81257" y="276839"/>
                  <a:pt x="81257" y="278356"/>
                  <a:pt x="81257" y="279873"/>
                </a:cubicBezTo>
                <a:cubicBezTo>
                  <a:pt x="80498" y="284424"/>
                  <a:pt x="80498" y="288975"/>
                  <a:pt x="80498" y="293525"/>
                </a:cubicBezTo>
                <a:cubicBezTo>
                  <a:pt x="80498" y="298076"/>
                  <a:pt x="80498" y="302627"/>
                  <a:pt x="81257" y="306419"/>
                </a:cubicBezTo>
                <a:cubicBezTo>
                  <a:pt x="81257" y="308695"/>
                  <a:pt x="81257" y="310212"/>
                  <a:pt x="81257" y="311729"/>
                </a:cubicBezTo>
                <a:cubicBezTo>
                  <a:pt x="81257" y="314004"/>
                  <a:pt x="81257" y="317038"/>
                  <a:pt x="82016" y="320072"/>
                </a:cubicBezTo>
                <a:cubicBezTo>
                  <a:pt x="82016" y="321589"/>
                  <a:pt x="82016" y="323864"/>
                  <a:pt x="82776" y="325381"/>
                </a:cubicBezTo>
                <a:cubicBezTo>
                  <a:pt x="82776" y="328415"/>
                  <a:pt x="82776" y="330690"/>
                  <a:pt x="83535" y="332966"/>
                </a:cubicBezTo>
                <a:cubicBezTo>
                  <a:pt x="83535" y="335241"/>
                  <a:pt x="83535" y="336758"/>
                  <a:pt x="84295" y="339033"/>
                </a:cubicBezTo>
                <a:cubicBezTo>
                  <a:pt x="84295" y="341309"/>
                  <a:pt x="85054" y="343584"/>
                  <a:pt x="85054" y="345859"/>
                </a:cubicBezTo>
                <a:cubicBezTo>
                  <a:pt x="85813" y="348135"/>
                  <a:pt x="85813" y="350410"/>
                  <a:pt x="86573" y="351927"/>
                </a:cubicBezTo>
                <a:cubicBezTo>
                  <a:pt x="86573" y="354203"/>
                  <a:pt x="87332" y="356478"/>
                  <a:pt x="87332" y="358753"/>
                </a:cubicBezTo>
                <a:cubicBezTo>
                  <a:pt x="88092" y="361029"/>
                  <a:pt x="88851" y="362546"/>
                  <a:pt x="88851" y="364821"/>
                </a:cubicBezTo>
                <a:cubicBezTo>
                  <a:pt x="89611" y="367096"/>
                  <a:pt x="90370" y="369372"/>
                  <a:pt x="90370" y="370889"/>
                </a:cubicBezTo>
                <a:cubicBezTo>
                  <a:pt x="91129" y="373164"/>
                  <a:pt x="91889" y="375439"/>
                  <a:pt x="91889" y="376956"/>
                </a:cubicBezTo>
                <a:cubicBezTo>
                  <a:pt x="92648" y="379232"/>
                  <a:pt x="93408" y="381507"/>
                  <a:pt x="94167" y="383783"/>
                </a:cubicBezTo>
                <a:cubicBezTo>
                  <a:pt x="94926" y="385300"/>
                  <a:pt x="95686" y="387575"/>
                  <a:pt x="95686" y="389092"/>
                </a:cubicBezTo>
                <a:cubicBezTo>
                  <a:pt x="96445" y="391367"/>
                  <a:pt x="97205" y="393643"/>
                  <a:pt x="97964" y="395918"/>
                </a:cubicBezTo>
                <a:cubicBezTo>
                  <a:pt x="98723" y="397435"/>
                  <a:pt x="99483" y="398952"/>
                  <a:pt x="100242" y="401227"/>
                </a:cubicBezTo>
                <a:cubicBezTo>
                  <a:pt x="101002" y="403503"/>
                  <a:pt x="101761" y="405778"/>
                  <a:pt x="103280" y="408812"/>
                </a:cubicBezTo>
                <a:cubicBezTo>
                  <a:pt x="103280" y="409570"/>
                  <a:pt x="104039" y="411087"/>
                  <a:pt x="104799" y="412604"/>
                </a:cubicBezTo>
                <a:cubicBezTo>
                  <a:pt x="106318" y="415638"/>
                  <a:pt x="107077" y="418672"/>
                  <a:pt x="108596" y="422464"/>
                </a:cubicBezTo>
                <a:cubicBezTo>
                  <a:pt x="109355" y="422464"/>
                  <a:pt x="109355" y="423223"/>
                  <a:pt x="109355" y="423223"/>
                </a:cubicBezTo>
                <a:cubicBezTo>
                  <a:pt x="136694" y="481624"/>
                  <a:pt x="182259" y="526374"/>
                  <a:pt x="236937" y="549886"/>
                </a:cubicBezTo>
                <a:cubicBezTo>
                  <a:pt x="237697" y="549886"/>
                  <a:pt x="239215" y="550644"/>
                  <a:pt x="240734" y="551403"/>
                </a:cubicBezTo>
                <a:cubicBezTo>
                  <a:pt x="243012" y="552161"/>
                  <a:pt x="245291" y="552920"/>
                  <a:pt x="246810" y="553678"/>
                </a:cubicBezTo>
                <a:cubicBezTo>
                  <a:pt x="249847" y="554437"/>
                  <a:pt x="252125" y="555195"/>
                  <a:pt x="254404" y="555954"/>
                </a:cubicBezTo>
                <a:cubicBezTo>
                  <a:pt x="255922" y="556712"/>
                  <a:pt x="256682" y="556712"/>
                  <a:pt x="257441" y="557471"/>
                </a:cubicBezTo>
                <a:cubicBezTo>
                  <a:pt x="260479" y="558229"/>
                  <a:pt x="263517" y="558988"/>
                  <a:pt x="266554" y="559746"/>
                </a:cubicBezTo>
                <a:cubicBezTo>
                  <a:pt x="267314" y="559746"/>
                  <a:pt x="267314" y="559746"/>
                  <a:pt x="268073" y="559746"/>
                </a:cubicBezTo>
                <a:cubicBezTo>
                  <a:pt x="271111" y="560504"/>
                  <a:pt x="274908" y="561263"/>
                  <a:pt x="277945" y="562021"/>
                </a:cubicBezTo>
                <a:cubicBezTo>
                  <a:pt x="278705" y="562021"/>
                  <a:pt x="278705" y="562021"/>
                  <a:pt x="278705" y="562780"/>
                </a:cubicBezTo>
                <a:cubicBezTo>
                  <a:pt x="282502" y="562780"/>
                  <a:pt x="285540" y="563538"/>
                  <a:pt x="289337" y="564297"/>
                </a:cubicBezTo>
                <a:cubicBezTo>
                  <a:pt x="290096" y="564297"/>
                  <a:pt x="290096" y="564297"/>
                  <a:pt x="290855" y="564297"/>
                </a:cubicBezTo>
                <a:lnTo>
                  <a:pt x="294653" y="565055"/>
                </a:lnTo>
                <a:cubicBezTo>
                  <a:pt x="303006" y="565814"/>
                  <a:pt x="310600" y="566572"/>
                  <a:pt x="318954" y="566572"/>
                </a:cubicBezTo>
                <a:cubicBezTo>
                  <a:pt x="449573" y="566572"/>
                  <a:pt x="556650" y="443701"/>
                  <a:pt x="556650" y="293525"/>
                </a:cubicBezTo>
                <a:cubicBezTo>
                  <a:pt x="556650" y="142591"/>
                  <a:pt x="449573" y="20478"/>
                  <a:pt x="318954" y="20478"/>
                </a:cubicBezTo>
                <a:close/>
                <a:moveTo>
                  <a:pt x="258201" y="0"/>
                </a:moveTo>
                <a:cubicBezTo>
                  <a:pt x="268073" y="0"/>
                  <a:pt x="277945" y="758"/>
                  <a:pt x="287818" y="2275"/>
                </a:cubicBezTo>
                <a:cubicBezTo>
                  <a:pt x="298450" y="758"/>
                  <a:pt x="308322" y="0"/>
                  <a:pt x="318954" y="0"/>
                </a:cubicBezTo>
                <a:cubicBezTo>
                  <a:pt x="460964" y="0"/>
                  <a:pt x="577154" y="131214"/>
                  <a:pt x="577154" y="293525"/>
                </a:cubicBezTo>
                <a:cubicBezTo>
                  <a:pt x="577154" y="455078"/>
                  <a:pt x="460964" y="586292"/>
                  <a:pt x="318954" y="586292"/>
                </a:cubicBezTo>
                <a:cubicBezTo>
                  <a:pt x="308322" y="586292"/>
                  <a:pt x="298450" y="585534"/>
                  <a:pt x="287818" y="584775"/>
                </a:cubicBezTo>
                <a:cubicBezTo>
                  <a:pt x="277945" y="585534"/>
                  <a:pt x="268073" y="586292"/>
                  <a:pt x="258201" y="586292"/>
                </a:cubicBezTo>
                <a:cubicBezTo>
                  <a:pt x="203522" y="586292"/>
                  <a:pt x="152642" y="567331"/>
                  <a:pt x="110874" y="533958"/>
                </a:cubicBezTo>
                <a:cubicBezTo>
                  <a:pt x="110115" y="533200"/>
                  <a:pt x="109355" y="533200"/>
                  <a:pt x="108596" y="532441"/>
                </a:cubicBezTo>
                <a:cubicBezTo>
                  <a:pt x="91129" y="518031"/>
                  <a:pt x="75182" y="501344"/>
                  <a:pt x="60753" y="482383"/>
                </a:cubicBezTo>
                <a:cubicBezTo>
                  <a:pt x="60753" y="482383"/>
                  <a:pt x="59993" y="481624"/>
                  <a:pt x="59993" y="480866"/>
                </a:cubicBezTo>
                <a:cubicBezTo>
                  <a:pt x="46324" y="461904"/>
                  <a:pt x="34173" y="441426"/>
                  <a:pt x="25060" y="419430"/>
                </a:cubicBezTo>
                <a:cubicBezTo>
                  <a:pt x="24301" y="418672"/>
                  <a:pt x="24301" y="417913"/>
                  <a:pt x="24301" y="417913"/>
                </a:cubicBezTo>
                <a:cubicBezTo>
                  <a:pt x="8353" y="379990"/>
                  <a:pt x="0" y="337516"/>
                  <a:pt x="0" y="293525"/>
                </a:cubicBezTo>
                <a:cubicBezTo>
                  <a:pt x="0" y="264704"/>
                  <a:pt x="3037" y="237399"/>
                  <a:pt x="9872" y="211611"/>
                </a:cubicBezTo>
                <a:cubicBezTo>
                  <a:pt x="9872" y="210095"/>
                  <a:pt x="10632" y="209336"/>
                  <a:pt x="10632" y="207819"/>
                </a:cubicBezTo>
                <a:cubicBezTo>
                  <a:pt x="15188" y="191133"/>
                  <a:pt x="21263" y="174446"/>
                  <a:pt x="28857" y="158519"/>
                </a:cubicBezTo>
                <a:cubicBezTo>
                  <a:pt x="28857" y="157760"/>
                  <a:pt x="28857" y="157760"/>
                  <a:pt x="29617" y="157002"/>
                </a:cubicBezTo>
                <a:cubicBezTo>
                  <a:pt x="39489" y="134248"/>
                  <a:pt x="52399" y="113769"/>
                  <a:pt x="67588" y="94808"/>
                </a:cubicBezTo>
                <a:cubicBezTo>
                  <a:pt x="68347" y="94808"/>
                  <a:pt x="68347" y="94049"/>
                  <a:pt x="69106" y="94049"/>
                </a:cubicBezTo>
                <a:cubicBezTo>
                  <a:pt x="85054" y="74329"/>
                  <a:pt x="103280" y="57643"/>
                  <a:pt x="123025" y="43232"/>
                </a:cubicBezTo>
                <a:cubicBezTo>
                  <a:pt x="162514" y="15927"/>
                  <a:pt x="208839" y="0"/>
                  <a:pt x="258201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288000" tIns="91416" rIns="182832" bIns="91416" numCol="1" anchor="t" anchorCtr="0" compatLnSpc="1">
            <a:prstTxWarp prst="textNoShape">
              <a:avLst/>
            </a:prstTxWarp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defTabSz="1828343">
              <a:lnSpc>
                <a:spcPct val="150000"/>
              </a:lnSpc>
            </a:pPr>
            <a:endParaRPr lang="en-GB" sz="3599" kern="0" dirty="0">
              <a:solidFill>
                <a:sysClr val="windowText" lastClr="000000"/>
              </a:solidFill>
            </a:endParaRPr>
          </a:p>
        </p:txBody>
      </p:sp>
      <p:sp>
        <p:nvSpPr>
          <p:cNvPr id="12" name="ïṡḻîdè">
            <a:extLst>
              <a:ext uri="{FF2B5EF4-FFF2-40B4-BE49-F238E27FC236}">
                <a16:creationId xmlns:a16="http://schemas.microsoft.com/office/drawing/2014/main" id="{F164315F-34FF-43C2-A54F-F27B63E5D5FE}"/>
              </a:ext>
            </a:extLst>
          </p:cNvPr>
          <p:cNvSpPr/>
          <p:nvPr/>
        </p:nvSpPr>
        <p:spPr>
          <a:xfrm flipH="1">
            <a:off x="5435283" y="2571346"/>
            <a:ext cx="1083163" cy="1083163"/>
          </a:xfrm>
          <a:prstGeom prst="diamond">
            <a:avLst/>
          </a:prstGeom>
          <a:solidFill>
            <a:schemeClr val="accent3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rmAutofit/>
          </a:bodyPr>
          <a:lstStyle/>
          <a:p>
            <a:pPr algn="ctr"/>
            <a:endParaRPr lang="zh-CN" altLang="en-US" sz="2800" dirty="0"/>
          </a:p>
        </p:txBody>
      </p:sp>
      <p:sp>
        <p:nvSpPr>
          <p:cNvPr id="13" name="iš1îdé">
            <a:extLst>
              <a:ext uri="{FF2B5EF4-FFF2-40B4-BE49-F238E27FC236}">
                <a16:creationId xmlns:a16="http://schemas.microsoft.com/office/drawing/2014/main" id="{CDB6455A-483E-49A0-976F-5D1464487258}"/>
              </a:ext>
            </a:extLst>
          </p:cNvPr>
          <p:cNvSpPr/>
          <p:nvPr/>
        </p:nvSpPr>
        <p:spPr>
          <a:xfrm flipH="1">
            <a:off x="5435283" y="3679845"/>
            <a:ext cx="1083163" cy="1083163"/>
          </a:xfrm>
          <a:prstGeom prst="diamond">
            <a:avLst/>
          </a:prstGeom>
          <a:solidFill>
            <a:schemeClr val="accent3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rmAutofit/>
          </a:bodyPr>
          <a:lstStyle/>
          <a:p>
            <a:pPr algn="ctr"/>
            <a:endParaRPr lang="zh-CN" altLang="en-US" sz="2800" dirty="0"/>
          </a:p>
        </p:txBody>
      </p:sp>
      <p:sp>
        <p:nvSpPr>
          <p:cNvPr id="14" name="íṧḷîḍé">
            <a:extLst>
              <a:ext uri="{FF2B5EF4-FFF2-40B4-BE49-F238E27FC236}">
                <a16:creationId xmlns:a16="http://schemas.microsoft.com/office/drawing/2014/main" id="{DDB58998-5A41-44DD-AEF4-6ECCBA46107C}"/>
              </a:ext>
            </a:extLst>
          </p:cNvPr>
          <p:cNvSpPr>
            <a:spLocks/>
          </p:cNvSpPr>
          <p:nvPr/>
        </p:nvSpPr>
        <p:spPr bwMode="auto">
          <a:xfrm>
            <a:off x="5799558" y="2939079"/>
            <a:ext cx="354612" cy="347697"/>
          </a:xfrm>
          <a:custGeom>
            <a:avLst/>
            <a:gdLst>
              <a:gd name="T0" fmla="*/ 1312 w 1990"/>
              <a:gd name="T1" fmla="*/ 1552 h 1954"/>
              <a:gd name="T2" fmla="*/ 291 w 1990"/>
              <a:gd name="T3" fmla="*/ 1746 h 1954"/>
              <a:gd name="T4" fmla="*/ 0 w 1990"/>
              <a:gd name="T5" fmla="*/ 540 h 1954"/>
              <a:gd name="T6" fmla="*/ 515 w 1990"/>
              <a:gd name="T7" fmla="*/ 249 h 1954"/>
              <a:gd name="T8" fmla="*/ 1205 w 1990"/>
              <a:gd name="T9" fmla="*/ 0 h 1954"/>
              <a:gd name="T10" fmla="*/ 1496 w 1990"/>
              <a:gd name="T11" fmla="*/ 489 h 1954"/>
              <a:gd name="T12" fmla="*/ 1413 w 1990"/>
              <a:gd name="T13" fmla="*/ 291 h 1954"/>
              <a:gd name="T14" fmla="*/ 802 w 1990"/>
              <a:gd name="T15" fmla="*/ 83 h 1954"/>
              <a:gd name="T16" fmla="*/ 1039 w 1990"/>
              <a:gd name="T17" fmla="*/ 249 h 1954"/>
              <a:gd name="T18" fmla="*/ 1243 w 1990"/>
              <a:gd name="T19" fmla="*/ 499 h 1954"/>
              <a:gd name="T20" fmla="*/ 291 w 1990"/>
              <a:gd name="T21" fmla="*/ 333 h 1954"/>
              <a:gd name="T22" fmla="*/ 83 w 1990"/>
              <a:gd name="T23" fmla="*/ 1455 h 1954"/>
              <a:gd name="T24" fmla="*/ 1039 w 1990"/>
              <a:gd name="T25" fmla="*/ 1663 h 1954"/>
              <a:gd name="T26" fmla="*/ 1641 w 1990"/>
              <a:gd name="T27" fmla="*/ 1453 h 1954"/>
              <a:gd name="T28" fmla="*/ 1138 w 1990"/>
              <a:gd name="T29" fmla="*/ 583 h 1954"/>
              <a:gd name="T30" fmla="*/ 1641 w 1990"/>
              <a:gd name="T31" fmla="*/ 1453 h 1954"/>
              <a:gd name="T32" fmla="*/ 1752 w 1990"/>
              <a:gd name="T33" fmla="*/ 809 h 1954"/>
              <a:gd name="T34" fmla="*/ 1026 w 1990"/>
              <a:gd name="T35" fmla="*/ 1228 h 1954"/>
              <a:gd name="T36" fmla="*/ 1767 w 1990"/>
              <a:gd name="T37" fmla="*/ 1422 h 1954"/>
              <a:gd name="T38" fmla="*/ 1717 w 1990"/>
              <a:gd name="T39" fmla="*/ 1835 h 1954"/>
              <a:gd name="T40" fmla="*/ 1767 w 1990"/>
              <a:gd name="T41" fmla="*/ 1422 h 1954"/>
              <a:gd name="T42" fmla="*/ 1739 w 1990"/>
              <a:gd name="T43" fmla="*/ 1874 h 1954"/>
              <a:gd name="T44" fmla="*/ 1956 w 1990"/>
              <a:gd name="T45" fmla="*/ 1749 h 1954"/>
              <a:gd name="T46" fmla="*/ 249 w 1990"/>
              <a:gd name="T47" fmla="*/ 551 h 1954"/>
              <a:gd name="T48" fmla="*/ 803 w 1990"/>
              <a:gd name="T49" fmla="*/ 613 h 1954"/>
              <a:gd name="T50" fmla="*/ 675 w 1990"/>
              <a:gd name="T51" fmla="*/ 828 h 1954"/>
              <a:gd name="T52" fmla="*/ 249 w 1990"/>
              <a:gd name="T53" fmla="*/ 890 h 1954"/>
              <a:gd name="T54" fmla="*/ 675 w 1990"/>
              <a:gd name="T55" fmla="*/ 828 h 1954"/>
              <a:gd name="T56" fmla="*/ 675 w 1990"/>
              <a:gd name="T57" fmla="*/ 1167 h 1954"/>
              <a:gd name="T58" fmla="*/ 249 w 1990"/>
              <a:gd name="T59" fmla="*/ 1105 h 1954"/>
              <a:gd name="T60" fmla="*/ 249 w 1990"/>
              <a:gd name="T61" fmla="*/ 1444 h 1954"/>
              <a:gd name="T62" fmla="*/ 803 w 1990"/>
              <a:gd name="T63" fmla="*/ 1382 h 1954"/>
              <a:gd name="T64" fmla="*/ 249 w 1990"/>
              <a:gd name="T65" fmla="*/ 1444 h 1954"/>
              <a:gd name="T66" fmla="*/ 1179 w 1990"/>
              <a:gd name="T67" fmla="*/ 961 h 1954"/>
              <a:gd name="T68" fmla="*/ 1300 w 1990"/>
              <a:gd name="T69" fmla="*/ 1219 h 1954"/>
              <a:gd name="T70" fmla="*/ 1604 w 1990"/>
              <a:gd name="T71" fmla="*/ 858 h 19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1990" h="1954">
                <a:moveTo>
                  <a:pt x="1231" y="1534"/>
                </a:moveTo>
                <a:cubicBezTo>
                  <a:pt x="1258" y="1542"/>
                  <a:pt x="1285" y="1548"/>
                  <a:pt x="1312" y="1552"/>
                </a:cubicBezTo>
                <a:cubicBezTo>
                  <a:pt x="1272" y="1665"/>
                  <a:pt x="1165" y="1746"/>
                  <a:pt x="1039" y="1746"/>
                </a:cubicBezTo>
                <a:lnTo>
                  <a:pt x="291" y="1746"/>
                </a:lnTo>
                <a:cubicBezTo>
                  <a:pt x="131" y="1746"/>
                  <a:pt x="0" y="1615"/>
                  <a:pt x="0" y="1455"/>
                </a:cubicBezTo>
                <a:lnTo>
                  <a:pt x="0" y="540"/>
                </a:lnTo>
                <a:cubicBezTo>
                  <a:pt x="0" y="380"/>
                  <a:pt x="131" y="249"/>
                  <a:pt x="291" y="249"/>
                </a:cubicBezTo>
                <a:lnTo>
                  <a:pt x="515" y="249"/>
                </a:lnTo>
                <a:cubicBezTo>
                  <a:pt x="535" y="109"/>
                  <a:pt x="656" y="0"/>
                  <a:pt x="802" y="0"/>
                </a:cubicBezTo>
                <a:lnTo>
                  <a:pt x="1205" y="0"/>
                </a:lnTo>
                <a:cubicBezTo>
                  <a:pt x="1366" y="0"/>
                  <a:pt x="1496" y="131"/>
                  <a:pt x="1496" y="291"/>
                </a:cubicBezTo>
                <a:lnTo>
                  <a:pt x="1496" y="489"/>
                </a:lnTo>
                <a:cubicBezTo>
                  <a:pt x="1469" y="484"/>
                  <a:pt x="1441" y="480"/>
                  <a:pt x="1413" y="479"/>
                </a:cubicBezTo>
                <a:lnTo>
                  <a:pt x="1413" y="291"/>
                </a:lnTo>
                <a:cubicBezTo>
                  <a:pt x="1413" y="176"/>
                  <a:pt x="1320" y="83"/>
                  <a:pt x="1205" y="83"/>
                </a:cubicBezTo>
                <a:lnTo>
                  <a:pt x="802" y="83"/>
                </a:lnTo>
                <a:cubicBezTo>
                  <a:pt x="701" y="83"/>
                  <a:pt x="617" y="155"/>
                  <a:pt x="598" y="249"/>
                </a:cubicBezTo>
                <a:lnTo>
                  <a:pt x="1039" y="249"/>
                </a:lnTo>
                <a:cubicBezTo>
                  <a:pt x="1180" y="249"/>
                  <a:pt x="1297" y="349"/>
                  <a:pt x="1324" y="482"/>
                </a:cubicBezTo>
                <a:cubicBezTo>
                  <a:pt x="1297" y="485"/>
                  <a:pt x="1270" y="491"/>
                  <a:pt x="1243" y="499"/>
                </a:cubicBezTo>
                <a:cubicBezTo>
                  <a:pt x="1224" y="404"/>
                  <a:pt x="1140" y="333"/>
                  <a:pt x="1039" y="333"/>
                </a:cubicBezTo>
                <a:lnTo>
                  <a:pt x="291" y="333"/>
                </a:lnTo>
                <a:cubicBezTo>
                  <a:pt x="177" y="333"/>
                  <a:pt x="83" y="426"/>
                  <a:pt x="83" y="540"/>
                </a:cubicBezTo>
                <a:lnTo>
                  <a:pt x="83" y="1455"/>
                </a:lnTo>
                <a:cubicBezTo>
                  <a:pt x="83" y="1569"/>
                  <a:pt x="177" y="1663"/>
                  <a:pt x="291" y="1663"/>
                </a:cubicBezTo>
                <a:lnTo>
                  <a:pt x="1039" y="1663"/>
                </a:lnTo>
                <a:cubicBezTo>
                  <a:pt x="1126" y="1663"/>
                  <a:pt x="1200" y="1609"/>
                  <a:pt x="1231" y="1534"/>
                </a:cubicBezTo>
                <a:close/>
                <a:moveTo>
                  <a:pt x="1641" y="1453"/>
                </a:moveTo>
                <a:cubicBezTo>
                  <a:pt x="1401" y="1591"/>
                  <a:pt x="1093" y="1509"/>
                  <a:pt x="955" y="1269"/>
                </a:cubicBezTo>
                <a:cubicBezTo>
                  <a:pt x="816" y="1029"/>
                  <a:pt x="899" y="722"/>
                  <a:pt x="1138" y="583"/>
                </a:cubicBezTo>
                <a:cubicBezTo>
                  <a:pt x="1378" y="445"/>
                  <a:pt x="1686" y="527"/>
                  <a:pt x="1824" y="767"/>
                </a:cubicBezTo>
                <a:cubicBezTo>
                  <a:pt x="1963" y="1007"/>
                  <a:pt x="1880" y="1314"/>
                  <a:pt x="1641" y="1453"/>
                </a:cubicBezTo>
                <a:close/>
                <a:moveTo>
                  <a:pt x="1599" y="1381"/>
                </a:moveTo>
                <a:cubicBezTo>
                  <a:pt x="1799" y="1266"/>
                  <a:pt x="1868" y="1009"/>
                  <a:pt x="1752" y="809"/>
                </a:cubicBezTo>
                <a:cubicBezTo>
                  <a:pt x="1637" y="608"/>
                  <a:pt x="1380" y="539"/>
                  <a:pt x="1180" y="655"/>
                </a:cubicBezTo>
                <a:cubicBezTo>
                  <a:pt x="980" y="771"/>
                  <a:pt x="911" y="1027"/>
                  <a:pt x="1026" y="1228"/>
                </a:cubicBezTo>
                <a:cubicBezTo>
                  <a:pt x="1142" y="1428"/>
                  <a:pt x="1399" y="1497"/>
                  <a:pt x="1599" y="1381"/>
                </a:cubicBezTo>
                <a:close/>
                <a:moveTo>
                  <a:pt x="1767" y="1422"/>
                </a:moveTo>
                <a:lnTo>
                  <a:pt x="1551" y="1547"/>
                </a:lnTo>
                <a:lnTo>
                  <a:pt x="1717" y="1835"/>
                </a:lnTo>
                <a:lnTo>
                  <a:pt x="1933" y="1710"/>
                </a:lnTo>
                <a:lnTo>
                  <a:pt x="1767" y="1422"/>
                </a:lnTo>
                <a:close/>
                <a:moveTo>
                  <a:pt x="1956" y="1749"/>
                </a:moveTo>
                <a:lnTo>
                  <a:pt x="1739" y="1874"/>
                </a:lnTo>
                <a:cubicBezTo>
                  <a:pt x="1774" y="1934"/>
                  <a:pt x="1850" y="1954"/>
                  <a:pt x="1910" y="1919"/>
                </a:cubicBezTo>
                <a:cubicBezTo>
                  <a:pt x="1969" y="1885"/>
                  <a:pt x="1990" y="1809"/>
                  <a:pt x="1956" y="1749"/>
                </a:cubicBezTo>
                <a:close/>
                <a:moveTo>
                  <a:pt x="803" y="551"/>
                </a:moveTo>
                <a:lnTo>
                  <a:pt x="249" y="551"/>
                </a:lnTo>
                <a:lnTo>
                  <a:pt x="249" y="613"/>
                </a:lnTo>
                <a:lnTo>
                  <a:pt x="803" y="613"/>
                </a:lnTo>
                <a:lnTo>
                  <a:pt x="803" y="551"/>
                </a:lnTo>
                <a:close/>
                <a:moveTo>
                  <a:pt x="675" y="828"/>
                </a:moveTo>
                <a:lnTo>
                  <a:pt x="249" y="828"/>
                </a:lnTo>
                <a:lnTo>
                  <a:pt x="249" y="890"/>
                </a:lnTo>
                <a:lnTo>
                  <a:pt x="675" y="890"/>
                </a:lnTo>
                <a:lnTo>
                  <a:pt x="675" y="828"/>
                </a:lnTo>
                <a:close/>
                <a:moveTo>
                  <a:pt x="249" y="1167"/>
                </a:moveTo>
                <a:lnTo>
                  <a:pt x="675" y="1167"/>
                </a:lnTo>
                <a:lnTo>
                  <a:pt x="675" y="1105"/>
                </a:lnTo>
                <a:lnTo>
                  <a:pt x="249" y="1105"/>
                </a:lnTo>
                <a:lnTo>
                  <a:pt x="249" y="1167"/>
                </a:lnTo>
                <a:close/>
                <a:moveTo>
                  <a:pt x="249" y="1444"/>
                </a:moveTo>
                <a:lnTo>
                  <a:pt x="803" y="1444"/>
                </a:lnTo>
                <a:lnTo>
                  <a:pt x="803" y="1382"/>
                </a:lnTo>
                <a:lnTo>
                  <a:pt x="249" y="1382"/>
                </a:lnTo>
                <a:lnTo>
                  <a:pt x="249" y="1444"/>
                </a:lnTo>
                <a:close/>
                <a:moveTo>
                  <a:pt x="1308" y="1105"/>
                </a:moveTo>
                <a:lnTo>
                  <a:pt x="1179" y="961"/>
                </a:lnTo>
                <a:lnTo>
                  <a:pt x="1118" y="1017"/>
                </a:lnTo>
                <a:lnTo>
                  <a:pt x="1300" y="1219"/>
                </a:lnTo>
                <a:lnTo>
                  <a:pt x="1657" y="922"/>
                </a:lnTo>
                <a:lnTo>
                  <a:pt x="1604" y="858"/>
                </a:lnTo>
                <a:lnTo>
                  <a:pt x="1308" y="1105"/>
                </a:lnTo>
                <a:close/>
              </a:path>
            </a:pathLst>
          </a:custGeom>
          <a:solidFill>
            <a:schemeClr val="bg1"/>
          </a:solidFill>
          <a:ln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zh-CN" altLang="en-US" dirty="0"/>
          </a:p>
        </p:txBody>
      </p:sp>
      <p:sp>
        <p:nvSpPr>
          <p:cNvPr id="15" name="íṥḻídê">
            <a:extLst>
              <a:ext uri="{FF2B5EF4-FFF2-40B4-BE49-F238E27FC236}">
                <a16:creationId xmlns:a16="http://schemas.microsoft.com/office/drawing/2014/main" id="{84AF8C06-A34C-402A-BC91-85A720B27996}"/>
              </a:ext>
            </a:extLst>
          </p:cNvPr>
          <p:cNvSpPr/>
          <p:nvPr/>
        </p:nvSpPr>
        <p:spPr>
          <a:xfrm flipH="1">
            <a:off x="5930502" y="2574945"/>
            <a:ext cx="92728" cy="92728"/>
          </a:xfrm>
          <a:prstGeom prst="ellipse">
            <a:avLst/>
          </a:prstGeom>
          <a:solidFill>
            <a:schemeClr val="accent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" name="íŝḻïḑe">
            <a:extLst>
              <a:ext uri="{FF2B5EF4-FFF2-40B4-BE49-F238E27FC236}">
                <a16:creationId xmlns:a16="http://schemas.microsoft.com/office/drawing/2014/main" id="{4AE28C8F-DA16-4E42-BF50-3658586F1E01}"/>
              </a:ext>
            </a:extLst>
          </p:cNvPr>
          <p:cNvSpPr>
            <a:spLocks/>
          </p:cNvSpPr>
          <p:nvPr/>
        </p:nvSpPr>
        <p:spPr bwMode="auto">
          <a:xfrm>
            <a:off x="5798102" y="4042897"/>
            <a:ext cx="357527" cy="357057"/>
          </a:xfrm>
          <a:custGeom>
            <a:avLst/>
            <a:gdLst>
              <a:gd name="connsiteX0" fmla="*/ 86413 w 591547"/>
              <a:gd name="connsiteY0" fmla="*/ 515758 h 590770"/>
              <a:gd name="connsiteX1" fmla="*/ 171919 w 591547"/>
              <a:gd name="connsiteY1" fmla="*/ 515758 h 590770"/>
              <a:gd name="connsiteX2" fmla="*/ 171919 w 591547"/>
              <a:gd name="connsiteY2" fmla="*/ 537523 h 590770"/>
              <a:gd name="connsiteX3" fmla="*/ 86413 w 591547"/>
              <a:gd name="connsiteY3" fmla="*/ 537523 h 590770"/>
              <a:gd name="connsiteX4" fmla="*/ 86413 w 591547"/>
              <a:gd name="connsiteY4" fmla="*/ 461733 h 590770"/>
              <a:gd name="connsiteX5" fmla="*/ 171919 w 591547"/>
              <a:gd name="connsiteY5" fmla="*/ 461733 h 590770"/>
              <a:gd name="connsiteX6" fmla="*/ 171919 w 591547"/>
              <a:gd name="connsiteY6" fmla="*/ 483498 h 590770"/>
              <a:gd name="connsiteX7" fmla="*/ 86413 w 591547"/>
              <a:gd name="connsiteY7" fmla="*/ 483498 h 590770"/>
              <a:gd name="connsiteX8" fmla="*/ 86413 w 591547"/>
              <a:gd name="connsiteY8" fmla="*/ 408616 h 590770"/>
              <a:gd name="connsiteX9" fmla="*/ 171919 w 591547"/>
              <a:gd name="connsiteY9" fmla="*/ 408616 h 590770"/>
              <a:gd name="connsiteX10" fmla="*/ 171919 w 591547"/>
              <a:gd name="connsiteY10" fmla="*/ 429474 h 590770"/>
              <a:gd name="connsiteX11" fmla="*/ 86413 w 591547"/>
              <a:gd name="connsiteY11" fmla="*/ 429474 h 590770"/>
              <a:gd name="connsiteX12" fmla="*/ 204177 w 591547"/>
              <a:gd name="connsiteY12" fmla="*/ 357041 h 590770"/>
              <a:gd name="connsiteX13" fmla="*/ 204177 w 591547"/>
              <a:gd name="connsiteY13" fmla="*/ 569815 h 590770"/>
              <a:gd name="connsiteX14" fmla="*/ 333300 w 591547"/>
              <a:gd name="connsiteY14" fmla="*/ 569815 h 590770"/>
              <a:gd name="connsiteX15" fmla="*/ 333300 w 591547"/>
              <a:gd name="connsiteY15" fmla="*/ 382026 h 590770"/>
              <a:gd name="connsiteX16" fmla="*/ 183194 w 591547"/>
              <a:gd name="connsiteY16" fmla="*/ 357041 h 590770"/>
              <a:gd name="connsiteX17" fmla="*/ 75053 w 591547"/>
              <a:gd name="connsiteY17" fmla="*/ 382026 h 590770"/>
              <a:gd name="connsiteX18" fmla="*/ 75053 w 591547"/>
              <a:gd name="connsiteY18" fmla="*/ 569815 h 590770"/>
              <a:gd name="connsiteX19" fmla="*/ 183194 w 591547"/>
              <a:gd name="connsiteY19" fmla="*/ 569815 h 590770"/>
              <a:gd name="connsiteX20" fmla="*/ 247709 w 591547"/>
              <a:gd name="connsiteY20" fmla="*/ 311838 h 590770"/>
              <a:gd name="connsiteX21" fmla="*/ 322851 w 591547"/>
              <a:gd name="connsiteY21" fmla="*/ 311838 h 590770"/>
              <a:gd name="connsiteX22" fmla="*/ 322851 w 591547"/>
              <a:gd name="connsiteY22" fmla="*/ 332826 h 590770"/>
              <a:gd name="connsiteX23" fmla="*/ 247709 w 591547"/>
              <a:gd name="connsiteY23" fmla="*/ 332826 h 590770"/>
              <a:gd name="connsiteX24" fmla="*/ 247709 w 591547"/>
              <a:gd name="connsiteY24" fmla="*/ 257944 h 590770"/>
              <a:gd name="connsiteX25" fmla="*/ 322851 w 591547"/>
              <a:gd name="connsiteY25" fmla="*/ 257944 h 590770"/>
              <a:gd name="connsiteX26" fmla="*/ 322851 w 591547"/>
              <a:gd name="connsiteY26" fmla="*/ 279580 h 590770"/>
              <a:gd name="connsiteX27" fmla="*/ 247709 w 591547"/>
              <a:gd name="connsiteY27" fmla="*/ 279580 h 590770"/>
              <a:gd name="connsiteX28" fmla="*/ 247709 w 591547"/>
              <a:gd name="connsiteY28" fmla="*/ 203919 h 590770"/>
              <a:gd name="connsiteX29" fmla="*/ 322851 w 591547"/>
              <a:gd name="connsiteY29" fmla="*/ 203919 h 590770"/>
              <a:gd name="connsiteX30" fmla="*/ 322851 w 591547"/>
              <a:gd name="connsiteY30" fmla="*/ 225684 h 590770"/>
              <a:gd name="connsiteX31" fmla="*/ 247709 w 591547"/>
              <a:gd name="connsiteY31" fmla="*/ 225684 h 590770"/>
              <a:gd name="connsiteX32" fmla="*/ 247709 w 591547"/>
              <a:gd name="connsiteY32" fmla="*/ 150672 h 590770"/>
              <a:gd name="connsiteX33" fmla="*/ 322851 w 591547"/>
              <a:gd name="connsiteY33" fmla="*/ 150672 h 590770"/>
              <a:gd name="connsiteX34" fmla="*/ 322851 w 591547"/>
              <a:gd name="connsiteY34" fmla="*/ 171660 h 590770"/>
              <a:gd name="connsiteX35" fmla="*/ 247709 w 591547"/>
              <a:gd name="connsiteY35" fmla="*/ 171660 h 590770"/>
              <a:gd name="connsiteX36" fmla="*/ 355090 w 591547"/>
              <a:gd name="connsiteY36" fmla="*/ 102357 h 590770"/>
              <a:gd name="connsiteX37" fmla="*/ 355090 w 591547"/>
              <a:gd name="connsiteY37" fmla="*/ 373160 h 590770"/>
              <a:gd name="connsiteX38" fmla="*/ 355090 w 591547"/>
              <a:gd name="connsiteY38" fmla="*/ 376384 h 590770"/>
              <a:gd name="connsiteX39" fmla="*/ 355090 w 591547"/>
              <a:gd name="connsiteY39" fmla="*/ 569815 h 590770"/>
              <a:gd name="connsiteX40" fmla="*/ 484213 w 591547"/>
              <a:gd name="connsiteY40" fmla="*/ 569815 h 590770"/>
              <a:gd name="connsiteX41" fmla="*/ 484213 w 591547"/>
              <a:gd name="connsiteY41" fmla="*/ 154744 h 590770"/>
              <a:gd name="connsiteX42" fmla="*/ 333300 w 591547"/>
              <a:gd name="connsiteY42" fmla="*/ 99939 h 590770"/>
              <a:gd name="connsiteX43" fmla="*/ 236458 w 591547"/>
              <a:gd name="connsiteY43" fmla="*/ 125730 h 590770"/>
              <a:gd name="connsiteX44" fmla="*/ 236458 w 591547"/>
              <a:gd name="connsiteY44" fmla="*/ 341728 h 590770"/>
              <a:gd name="connsiteX45" fmla="*/ 333300 w 591547"/>
              <a:gd name="connsiteY45" fmla="*/ 360265 h 590770"/>
              <a:gd name="connsiteX46" fmla="*/ 397862 w 591547"/>
              <a:gd name="connsiteY46" fmla="*/ 21761 h 590770"/>
              <a:gd name="connsiteX47" fmla="*/ 387371 w 591547"/>
              <a:gd name="connsiteY47" fmla="*/ 32238 h 590770"/>
              <a:gd name="connsiteX48" fmla="*/ 397862 w 591547"/>
              <a:gd name="connsiteY48" fmla="*/ 42716 h 590770"/>
              <a:gd name="connsiteX49" fmla="*/ 409160 w 591547"/>
              <a:gd name="connsiteY49" fmla="*/ 32238 h 590770"/>
              <a:gd name="connsiteX50" fmla="*/ 397862 w 591547"/>
              <a:gd name="connsiteY50" fmla="*/ 21761 h 590770"/>
              <a:gd name="connsiteX51" fmla="*/ 397862 w 591547"/>
              <a:gd name="connsiteY51" fmla="*/ 0 h 590770"/>
              <a:gd name="connsiteX52" fmla="*/ 430143 w 591547"/>
              <a:gd name="connsiteY52" fmla="*/ 32238 h 590770"/>
              <a:gd name="connsiteX53" fmla="*/ 409160 w 591547"/>
              <a:gd name="connsiteY53" fmla="*/ 62865 h 590770"/>
              <a:gd name="connsiteX54" fmla="*/ 409160 w 591547"/>
              <a:gd name="connsiteY54" fmla="*/ 100745 h 590770"/>
              <a:gd name="connsiteX55" fmla="*/ 498740 w 591547"/>
              <a:gd name="connsiteY55" fmla="*/ 137819 h 590770"/>
              <a:gd name="connsiteX56" fmla="*/ 506003 w 591547"/>
              <a:gd name="connsiteY56" fmla="*/ 147491 h 590770"/>
              <a:gd name="connsiteX57" fmla="*/ 506003 w 591547"/>
              <a:gd name="connsiteY57" fmla="*/ 569815 h 590770"/>
              <a:gd name="connsiteX58" fmla="*/ 591547 w 591547"/>
              <a:gd name="connsiteY58" fmla="*/ 569815 h 590770"/>
              <a:gd name="connsiteX59" fmla="*/ 591547 w 591547"/>
              <a:gd name="connsiteY59" fmla="*/ 590770 h 590770"/>
              <a:gd name="connsiteX60" fmla="*/ 494705 w 591547"/>
              <a:gd name="connsiteY60" fmla="*/ 590770 h 590770"/>
              <a:gd name="connsiteX61" fmla="*/ 344598 w 591547"/>
              <a:gd name="connsiteY61" fmla="*/ 590770 h 590770"/>
              <a:gd name="connsiteX62" fmla="*/ 193685 w 591547"/>
              <a:gd name="connsiteY62" fmla="*/ 590770 h 590770"/>
              <a:gd name="connsiteX63" fmla="*/ 64562 w 591547"/>
              <a:gd name="connsiteY63" fmla="*/ 590770 h 590770"/>
              <a:gd name="connsiteX64" fmla="*/ 0 w 591547"/>
              <a:gd name="connsiteY64" fmla="*/ 590770 h 590770"/>
              <a:gd name="connsiteX65" fmla="*/ 0 w 591547"/>
              <a:gd name="connsiteY65" fmla="*/ 569815 h 590770"/>
              <a:gd name="connsiteX66" fmla="*/ 54070 w 591547"/>
              <a:gd name="connsiteY66" fmla="*/ 569815 h 590770"/>
              <a:gd name="connsiteX67" fmla="*/ 54070 w 591547"/>
              <a:gd name="connsiteY67" fmla="*/ 373160 h 590770"/>
              <a:gd name="connsiteX68" fmla="*/ 62141 w 591547"/>
              <a:gd name="connsiteY68" fmla="*/ 362683 h 590770"/>
              <a:gd name="connsiteX69" fmla="*/ 191264 w 591547"/>
              <a:gd name="connsiteY69" fmla="*/ 333668 h 590770"/>
              <a:gd name="connsiteX70" fmla="*/ 195299 w 591547"/>
              <a:gd name="connsiteY70" fmla="*/ 333668 h 590770"/>
              <a:gd name="connsiteX71" fmla="*/ 196106 w 591547"/>
              <a:gd name="connsiteY71" fmla="*/ 333668 h 590770"/>
              <a:gd name="connsiteX72" fmla="*/ 215475 w 591547"/>
              <a:gd name="connsiteY72" fmla="*/ 336892 h 590770"/>
              <a:gd name="connsiteX73" fmla="*/ 215475 w 591547"/>
              <a:gd name="connsiteY73" fmla="*/ 116864 h 590770"/>
              <a:gd name="connsiteX74" fmla="*/ 223545 w 591547"/>
              <a:gd name="connsiteY74" fmla="*/ 106387 h 590770"/>
              <a:gd name="connsiteX75" fmla="*/ 341370 w 591547"/>
              <a:gd name="connsiteY75" fmla="*/ 75760 h 590770"/>
              <a:gd name="connsiteX76" fmla="*/ 342984 w 591547"/>
              <a:gd name="connsiteY76" fmla="*/ 75760 h 590770"/>
              <a:gd name="connsiteX77" fmla="*/ 345405 w 591547"/>
              <a:gd name="connsiteY77" fmla="*/ 75760 h 590770"/>
              <a:gd name="connsiteX78" fmla="*/ 347020 w 591547"/>
              <a:gd name="connsiteY78" fmla="*/ 75760 h 590770"/>
              <a:gd name="connsiteX79" fmla="*/ 348634 w 591547"/>
              <a:gd name="connsiteY79" fmla="*/ 75760 h 590770"/>
              <a:gd name="connsiteX80" fmla="*/ 387371 w 591547"/>
              <a:gd name="connsiteY80" fmla="*/ 91879 h 590770"/>
              <a:gd name="connsiteX81" fmla="*/ 387371 w 591547"/>
              <a:gd name="connsiteY81" fmla="*/ 62865 h 590770"/>
              <a:gd name="connsiteX82" fmla="*/ 365581 w 591547"/>
              <a:gd name="connsiteY82" fmla="*/ 32238 h 590770"/>
              <a:gd name="connsiteX83" fmla="*/ 397862 w 591547"/>
              <a:gd name="connsiteY83" fmla="*/ 0 h 5907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</a:cxnLst>
            <a:rect l="l" t="t" r="r" b="b"/>
            <a:pathLst>
              <a:path w="591547" h="590770">
                <a:moveTo>
                  <a:pt x="86413" y="515758"/>
                </a:moveTo>
                <a:lnTo>
                  <a:pt x="171919" y="515758"/>
                </a:lnTo>
                <a:lnTo>
                  <a:pt x="171919" y="537523"/>
                </a:lnTo>
                <a:lnTo>
                  <a:pt x="86413" y="537523"/>
                </a:lnTo>
                <a:close/>
                <a:moveTo>
                  <a:pt x="86413" y="461733"/>
                </a:moveTo>
                <a:lnTo>
                  <a:pt x="171919" y="461733"/>
                </a:lnTo>
                <a:lnTo>
                  <a:pt x="171919" y="483498"/>
                </a:lnTo>
                <a:lnTo>
                  <a:pt x="86413" y="483498"/>
                </a:lnTo>
                <a:close/>
                <a:moveTo>
                  <a:pt x="86413" y="408616"/>
                </a:moveTo>
                <a:lnTo>
                  <a:pt x="171919" y="408616"/>
                </a:lnTo>
                <a:lnTo>
                  <a:pt x="171919" y="429474"/>
                </a:lnTo>
                <a:lnTo>
                  <a:pt x="86413" y="429474"/>
                </a:lnTo>
                <a:close/>
                <a:moveTo>
                  <a:pt x="204177" y="357041"/>
                </a:moveTo>
                <a:lnTo>
                  <a:pt x="204177" y="569815"/>
                </a:lnTo>
                <a:lnTo>
                  <a:pt x="333300" y="569815"/>
                </a:lnTo>
                <a:lnTo>
                  <a:pt x="333300" y="382026"/>
                </a:lnTo>
                <a:close/>
                <a:moveTo>
                  <a:pt x="183194" y="357041"/>
                </a:moveTo>
                <a:lnTo>
                  <a:pt x="75053" y="382026"/>
                </a:lnTo>
                <a:lnTo>
                  <a:pt x="75053" y="569815"/>
                </a:lnTo>
                <a:lnTo>
                  <a:pt x="183194" y="569815"/>
                </a:lnTo>
                <a:close/>
                <a:moveTo>
                  <a:pt x="247709" y="311838"/>
                </a:moveTo>
                <a:lnTo>
                  <a:pt x="322851" y="311838"/>
                </a:lnTo>
                <a:lnTo>
                  <a:pt x="322851" y="332826"/>
                </a:lnTo>
                <a:lnTo>
                  <a:pt x="247709" y="332826"/>
                </a:lnTo>
                <a:close/>
                <a:moveTo>
                  <a:pt x="247709" y="257944"/>
                </a:moveTo>
                <a:lnTo>
                  <a:pt x="322851" y="257944"/>
                </a:lnTo>
                <a:lnTo>
                  <a:pt x="322851" y="279580"/>
                </a:lnTo>
                <a:lnTo>
                  <a:pt x="247709" y="279580"/>
                </a:lnTo>
                <a:close/>
                <a:moveTo>
                  <a:pt x="247709" y="203919"/>
                </a:moveTo>
                <a:lnTo>
                  <a:pt x="322851" y="203919"/>
                </a:lnTo>
                <a:lnTo>
                  <a:pt x="322851" y="225684"/>
                </a:lnTo>
                <a:lnTo>
                  <a:pt x="247709" y="225684"/>
                </a:lnTo>
                <a:close/>
                <a:moveTo>
                  <a:pt x="247709" y="150672"/>
                </a:moveTo>
                <a:lnTo>
                  <a:pt x="322851" y="150672"/>
                </a:lnTo>
                <a:lnTo>
                  <a:pt x="322851" y="171660"/>
                </a:lnTo>
                <a:lnTo>
                  <a:pt x="247709" y="171660"/>
                </a:lnTo>
                <a:close/>
                <a:moveTo>
                  <a:pt x="355090" y="102357"/>
                </a:moveTo>
                <a:lnTo>
                  <a:pt x="355090" y="373160"/>
                </a:lnTo>
                <a:lnTo>
                  <a:pt x="355090" y="376384"/>
                </a:lnTo>
                <a:lnTo>
                  <a:pt x="355090" y="569815"/>
                </a:lnTo>
                <a:lnTo>
                  <a:pt x="484213" y="569815"/>
                </a:lnTo>
                <a:lnTo>
                  <a:pt x="484213" y="154744"/>
                </a:lnTo>
                <a:close/>
                <a:moveTo>
                  <a:pt x="333300" y="99939"/>
                </a:moveTo>
                <a:lnTo>
                  <a:pt x="236458" y="125730"/>
                </a:lnTo>
                <a:lnTo>
                  <a:pt x="236458" y="341728"/>
                </a:lnTo>
                <a:lnTo>
                  <a:pt x="333300" y="360265"/>
                </a:lnTo>
                <a:close/>
                <a:moveTo>
                  <a:pt x="397862" y="21761"/>
                </a:moveTo>
                <a:cubicBezTo>
                  <a:pt x="392213" y="21761"/>
                  <a:pt x="387371" y="26596"/>
                  <a:pt x="387371" y="32238"/>
                </a:cubicBezTo>
                <a:cubicBezTo>
                  <a:pt x="387371" y="37880"/>
                  <a:pt x="392213" y="42716"/>
                  <a:pt x="397862" y="42716"/>
                </a:cubicBezTo>
                <a:cubicBezTo>
                  <a:pt x="404318" y="42716"/>
                  <a:pt x="409160" y="37880"/>
                  <a:pt x="409160" y="32238"/>
                </a:cubicBezTo>
                <a:cubicBezTo>
                  <a:pt x="409160" y="26596"/>
                  <a:pt x="404318" y="21761"/>
                  <a:pt x="397862" y="21761"/>
                </a:cubicBezTo>
                <a:close/>
                <a:moveTo>
                  <a:pt x="397862" y="0"/>
                </a:moveTo>
                <a:cubicBezTo>
                  <a:pt x="415616" y="0"/>
                  <a:pt x="430143" y="14507"/>
                  <a:pt x="430143" y="32238"/>
                </a:cubicBezTo>
                <a:cubicBezTo>
                  <a:pt x="430143" y="45940"/>
                  <a:pt x="421266" y="58029"/>
                  <a:pt x="409160" y="62865"/>
                </a:cubicBezTo>
                <a:lnTo>
                  <a:pt x="409160" y="100745"/>
                </a:lnTo>
                <a:lnTo>
                  <a:pt x="498740" y="137819"/>
                </a:lnTo>
                <a:cubicBezTo>
                  <a:pt x="502775" y="139431"/>
                  <a:pt x="506003" y="143461"/>
                  <a:pt x="506003" y="147491"/>
                </a:cubicBezTo>
                <a:lnTo>
                  <a:pt x="506003" y="569815"/>
                </a:lnTo>
                <a:lnTo>
                  <a:pt x="591547" y="569815"/>
                </a:lnTo>
                <a:lnTo>
                  <a:pt x="591547" y="590770"/>
                </a:lnTo>
                <a:lnTo>
                  <a:pt x="494705" y="590770"/>
                </a:lnTo>
                <a:lnTo>
                  <a:pt x="344598" y="590770"/>
                </a:lnTo>
                <a:lnTo>
                  <a:pt x="193685" y="590770"/>
                </a:lnTo>
                <a:lnTo>
                  <a:pt x="64562" y="590770"/>
                </a:lnTo>
                <a:lnTo>
                  <a:pt x="0" y="590770"/>
                </a:lnTo>
                <a:lnTo>
                  <a:pt x="0" y="569815"/>
                </a:lnTo>
                <a:lnTo>
                  <a:pt x="54070" y="569815"/>
                </a:lnTo>
                <a:lnTo>
                  <a:pt x="54070" y="373160"/>
                </a:lnTo>
                <a:cubicBezTo>
                  <a:pt x="54070" y="368324"/>
                  <a:pt x="57298" y="364294"/>
                  <a:pt x="62141" y="362683"/>
                </a:cubicBezTo>
                <a:lnTo>
                  <a:pt x="191264" y="333668"/>
                </a:lnTo>
                <a:cubicBezTo>
                  <a:pt x="192878" y="332862"/>
                  <a:pt x="194492" y="332862"/>
                  <a:pt x="195299" y="333668"/>
                </a:cubicBezTo>
                <a:cubicBezTo>
                  <a:pt x="196106" y="333668"/>
                  <a:pt x="196106" y="333668"/>
                  <a:pt x="196106" y="333668"/>
                </a:cubicBezTo>
                <a:lnTo>
                  <a:pt x="215475" y="336892"/>
                </a:lnTo>
                <a:lnTo>
                  <a:pt x="215475" y="116864"/>
                </a:lnTo>
                <a:cubicBezTo>
                  <a:pt x="215475" y="112028"/>
                  <a:pt x="218703" y="107999"/>
                  <a:pt x="223545" y="106387"/>
                </a:cubicBezTo>
                <a:lnTo>
                  <a:pt x="341370" y="75760"/>
                </a:lnTo>
                <a:cubicBezTo>
                  <a:pt x="342177" y="75760"/>
                  <a:pt x="342177" y="75760"/>
                  <a:pt x="342984" y="75760"/>
                </a:cubicBezTo>
                <a:cubicBezTo>
                  <a:pt x="343791" y="75760"/>
                  <a:pt x="344598" y="74954"/>
                  <a:pt x="345405" y="75760"/>
                </a:cubicBezTo>
                <a:cubicBezTo>
                  <a:pt x="346213" y="75760"/>
                  <a:pt x="347020" y="75760"/>
                  <a:pt x="347020" y="75760"/>
                </a:cubicBezTo>
                <a:cubicBezTo>
                  <a:pt x="347827" y="75760"/>
                  <a:pt x="347827" y="75760"/>
                  <a:pt x="348634" y="75760"/>
                </a:cubicBezTo>
                <a:lnTo>
                  <a:pt x="387371" y="91879"/>
                </a:lnTo>
                <a:lnTo>
                  <a:pt x="387371" y="62865"/>
                </a:lnTo>
                <a:cubicBezTo>
                  <a:pt x="375265" y="58029"/>
                  <a:pt x="365581" y="45940"/>
                  <a:pt x="365581" y="32238"/>
                </a:cubicBezTo>
                <a:cubicBezTo>
                  <a:pt x="365581" y="14507"/>
                  <a:pt x="380107" y="0"/>
                  <a:pt x="39786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82832" tIns="91416" rIns="182832" bIns="91416" numCol="1" anchor="t" anchorCtr="0" compatLnSpc="1">
            <a:prstTxWarp prst="textNoShape">
              <a:avLst/>
            </a:prstTxWarp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 sz="7198"/>
          </a:p>
        </p:txBody>
      </p:sp>
      <p:sp>
        <p:nvSpPr>
          <p:cNvPr id="17" name="ïsľïḓè">
            <a:extLst>
              <a:ext uri="{FF2B5EF4-FFF2-40B4-BE49-F238E27FC236}">
                <a16:creationId xmlns:a16="http://schemas.microsoft.com/office/drawing/2014/main" id="{7B17034A-0B27-4C96-AB5D-9FEFA68F5133}"/>
              </a:ext>
            </a:extLst>
          </p:cNvPr>
          <p:cNvSpPr/>
          <p:nvPr/>
        </p:nvSpPr>
        <p:spPr>
          <a:xfrm flipH="1">
            <a:off x="6988034" y="3620869"/>
            <a:ext cx="92728" cy="92728"/>
          </a:xfrm>
          <a:prstGeom prst="ellipse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" name="ïṥḻíḋè">
            <a:extLst>
              <a:ext uri="{FF2B5EF4-FFF2-40B4-BE49-F238E27FC236}">
                <a16:creationId xmlns:a16="http://schemas.microsoft.com/office/drawing/2014/main" id="{2BF88DEB-BC33-45BC-B372-5135A58908DF}"/>
              </a:ext>
            </a:extLst>
          </p:cNvPr>
          <p:cNvSpPr/>
          <p:nvPr/>
        </p:nvSpPr>
        <p:spPr>
          <a:xfrm flipH="1">
            <a:off x="5930312" y="4678686"/>
            <a:ext cx="92728" cy="92728"/>
          </a:xfrm>
          <a:prstGeom prst="ellipse">
            <a:avLst/>
          </a:prstGeom>
          <a:solidFill>
            <a:schemeClr val="accent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1" name="îṧḻiḋe">
            <a:extLst>
              <a:ext uri="{FF2B5EF4-FFF2-40B4-BE49-F238E27FC236}">
                <a16:creationId xmlns:a16="http://schemas.microsoft.com/office/drawing/2014/main" id="{79612DAB-78FA-46FC-826C-983F7D1ACB96}"/>
              </a:ext>
            </a:extLst>
          </p:cNvPr>
          <p:cNvSpPr/>
          <p:nvPr/>
        </p:nvSpPr>
        <p:spPr>
          <a:xfrm>
            <a:off x="7860224" y="2011048"/>
            <a:ext cx="3389923" cy="610261"/>
          </a:xfrm>
          <a:prstGeom prst="snip2SameRect">
            <a:avLst>
              <a:gd name="adj1" fmla="val 0"/>
              <a:gd name="adj2" fmla="val 0"/>
            </a:avLst>
          </a:prstGeom>
          <a:ln>
            <a:noFill/>
          </a:ln>
        </p:spPr>
        <p:txBody>
          <a:bodyPr wrap="square" anchor="t">
            <a:normAutofit/>
          </a:bodyPr>
          <a:lstStyle/>
          <a:p>
            <a:pPr marL="228594" indent="-228594">
              <a:lnSpc>
                <a:spcPct val="150000"/>
              </a:lnSpc>
              <a:buFont typeface="Arial" pitchFamily="34" charset="0"/>
              <a:buChar char="•"/>
              <a:tabLst>
                <a:tab pos="228594" algn="l"/>
              </a:tabLst>
              <a:defRPr/>
            </a:pPr>
            <a:r>
              <a:rPr lang="zh-CN" altLang="en-US" sz="900" dirty="0"/>
              <a:t>此部分内容作为文字排版占位显示（建议使用主题字体）</a:t>
            </a:r>
          </a:p>
          <a:p>
            <a:pPr marL="228594" indent="-228594">
              <a:lnSpc>
                <a:spcPct val="150000"/>
              </a:lnSpc>
              <a:buFont typeface="Arial" pitchFamily="34" charset="0"/>
              <a:buChar char="•"/>
              <a:tabLst>
                <a:tab pos="228594" algn="l"/>
              </a:tabLst>
              <a:defRPr/>
            </a:pPr>
            <a:r>
              <a:rPr lang="zh-CN" altLang="en-US" sz="900" dirty="0"/>
              <a:t>如需更改请在（设置形状格式）菜单下（文本选项）中调整</a:t>
            </a:r>
            <a:endParaRPr lang="en-US" altLang="zh-CN" sz="900" dirty="0"/>
          </a:p>
        </p:txBody>
      </p:sp>
      <p:sp>
        <p:nvSpPr>
          <p:cNvPr id="32" name="íṡḷïḓe">
            <a:extLst>
              <a:ext uri="{FF2B5EF4-FFF2-40B4-BE49-F238E27FC236}">
                <a16:creationId xmlns:a16="http://schemas.microsoft.com/office/drawing/2014/main" id="{B2525C13-FDA0-462C-BE40-5BA25A1CE315}"/>
              </a:ext>
            </a:extLst>
          </p:cNvPr>
          <p:cNvSpPr txBox="1">
            <a:spLocks/>
          </p:cNvSpPr>
          <p:nvPr/>
        </p:nvSpPr>
        <p:spPr bwMode="auto">
          <a:xfrm>
            <a:off x="7860224" y="1558589"/>
            <a:ext cx="3389923" cy="4364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b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1600" b="1" dirty="0">
                <a:solidFill>
                  <a:schemeClr val="accent3"/>
                </a:solidFill>
              </a:rPr>
              <a:t>标题文本预设</a:t>
            </a:r>
            <a:endParaRPr lang="en-US" altLang="zh-CN" sz="1600" b="1" dirty="0">
              <a:solidFill>
                <a:schemeClr val="accent3"/>
              </a:solidFill>
            </a:endParaRPr>
          </a:p>
        </p:txBody>
      </p:sp>
      <p:sp>
        <p:nvSpPr>
          <p:cNvPr id="29" name="ïṣliḋè">
            <a:extLst>
              <a:ext uri="{FF2B5EF4-FFF2-40B4-BE49-F238E27FC236}">
                <a16:creationId xmlns:a16="http://schemas.microsoft.com/office/drawing/2014/main" id="{F21EEEA3-A7BE-4DAE-8F72-8642F703F000}"/>
              </a:ext>
            </a:extLst>
          </p:cNvPr>
          <p:cNvSpPr/>
          <p:nvPr/>
        </p:nvSpPr>
        <p:spPr>
          <a:xfrm>
            <a:off x="7860224" y="5321459"/>
            <a:ext cx="3389923" cy="610261"/>
          </a:xfrm>
          <a:prstGeom prst="snip2SameRect">
            <a:avLst>
              <a:gd name="adj1" fmla="val 0"/>
              <a:gd name="adj2" fmla="val 0"/>
            </a:avLst>
          </a:prstGeom>
          <a:ln>
            <a:noFill/>
          </a:ln>
        </p:spPr>
        <p:txBody>
          <a:bodyPr wrap="square" anchor="t">
            <a:normAutofit/>
          </a:bodyPr>
          <a:lstStyle/>
          <a:p>
            <a:pPr marL="228594" indent="-228594">
              <a:lnSpc>
                <a:spcPct val="150000"/>
              </a:lnSpc>
              <a:buFont typeface="Arial" pitchFamily="34" charset="0"/>
              <a:buChar char="•"/>
              <a:tabLst>
                <a:tab pos="228594" algn="l"/>
              </a:tabLst>
              <a:defRPr/>
            </a:pPr>
            <a:r>
              <a:rPr lang="zh-CN" altLang="en-US" sz="900" dirty="0"/>
              <a:t>此部分内容作为文字排版占位显示（建议使用主题字体）</a:t>
            </a:r>
          </a:p>
          <a:p>
            <a:pPr marL="228594" indent="-228594">
              <a:lnSpc>
                <a:spcPct val="150000"/>
              </a:lnSpc>
              <a:buFont typeface="Arial" pitchFamily="34" charset="0"/>
              <a:buChar char="•"/>
              <a:tabLst>
                <a:tab pos="228594" algn="l"/>
              </a:tabLst>
              <a:defRPr/>
            </a:pPr>
            <a:r>
              <a:rPr lang="zh-CN" altLang="en-US" sz="900" dirty="0"/>
              <a:t>如需更改请在（设置形状格式）菜单下（文本选项）中调整</a:t>
            </a:r>
            <a:endParaRPr lang="en-US" altLang="zh-CN" sz="900" dirty="0"/>
          </a:p>
        </p:txBody>
      </p:sp>
      <p:sp>
        <p:nvSpPr>
          <p:cNvPr id="30" name="î$liḓê">
            <a:extLst>
              <a:ext uri="{FF2B5EF4-FFF2-40B4-BE49-F238E27FC236}">
                <a16:creationId xmlns:a16="http://schemas.microsoft.com/office/drawing/2014/main" id="{21B11796-C962-48AD-95FE-8A629E265F34}"/>
              </a:ext>
            </a:extLst>
          </p:cNvPr>
          <p:cNvSpPr txBox="1">
            <a:spLocks/>
          </p:cNvSpPr>
          <p:nvPr/>
        </p:nvSpPr>
        <p:spPr bwMode="auto">
          <a:xfrm>
            <a:off x="7860224" y="4869000"/>
            <a:ext cx="3389923" cy="4364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b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1600" b="1" dirty="0">
                <a:solidFill>
                  <a:schemeClr val="accent3"/>
                </a:solidFill>
              </a:rPr>
              <a:t>标题文本预设</a:t>
            </a:r>
            <a:endParaRPr lang="en-US" altLang="zh-CN" sz="1600" b="1" dirty="0">
              <a:solidFill>
                <a:schemeClr val="accent3"/>
              </a:solidFill>
            </a:endParaRPr>
          </a:p>
        </p:txBody>
      </p:sp>
      <p:sp>
        <p:nvSpPr>
          <p:cNvPr id="27" name="iṡḻíḓê">
            <a:extLst>
              <a:ext uri="{FF2B5EF4-FFF2-40B4-BE49-F238E27FC236}">
                <a16:creationId xmlns:a16="http://schemas.microsoft.com/office/drawing/2014/main" id="{672E8547-D045-4FE2-A048-DB2870631010}"/>
              </a:ext>
            </a:extLst>
          </p:cNvPr>
          <p:cNvSpPr txBox="1"/>
          <p:nvPr/>
        </p:nvSpPr>
        <p:spPr>
          <a:xfrm>
            <a:off x="7860225" y="3514730"/>
            <a:ext cx="3660262" cy="932670"/>
          </a:xfrm>
          <a:prstGeom prst="rect">
            <a:avLst/>
          </a:prstGeom>
          <a:noFill/>
        </p:spPr>
        <p:txBody>
          <a:bodyPr wrap="square" lIns="90000" tIns="46800" rIns="90000" bIns="46800" rtlCol="0">
            <a:normAutofit/>
          </a:bodyPr>
          <a:lstStyle/>
          <a:p>
            <a:pPr algn="just">
              <a:lnSpc>
                <a:spcPct val="150000"/>
              </a:lnSpc>
            </a:pPr>
            <a:r>
              <a:rPr lang="en-US" altLang="zh-CN" sz="800" dirty="0"/>
              <a:t>1.</a:t>
            </a:r>
            <a:r>
              <a:rPr lang="zh-CN" altLang="en-US" sz="800" dirty="0"/>
              <a:t>选中</a:t>
            </a:r>
            <a:r>
              <a:rPr lang="en-US" altLang="zh-CN" sz="800" dirty="0"/>
              <a:t>PPT</a:t>
            </a:r>
            <a:r>
              <a:rPr lang="zh-CN" altLang="en-US" sz="800" dirty="0"/>
              <a:t>页面中图示里的图标（可按住</a:t>
            </a:r>
            <a:r>
              <a:rPr lang="en-US" altLang="zh-CN" sz="800" dirty="0"/>
              <a:t>shift</a:t>
            </a:r>
            <a:r>
              <a:rPr lang="zh-CN" altLang="en-US" sz="800" dirty="0"/>
              <a:t>键多选）；</a:t>
            </a:r>
            <a:r>
              <a:rPr lang="en-US" altLang="zh-CN" sz="800" dirty="0"/>
              <a:t>2.</a:t>
            </a:r>
            <a:r>
              <a:rPr lang="zh-CN" altLang="en-US" sz="800" dirty="0"/>
              <a:t>在</a:t>
            </a:r>
            <a:r>
              <a:rPr lang="en-US" altLang="zh-CN" sz="800" dirty="0" err="1"/>
              <a:t>iSlide</a:t>
            </a:r>
            <a:r>
              <a:rPr lang="zh-CN" altLang="en-US" sz="800" dirty="0"/>
              <a:t>菜单面板打开“图标库”，单击左键即可进行替换操作；可以将</a:t>
            </a:r>
            <a:r>
              <a:rPr lang="en-US" altLang="zh-CN" sz="800" dirty="0"/>
              <a:t>PPT</a:t>
            </a:r>
            <a:r>
              <a:rPr lang="zh-CN" altLang="en-US" sz="800" dirty="0"/>
              <a:t>中绘制的任何形状替换为</a:t>
            </a:r>
            <a:r>
              <a:rPr lang="en-US" altLang="zh-CN" sz="800" dirty="0" err="1"/>
              <a:t>iSlide</a:t>
            </a:r>
            <a:r>
              <a:rPr lang="zh-CN" altLang="en-US" sz="800" dirty="0"/>
              <a:t>图标库中的图标；所有使用</a:t>
            </a:r>
            <a:r>
              <a:rPr lang="en-US" altLang="zh-CN" sz="800" dirty="0" err="1"/>
              <a:t>iSlide</a:t>
            </a:r>
            <a:r>
              <a:rPr lang="zh-CN" altLang="en-US" sz="800" dirty="0"/>
              <a:t>插入的图标均为矢量格式；所有单独的图标或图形（非组合）均可以使用</a:t>
            </a:r>
            <a:r>
              <a:rPr lang="en-US" altLang="zh-CN" sz="800" dirty="0" err="1"/>
              <a:t>iSlide</a:t>
            </a:r>
            <a:r>
              <a:rPr lang="zh-CN" altLang="en-US" sz="800" dirty="0"/>
              <a:t>图标库功能一键替换为图标</a:t>
            </a:r>
          </a:p>
        </p:txBody>
      </p:sp>
      <p:sp>
        <p:nvSpPr>
          <p:cNvPr id="28" name="îṧlîďè">
            <a:extLst>
              <a:ext uri="{FF2B5EF4-FFF2-40B4-BE49-F238E27FC236}">
                <a16:creationId xmlns:a16="http://schemas.microsoft.com/office/drawing/2014/main" id="{E2A1E44B-4945-4D11-9864-64A310DC4259}"/>
              </a:ext>
            </a:extLst>
          </p:cNvPr>
          <p:cNvSpPr txBox="1"/>
          <p:nvPr/>
        </p:nvSpPr>
        <p:spPr>
          <a:xfrm>
            <a:off x="7860225" y="3042910"/>
            <a:ext cx="3660264" cy="471820"/>
          </a:xfrm>
          <a:prstGeom prst="rect">
            <a:avLst/>
          </a:prstGeom>
          <a:noFill/>
        </p:spPr>
        <p:txBody>
          <a:bodyPr wrap="square" rtlCol="0" anchor="ctr">
            <a:normAutofit/>
          </a:bodyPr>
          <a:lstStyle/>
          <a:p>
            <a:r>
              <a:rPr lang="zh-CN" altLang="en-US" sz="1400" b="1" dirty="0">
                <a:solidFill>
                  <a:schemeClr val="accent1"/>
                </a:solidFill>
              </a:rPr>
              <a:t>替换图示中的图标</a:t>
            </a:r>
          </a:p>
        </p:txBody>
      </p:sp>
      <p:cxnSp>
        <p:nvCxnSpPr>
          <p:cNvPr id="22" name="肘形连接符 51">
            <a:extLst>
              <a:ext uri="{FF2B5EF4-FFF2-40B4-BE49-F238E27FC236}">
                <a16:creationId xmlns:a16="http://schemas.microsoft.com/office/drawing/2014/main" id="{54E086B0-A430-409F-9933-548E37B5ED97}"/>
              </a:ext>
            </a:extLst>
          </p:cNvPr>
          <p:cNvCxnSpPr>
            <a:stCxn id="15" idx="0"/>
            <a:endCxn id="32" idx="1"/>
          </p:cNvCxnSpPr>
          <p:nvPr/>
        </p:nvCxnSpPr>
        <p:spPr>
          <a:xfrm rot="5400000" flipH="1" flipV="1">
            <a:off x="6519484" y="1234205"/>
            <a:ext cx="798122" cy="1883358"/>
          </a:xfrm>
          <a:prstGeom prst="bentConnector2">
            <a:avLst/>
          </a:prstGeom>
          <a:ln w="6350" cap="rnd">
            <a:solidFill>
              <a:schemeClr val="tx1">
                <a:lumMod val="50000"/>
                <a:lumOff val="50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肘形连接符 53">
            <a:extLst>
              <a:ext uri="{FF2B5EF4-FFF2-40B4-BE49-F238E27FC236}">
                <a16:creationId xmlns:a16="http://schemas.microsoft.com/office/drawing/2014/main" id="{7A82369A-D2C1-44CA-9AF2-EC449F4A8EF6}"/>
              </a:ext>
            </a:extLst>
          </p:cNvPr>
          <p:cNvCxnSpPr>
            <a:stCxn id="17" idx="2"/>
            <a:endCxn id="28" idx="1"/>
          </p:cNvCxnSpPr>
          <p:nvPr/>
        </p:nvCxnSpPr>
        <p:spPr>
          <a:xfrm flipV="1">
            <a:off x="7080762" y="3278820"/>
            <a:ext cx="779463" cy="388413"/>
          </a:xfrm>
          <a:prstGeom prst="bentConnector3">
            <a:avLst/>
          </a:prstGeom>
          <a:ln w="6350" cap="rnd">
            <a:solidFill>
              <a:schemeClr val="tx1">
                <a:lumMod val="50000"/>
                <a:lumOff val="50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肘形连接符 55">
            <a:extLst>
              <a:ext uri="{FF2B5EF4-FFF2-40B4-BE49-F238E27FC236}">
                <a16:creationId xmlns:a16="http://schemas.microsoft.com/office/drawing/2014/main" id="{5A3278FE-53C2-4220-8F86-0976BA340DCD}"/>
              </a:ext>
            </a:extLst>
          </p:cNvPr>
          <p:cNvCxnSpPr>
            <a:stCxn id="18" idx="4"/>
            <a:endCxn id="30" idx="1"/>
          </p:cNvCxnSpPr>
          <p:nvPr/>
        </p:nvCxnSpPr>
        <p:spPr>
          <a:xfrm rot="16200000" flipH="1">
            <a:off x="6760540" y="3987550"/>
            <a:ext cx="315820" cy="1883548"/>
          </a:xfrm>
          <a:prstGeom prst="bentConnector2">
            <a:avLst/>
          </a:prstGeom>
          <a:ln w="6350" cap="rnd">
            <a:solidFill>
              <a:schemeClr val="tx1">
                <a:lumMod val="50000"/>
                <a:lumOff val="50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直接连接符 24">
            <a:extLst>
              <a:ext uri="{FF2B5EF4-FFF2-40B4-BE49-F238E27FC236}">
                <a16:creationId xmlns:a16="http://schemas.microsoft.com/office/drawing/2014/main" id="{C2491C27-856D-4AAA-B552-A736DDDBEC76}"/>
              </a:ext>
            </a:extLst>
          </p:cNvPr>
          <p:cNvCxnSpPr/>
          <p:nvPr/>
        </p:nvCxnSpPr>
        <p:spPr>
          <a:xfrm>
            <a:off x="7941000" y="2809606"/>
            <a:ext cx="3579487" cy="0"/>
          </a:xfrm>
          <a:prstGeom prst="line">
            <a:avLst/>
          </a:prstGeom>
          <a:ln w="3175" cap="rnd">
            <a:solidFill>
              <a:schemeClr val="bg1">
                <a:lumMod val="8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直接连接符 25">
            <a:extLst>
              <a:ext uri="{FF2B5EF4-FFF2-40B4-BE49-F238E27FC236}">
                <a16:creationId xmlns:a16="http://schemas.microsoft.com/office/drawing/2014/main" id="{175D75C4-7DA7-48A9-87A6-8928747CF2F2}"/>
              </a:ext>
            </a:extLst>
          </p:cNvPr>
          <p:cNvCxnSpPr/>
          <p:nvPr/>
        </p:nvCxnSpPr>
        <p:spPr>
          <a:xfrm>
            <a:off x="7941000" y="4653652"/>
            <a:ext cx="3579487" cy="0"/>
          </a:xfrm>
          <a:prstGeom prst="line">
            <a:avLst/>
          </a:prstGeom>
          <a:ln w="3175" cap="rnd">
            <a:solidFill>
              <a:schemeClr val="bg1">
                <a:lumMod val="8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标题 1">
            <a:extLst>
              <a:ext uri="{FF2B5EF4-FFF2-40B4-BE49-F238E27FC236}">
                <a16:creationId xmlns:a16="http://schemas.microsoft.com/office/drawing/2014/main" id="{341262DA-DC77-4D5B-AE47-87A36968E7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694CBC87-E96E-41DE-BB2B-22688557A8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58C474E0-C692-4A64-9C80-79560EA8CA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1134356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BCBE6A2-7FCE-4D0E-AA46-26AAACB3AD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D005D995-D959-4CBC-9722-BBBD241474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11F644BB-454D-4994-8EF0-63673F5C6D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/>
          </a:p>
        </p:txBody>
      </p:sp>
      <p:sp>
        <p:nvSpPr>
          <p:cNvPr id="20" name="işļïḋê">
            <a:extLst>
              <a:ext uri="{FF2B5EF4-FFF2-40B4-BE49-F238E27FC236}">
                <a16:creationId xmlns:a16="http://schemas.microsoft.com/office/drawing/2014/main" id="{94FFA257-C095-482F-AE13-F7C55530E1E2}"/>
              </a:ext>
            </a:extLst>
          </p:cNvPr>
          <p:cNvSpPr/>
          <p:nvPr/>
        </p:nvSpPr>
        <p:spPr>
          <a:xfrm>
            <a:off x="4276200" y="1720616"/>
            <a:ext cx="1483242" cy="1483242"/>
          </a:xfrm>
          <a:prstGeom prst="roundRect">
            <a:avLst>
              <a:gd name="adj" fmla="val 663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/>
          <a:p>
            <a:pPr algn="ctr"/>
            <a:r>
              <a:rPr lang="en-US" sz="4400" b="1">
                <a:solidFill>
                  <a:schemeClr val="bg1"/>
                </a:solidFill>
              </a:rPr>
              <a:t>S</a:t>
            </a:r>
          </a:p>
        </p:txBody>
      </p:sp>
      <p:sp>
        <p:nvSpPr>
          <p:cNvPr id="21" name="ïśḷïďê">
            <a:extLst>
              <a:ext uri="{FF2B5EF4-FFF2-40B4-BE49-F238E27FC236}">
                <a16:creationId xmlns:a16="http://schemas.microsoft.com/office/drawing/2014/main" id="{721D64EA-A0F2-414C-B28B-133763BDF4EF}"/>
              </a:ext>
            </a:extLst>
          </p:cNvPr>
          <p:cNvSpPr/>
          <p:nvPr/>
        </p:nvSpPr>
        <p:spPr>
          <a:xfrm>
            <a:off x="4180436" y="1624852"/>
            <a:ext cx="1674771" cy="1674771"/>
          </a:xfrm>
          <a:prstGeom prst="roundRect">
            <a:avLst>
              <a:gd name="adj" fmla="val 6631"/>
            </a:avLst>
          </a:prstGeom>
          <a:noFill/>
          <a:ln w="12700" cap="flat" cmpd="sng" algn="ctr">
            <a:solidFill>
              <a:schemeClr val="accent1">
                <a:lumMod val="100000"/>
              </a:schemeClr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/>
          </a:p>
        </p:txBody>
      </p:sp>
      <p:sp>
        <p:nvSpPr>
          <p:cNvPr id="22" name="ïṧḷiḓê">
            <a:extLst>
              <a:ext uri="{FF2B5EF4-FFF2-40B4-BE49-F238E27FC236}">
                <a16:creationId xmlns:a16="http://schemas.microsoft.com/office/drawing/2014/main" id="{7956C68D-6CB6-4BD5-A6CE-487531BA3382}"/>
              </a:ext>
            </a:extLst>
          </p:cNvPr>
          <p:cNvSpPr/>
          <p:nvPr/>
        </p:nvSpPr>
        <p:spPr>
          <a:xfrm>
            <a:off x="6432558" y="1720616"/>
            <a:ext cx="1483242" cy="1483242"/>
          </a:xfrm>
          <a:prstGeom prst="roundRect">
            <a:avLst>
              <a:gd name="adj" fmla="val 6631"/>
            </a:avLst>
          </a:prstGeom>
          <a:solidFill>
            <a:schemeClr val="accent2">
              <a:lumMod val="10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/>
          <a:p>
            <a:pPr algn="ctr"/>
            <a:r>
              <a:rPr lang="en-US" sz="4400" b="1">
                <a:solidFill>
                  <a:schemeClr val="bg1"/>
                </a:solidFill>
              </a:rPr>
              <a:t>W</a:t>
            </a:r>
          </a:p>
        </p:txBody>
      </p:sp>
      <p:sp>
        <p:nvSpPr>
          <p:cNvPr id="23" name="îšľïḍe">
            <a:extLst>
              <a:ext uri="{FF2B5EF4-FFF2-40B4-BE49-F238E27FC236}">
                <a16:creationId xmlns:a16="http://schemas.microsoft.com/office/drawing/2014/main" id="{69380255-0999-41DA-91B9-A887536191FF}"/>
              </a:ext>
            </a:extLst>
          </p:cNvPr>
          <p:cNvSpPr/>
          <p:nvPr/>
        </p:nvSpPr>
        <p:spPr>
          <a:xfrm>
            <a:off x="6336794" y="1624852"/>
            <a:ext cx="1674771" cy="1674771"/>
          </a:xfrm>
          <a:prstGeom prst="roundRect">
            <a:avLst>
              <a:gd name="adj" fmla="val 6631"/>
            </a:avLst>
          </a:prstGeom>
          <a:noFill/>
          <a:ln w="12700" cap="flat" cmpd="sng" algn="ctr">
            <a:solidFill>
              <a:schemeClr val="accent2">
                <a:lumMod val="100000"/>
              </a:schemeClr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/>
          </a:p>
        </p:txBody>
      </p:sp>
      <p:sp>
        <p:nvSpPr>
          <p:cNvPr id="24" name="îşḻiḓè">
            <a:extLst>
              <a:ext uri="{FF2B5EF4-FFF2-40B4-BE49-F238E27FC236}">
                <a16:creationId xmlns:a16="http://schemas.microsoft.com/office/drawing/2014/main" id="{84A5F1A5-74EA-452C-B01D-1B3BE81D2853}"/>
              </a:ext>
            </a:extLst>
          </p:cNvPr>
          <p:cNvSpPr/>
          <p:nvPr/>
        </p:nvSpPr>
        <p:spPr>
          <a:xfrm>
            <a:off x="4276200" y="3654141"/>
            <a:ext cx="1483242" cy="1483242"/>
          </a:xfrm>
          <a:prstGeom prst="roundRect">
            <a:avLst>
              <a:gd name="adj" fmla="val 6631"/>
            </a:avLst>
          </a:prstGeom>
          <a:solidFill>
            <a:schemeClr val="accent3">
              <a:lumMod val="10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/>
          <a:p>
            <a:pPr algn="ctr"/>
            <a:r>
              <a:rPr lang="en-US" sz="4400" b="1">
                <a:solidFill>
                  <a:schemeClr val="bg1"/>
                </a:solidFill>
              </a:rPr>
              <a:t>O</a:t>
            </a:r>
          </a:p>
        </p:txBody>
      </p:sp>
      <p:sp>
        <p:nvSpPr>
          <p:cNvPr id="25" name="ísľîḑè">
            <a:extLst>
              <a:ext uri="{FF2B5EF4-FFF2-40B4-BE49-F238E27FC236}">
                <a16:creationId xmlns:a16="http://schemas.microsoft.com/office/drawing/2014/main" id="{C1D51A87-F7C6-4E51-B182-DC0A84B472DB}"/>
              </a:ext>
            </a:extLst>
          </p:cNvPr>
          <p:cNvSpPr/>
          <p:nvPr/>
        </p:nvSpPr>
        <p:spPr>
          <a:xfrm>
            <a:off x="4180436" y="3558377"/>
            <a:ext cx="1674771" cy="1674771"/>
          </a:xfrm>
          <a:prstGeom prst="roundRect">
            <a:avLst>
              <a:gd name="adj" fmla="val 6631"/>
            </a:avLst>
          </a:prstGeom>
          <a:noFill/>
          <a:ln w="12700" cap="flat" cmpd="sng" algn="ctr">
            <a:solidFill>
              <a:schemeClr val="accent3">
                <a:lumMod val="100000"/>
              </a:schemeClr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/>
          </a:p>
        </p:txBody>
      </p:sp>
      <p:sp>
        <p:nvSpPr>
          <p:cNvPr id="26" name="îṩļíḍé">
            <a:extLst>
              <a:ext uri="{FF2B5EF4-FFF2-40B4-BE49-F238E27FC236}">
                <a16:creationId xmlns:a16="http://schemas.microsoft.com/office/drawing/2014/main" id="{8F4235EE-F1A0-4D8E-9563-A7D03A51DFFC}"/>
              </a:ext>
            </a:extLst>
          </p:cNvPr>
          <p:cNvSpPr/>
          <p:nvPr/>
        </p:nvSpPr>
        <p:spPr>
          <a:xfrm>
            <a:off x="6432558" y="3654141"/>
            <a:ext cx="1483242" cy="1483242"/>
          </a:xfrm>
          <a:prstGeom prst="roundRect">
            <a:avLst>
              <a:gd name="adj" fmla="val 6631"/>
            </a:avLst>
          </a:prstGeom>
          <a:solidFill>
            <a:schemeClr val="accent4">
              <a:lumMod val="10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/>
          <a:p>
            <a:pPr algn="ctr"/>
            <a:r>
              <a:rPr lang="en-US" sz="4400" b="1">
                <a:solidFill>
                  <a:schemeClr val="bg1"/>
                </a:solidFill>
              </a:rPr>
              <a:t>T</a:t>
            </a:r>
          </a:p>
        </p:txBody>
      </p:sp>
      <p:sp>
        <p:nvSpPr>
          <p:cNvPr id="27" name="í$ḷíḓe">
            <a:extLst>
              <a:ext uri="{FF2B5EF4-FFF2-40B4-BE49-F238E27FC236}">
                <a16:creationId xmlns:a16="http://schemas.microsoft.com/office/drawing/2014/main" id="{C84A5A38-EB17-4A70-B781-8F38D5174864}"/>
              </a:ext>
            </a:extLst>
          </p:cNvPr>
          <p:cNvSpPr/>
          <p:nvPr/>
        </p:nvSpPr>
        <p:spPr>
          <a:xfrm>
            <a:off x="6336794" y="3558377"/>
            <a:ext cx="1674771" cy="1674771"/>
          </a:xfrm>
          <a:prstGeom prst="roundRect">
            <a:avLst>
              <a:gd name="adj" fmla="val 6631"/>
            </a:avLst>
          </a:prstGeom>
          <a:noFill/>
          <a:ln w="12700" cap="flat" cmpd="sng" algn="ctr">
            <a:solidFill>
              <a:schemeClr val="accent4">
                <a:lumMod val="100000"/>
              </a:schemeClr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/>
          </a:p>
        </p:txBody>
      </p:sp>
      <p:sp>
        <p:nvSpPr>
          <p:cNvPr id="18" name="íşḷiḋe">
            <a:extLst>
              <a:ext uri="{FF2B5EF4-FFF2-40B4-BE49-F238E27FC236}">
                <a16:creationId xmlns:a16="http://schemas.microsoft.com/office/drawing/2014/main" id="{31E88F78-EE32-4E75-9910-36EF6BE987DB}"/>
              </a:ext>
            </a:extLst>
          </p:cNvPr>
          <p:cNvSpPr txBox="1"/>
          <p:nvPr/>
        </p:nvSpPr>
        <p:spPr>
          <a:xfrm>
            <a:off x="8359729" y="2021402"/>
            <a:ext cx="2897592" cy="276999"/>
          </a:xfrm>
          <a:prstGeom prst="rect">
            <a:avLst/>
          </a:prstGeom>
          <a:noFill/>
        </p:spPr>
        <p:txBody>
          <a:bodyPr wrap="none" lIns="0" tIns="0" rIns="0" bIns="0">
            <a:normAutofit/>
          </a:bodyPr>
          <a:lstStyle/>
          <a:p>
            <a:pPr algn="r"/>
            <a:r>
              <a:rPr lang="zh-CN" altLang="en-US" b="1">
                <a:solidFill>
                  <a:schemeClr val="accent2"/>
                </a:solidFill>
              </a:rPr>
              <a:t>标题文本预设</a:t>
            </a:r>
          </a:p>
        </p:txBody>
      </p:sp>
      <p:sp>
        <p:nvSpPr>
          <p:cNvPr id="19" name="íṡļíḋè">
            <a:extLst>
              <a:ext uri="{FF2B5EF4-FFF2-40B4-BE49-F238E27FC236}">
                <a16:creationId xmlns:a16="http://schemas.microsoft.com/office/drawing/2014/main" id="{616B1ABD-A007-4B04-B337-DB6E6F41EAFB}"/>
              </a:ext>
            </a:extLst>
          </p:cNvPr>
          <p:cNvSpPr/>
          <p:nvPr/>
        </p:nvSpPr>
        <p:spPr>
          <a:xfrm>
            <a:off x="8359729" y="2298400"/>
            <a:ext cx="2897592" cy="604673"/>
          </a:xfrm>
          <a:prstGeom prst="rect">
            <a:avLst/>
          </a:prstGeom>
        </p:spPr>
        <p:txBody>
          <a:bodyPr wrap="square" lIns="0" tIns="0" rIns="0" bIns="0" anchor="ctr">
            <a:normAutofit/>
          </a:bodyPr>
          <a:lstStyle/>
          <a:p>
            <a:pPr algn="r">
              <a:lnSpc>
                <a:spcPct val="120000"/>
              </a:lnSpc>
            </a:pPr>
            <a:r>
              <a:rPr lang="zh-CN" altLang="en-US" sz="1050">
                <a:solidFill>
                  <a:sysClr val="windowText" lastClr="000000"/>
                </a:solidFill>
              </a:rPr>
              <a:t>此部分内容作为文字排版占位显示 </a:t>
            </a:r>
            <a:br>
              <a:rPr lang="zh-CN" altLang="en-US" sz="1050">
                <a:solidFill>
                  <a:sysClr val="windowText" lastClr="000000"/>
                </a:solidFill>
              </a:rPr>
            </a:br>
            <a:r>
              <a:rPr lang="zh-CN" altLang="en-US" sz="1050">
                <a:solidFill>
                  <a:sysClr val="windowText" lastClr="000000"/>
                </a:solidFill>
              </a:rPr>
              <a:t>（建议使用主题字体）</a:t>
            </a:r>
          </a:p>
        </p:txBody>
      </p:sp>
      <p:sp>
        <p:nvSpPr>
          <p:cNvPr id="16" name="iŝļíḍê">
            <a:extLst>
              <a:ext uri="{FF2B5EF4-FFF2-40B4-BE49-F238E27FC236}">
                <a16:creationId xmlns:a16="http://schemas.microsoft.com/office/drawing/2014/main" id="{EA66B070-921D-46DD-A559-650C9E829F7A}"/>
              </a:ext>
            </a:extLst>
          </p:cNvPr>
          <p:cNvSpPr txBox="1"/>
          <p:nvPr/>
        </p:nvSpPr>
        <p:spPr>
          <a:xfrm>
            <a:off x="8375586" y="3954927"/>
            <a:ext cx="2915550" cy="276999"/>
          </a:xfrm>
          <a:prstGeom prst="rect">
            <a:avLst/>
          </a:prstGeom>
          <a:noFill/>
        </p:spPr>
        <p:txBody>
          <a:bodyPr wrap="none" lIns="0" tIns="0" rIns="0" bIns="0">
            <a:normAutofit/>
          </a:bodyPr>
          <a:lstStyle/>
          <a:p>
            <a:pPr algn="r"/>
            <a:r>
              <a:rPr lang="zh-CN" altLang="en-US" b="1">
                <a:solidFill>
                  <a:schemeClr val="accent4"/>
                </a:solidFill>
              </a:rPr>
              <a:t>标题文本预设</a:t>
            </a:r>
          </a:p>
        </p:txBody>
      </p:sp>
      <p:sp>
        <p:nvSpPr>
          <p:cNvPr id="17" name="í$líḍe">
            <a:extLst>
              <a:ext uri="{FF2B5EF4-FFF2-40B4-BE49-F238E27FC236}">
                <a16:creationId xmlns:a16="http://schemas.microsoft.com/office/drawing/2014/main" id="{7FE57B54-E505-47D4-AD8C-BBC7E3512194}"/>
              </a:ext>
            </a:extLst>
          </p:cNvPr>
          <p:cNvSpPr/>
          <p:nvPr/>
        </p:nvSpPr>
        <p:spPr>
          <a:xfrm>
            <a:off x="8375586" y="4231925"/>
            <a:ext cx="2915550" cy="604673"/>
          </a:xfrm>
          <a:prstGeom prst="rect">
            <a:avLst/>
          </a:prstGeom>
        </p:spPr>
        <p:txBody>
          <a:bodyPr wrap="square" lIns="0" tIns="0" rIns="0" bIns="0" anchor="ctr">
            <a:normAutofit/>
          </a:bodyPr>
          <a:lstStyle/>
          <a:p>
            <a:pPr algn="r">
              <a:lnSpc>
                <a:spcPct val="120000"/>
              </a:lnSpc>
            </a:pPr>
            <a:r>
              <a:rPr lang="zh-CN" altLang="en-US" sz="1050">
                <a:solidFill>
                  <a:sysClr val="windowText" lastClr="000000"/>
                </a:solidFill>
              </a:rPr>
              <a:t>此部分内容作为文字排版占位显示 </a:t>
            </a:r>
            <a:br>
              <a:rPr lang="zh-CN" altLang="en-US" sz="1050">
                <a:solidFill>
                  <a:sysClr val="windowText" lastClr="000000"/>
                </a:solidFill>
              </a:rPr>
            </a:br>
            <a:r>
              <a:rPr lang="zh-CN" altLang="en-US" sz="1050">
                <a:solidFill>
                  <a:sysClr val="windowText" lastClr="000000"/>
                </a:solidFill>
              </a:rPr>
              <a:t>（建议使用主题字体）</a:t>
            </a:r>
          </a:p>
        </p:txBody>
      </p:sp>
      <p:sp>
        <p:nvSpPr>
          <p:cNvPr id="14" name="ísļîḋe">
            <a:extLst>
              <a:ext uri="{FF2B5EF4-FFF2-40B4-BE49-F238E27FC236}">
                <a16:creationId xmlns:a16="http://schemas.microsoft.com/office/drawing/2014/main" id="{03AAB545-3DC1-47AB-8E8C-A4E9110E0100}"/>
              </a:ext>
            </a:extLst>
          </p:cNvPr>
          <p:cNvSpPr txBox="1"/>
          <p:nvPr/>
        </p:nvSpPr>
        <p:spPr>
          <a:xfrm>
            <a:off x="900865" y="2021402"/>
            <a:ext cx="2902014" cy="276999"/>
          </a:xfrm>
          <a:prstGeom prst="rect">
            <a:avLst/>
          </a:prstGeom>
          <a:noFill/>
        </p:spPr>
        <p:txBody>
          <a:bodyPr wrap="none" lIns="0" tIns="0" rIns="0" bIns="0">
            <a:normAutofit/>
          </a:bodyPr>
          <a:lstStyle/>
          <a:p>
            <a:r>
              <a:rPr lang="zh-CN" altLang="en-US" b="1">
                <a:solidFill>
                  <a:schemeClr val="accent1"/>
                </a:solidFill>
              </a:rPr>
              <a:t>标题文本预设</a:t>
            </a:r>
          </a:p>
        </p:txBody>
      </p:sp>
      <p:sp>
        <p:nvSpPr>
          <p:cNvPr id="15" name="íślîďé">
            <a:extLst>
              <a:ext uri="{FF2B5EF4-FFF2-40B4-BE49-F238E27FC236}">
                <a16:creationId xmlns:a16="http://schemas.microsoft.com/office/drawing/2014/main" id="{D5FAD727-8C98-4B23-90FF-DA113EB411B4}"/>
              </a:ext>
            </a:extLst>
          </p:cNvPr>
          <p:cNvSpPr/>
          <p:nvPr/>
        </p:nvSpPr>
        <p:spPr>
          <a:xfrm>
            <a:off x="900865" y="2298400"/>
            <a:ext cx="2902014" cy="604673"/>
          </a:xfrm>
          <a:prstGeom prst="rect">
            <a:avLst/>
          </a:prstGeom>
        </p:spPr>
        <p:txBody>
          <a:bodyPr wrap="square" lIns="0" tIns="0" rIns="0" bIns="0" anchor="ctr">
            <a:normAutofit/>
          </a:bodyPr>
          <a:lstStyle/>
          <a:p>
            <a:pPr>
              <a:lnSpc>
                <a:spcPct val="120000"/>
              </a:lnSpc>
            </a:pPr>
            <a:r>
              <a:rPr lang="zh-CN" altLang="en-US" sz="1050">
                <a:solidFill>
                  <a:sysClr val="windowText" lastClr="000000"/>
                </a:solidFill>
              </a:rPr>
              <a:t>此部分内容作为文字排版占位显示 </a:t>
            </a:r>
            <a:br>
              <a:rPr lang="zh-CN" altLang="en-US" sz="1050">
                <a:solidFill>
                  <a:sysClr val="windowText" lastClr="000000"/>
                </a:solidFill>
              </a:rPr>
            </a:br>
            <a:r>
              <a:rPr lang="zh-CN" altLang="en-US" sz="1050">
                <a:solidFill>
                  <a:sysClr val="windowText" lastClr="000000"/>
                </a:solidFill>
              </a:rPr>
              <a:t>（建议使用主题字体）</a:t>
            </a:r>
          </a:p>
        </p:txBody>
      </p:sp>
      <p:sp>
        <p:nvSpPr>
          <p:cNvPr id="12" name="îṡḷíḋe">
            <a:extLst>
              <a:ext uri="{FF2B5EF4-FFF2-40B4-BE49-F238E27FC236}">
                <a16:creationId xmlns:a16="http://schemas.microsoft.com/office/drawing/2014/main" id="{41C658E3-FE3F-41AD-A792-070C832ADA95}"/>
              </a:ext>
            </a:extLst>
          </p:cNvPr>
          <p:cNvSpPr txBox="1"/>
          <p:nvPr/>
        </p:nvSpPr>
        <p:spPr>
          <a:xfrm>
            <a:off x="900865" y="3954927"/>
            <a:ext cx="2855562" cy="276999"/>
          </a:xfrm>
          <a:prstGeom prst="rect">
            <a:avLst/>
          </a:prstGeom>
          <a:noFill/>
        </p:spPr>
        <p:txBody>
          <a:bodyPr wrap="none" lIns="0" tIns="0" rIns="0" bIns="0">
            <a:normAutofit/>
          </a:bodyPr>
          <a:lstStyle/>
          <a:p>
            <a:r>
              <a:rPr lang="zh-CN" altLang="en-US" b="1">
                <a:solidFill>
                  <a:schemeClr val="accent3"/>
                </a:solidFill>
              </a:rPr>
              <a:t>标题文本预设</a:t>
            </a:r>
          </a:p>
        </p:txBody>
      </p:sp>
      <p:sp>
        <p:nvSpPr>
          <p:cNvPr id="13" name="ï$líḍé">
            <a:extLst>
              <a:ext uri="{FF2B5EF4-FFF2-40B4-BE49-F238E27FC236}">
                <a16:creationId xmlns:a16="http://schemas.microsoft.com/office/drawing/2014/main" id="{9D05CD67-5B19-453D-826E-C698B1AE8BBF}"/>
              </a:ext>
            </a:extLst>
          </p:cNvPr>
          <p:cNvSpPr/>
          <p:nvPr/>
        </p:nvSpPr>
        <p:spPr>
          <a:xfrm>
            <a:off x="900865" y="4231925"/>
            <a:ext cx="2855562" cy="604673"/>
          </a:xfrm>
          <a:prstGeom prst="rect">
            <a:avLst/>
          </a:prstGeom>
        </p:spPr>
        <p:txBody>
          <a:bodyPr wrap="square" lIns="0" tIns="0" rIns="0" bIns="0" anchor="ctr">
            <a:normAutofit/>
          </a:bodyPr>
          <a:lstStyle/>
          <a:p>
            <a:pPr>
              <a:lnSpc>
                <a:spcPct val="120000"/>
              </a:lnSpc>
            </a:pPr>
            <a:r>
              <a:rPr lang="zh-CN" altLang="en-US" sz="1050">
                <a:solidFill>
                  <a:sysClr val="windowText" lastClr="000000"/>
                </a:solidFill>
              </a:rPr>
              <a:t>此部分内容作为文字排版占位显示 </a:t>
            </a:r>
            <a:br>
              <a:rPr lang="zh-CN" altLang="en-US" sz="1050">
                <a:solidFill>
                  <a:sysClr val="windowText" lastClr="000000"/>
                </a:solidFill>
              </a:rPr>
            </a:br>
            <a:r>
              <a:rPr lang="zh-CN" altLang="en-US" sz="1050">
                <a:solidFill>
                  <a:sysClr val="windowText" lastClr="000000"/>
                </a:solidFill>
              </a:rPr>
              <a:t>（建议使用主题字体）</a:t>
            </a:r>
          </a:p>
        </p:txBody>
      </p:sp>
    </p:spTree>
    <p:extLst>
      <p:ext uri="{BB962C8B-B14F-4D97-AF65-F5344CB8AC3E}">
        <p14:creationId xmlns:p14="http://schemas.microsoft.com/office/powerpoint/2010/main" val="379729155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研究思路与研究方法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 dirty="0"/>
              <a:t>Supporting text here.</a:t>
            </a:r>
          </a:p>
          <a:p>
            <a:pPr lvl="0"/>
            <a:r>
              <a:rPr lang="en-US" altLang="zh-CN" dirty="0"/>
              <a:t>When you copy &amp; paste, choose "keep text only" option.</a:t>
            </a:r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2549768" y="2031279"/>
            <a:ext cx="890213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2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623834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6F568BA-3BE7-48E0-9FEE-400D1BD316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1BB4D1AB-DD08-45FD-B546-488D895A68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813C6DD8-79AC-4D7B-BE71-B829C01780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/>
          </a:p>
        </p:txBody>
      </p:sp>
      <p:cxnSp>
        <p:nvCxnSpPr>
          <p:cNvPr id="6" name="直接连接符 5">
            <a:extLst>
              <a:ext uri="{FF2B5EF4-FFF2-40B4-BE49-F238E27FC236}">
                <a16:creationId xmlns:a16="http://schemas.microsoft.com/office/drawing/2014/main" id="{95CDC460-DB91-4D2A-83C6-10C597414513}"/>
              </a:ext>
            </a:extLst>
          </p:cNvPr>
          <p:cNvCxnSpPr>
            <a:cxnSpLocks/>
          </p:cNvCxnSpPr>
          <p:nvPr/>
        </p:nvCxnSpPr>
        <p:spPr>
          <a:xfrm>
            <a:off x="669925" y="4081501"/>
            <a:ext cx="7060697" cy="0"/>
          </a:xfrm>
          <a:prstGeom prst="line">
            <a:avLst/>
          </a:prstGeom>
          <a:ln w="9525" cap="rnd">
            <a:solidFill>
              <a:schemeClr val="tx1">
                <a:lumMod val="50000"/>
                <a:lumOff val="50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îşļîde">
            <a:extLst>
              <a:ext uri="{FF2B5EF4-FFF2-40B4-BE49-F238E27FC236}">
                <a16:creationId xmlns:a16="http://schemas.microsoft.com/office/drawing/2014/main" id="{41B92E15-C581-4207-8BC8-1DA936ABD66A}"/>
              </a:ext>
            </a:extLst>
          </p:cNvPr>
          <p:cNvSpPr/>
          <p:nvPr/>
        </p:nvSpPr>
        <p:spPr>
          <a:xfrm>
            <a:off x="5390245" y="1844824"/>
            <a:ext cx="2340377" cy="1620901"/>
          </a:xfrm>
          <a:prstGeom prst="parallelogram">
            <a:avLst/>
          </a:prstGeom>
          <a:blipFill>
            <a:blip r:embed="rId3"/>
            <a:srcRect/>
            <a:stretch>
              <a:fillRect l="-2298" t="892" r="-4760" b="-892"/>
            </a:stretch>
          </a:blip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/>
          </a:p>
        </p:txBody>
      </p:sp>
      <p:sp>
        <p:nvSpPr>
          <p:cNvPr id="39" name="ísḷîďè">
            <a:extLst>
              <a:ext uri="{FF2B5EF4-FFF2-40B4-BE49-F238E27FC236}">
                <a16:creationId xmlns:a16="http://schemas.microsoft.com/office/drawing/2014/main" id="{8B760112-0293-4D78-9141-E75AC63E0ABF}"/>
              </a:ext>
            </a:extLst>
          </p:cNvPr>
          <p:cNvSpPr/>
          <p:nvPr/>
        </p:nvSpPr>
        <p:spPr>
          <a:xfrm>
            <a:off x="5390246" y="1844824"/>
            <a:ext cx="808599" cy="1620901"/>
          </a:xfrm>
          <a:prstGeom prst="triangle">
            <a:avLst/>
          </a:prstGeom>
          <a:solidFill>
            <a:schemeClr val="accent3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anchor="ctr">
            <a:normAutofit/>
          </a:bodyPr>
          <a:lstStyle/>
          <a:p>
            <a:pPr algn="ctr"/>
            <a:r>
              <a:rPr lang="en-US" altLang="zh-CN"/>
              <a:t>03</a:t>
            </a:r>
          </a:p>
        </p:txBody>
      </p:sp>
      <p:sp>
        <p:nvSpPr>
          <p:cNvPr id="36" name="ïṣḷïḑè">
            <a:extLst>
              <a:ext uri="{FF2B5EF4-FFF2-40B4-BE49-F238E27FC236}">
                <a16:creationId xmlns:a16="http://schemas.microsoft.com/office/drawing/2014/main" id="{6E799861-00D4-467F-84AB-A674F0C9F38A}"/>
              </a:ext>
            </a:extLst>
          </p:cNvPr>
          <p:cNvSpPr/>
          <p:nvPr/>
        </p:nvSpPr>
        <p:spPr>
          <a:xfrm>
            <a:off x="3135823" y="1844824"/>
            <a:ext cx="2340377" cy="1620901"/>
          </a:xfrm>
          <a:prstGeom prst="parallelogram">
            <a:avLst/>
          </a:prstGeom>
          <a:blipFill>
            <a:blip r:embed="rId4"/>
            <a:srcRect/>
            <a:stretch>
              <a:fillRect l="-2821" t="892" r="-4237" b="-892"/>
            </a:stretch>
          </a:blip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/>
          </a:p>
        </p:txBody>
      </p:sp>
      <p:sp>
        <p:nvSpPr>
          <p:cNvPr id="37" name="íṡ1íḓè">
            <a:extLst>
              <a:ext uri="{FF2B5EF4-FFF2-40B4-BE49-F238E27FC236}">
                <a16:creationId xmlns:a16="http://schemas.microsoft.com/office/drawing/2014/main" id="{502FFB12-C26B-4D11-BD83-0684C00C80C3}"/>
              </a:ext>
            </a:extLst>
          </p:cNvPr>
          <p:cNvSpPr/>
          <p:nvPr/>
        </p:nvSpPr>
        <p:spPr>
          <a:xfrm>
            <a:off x="3135823" y="1844824"/>
            <a:ext cx="804878" cy="1620901"/>
          </a:xfrm>
          <a:prstGeom prst="triangle">
            <a:avLst/>
          </a:prstGeom>
          <a:solidFill>
            <a:schemeClr val="accent2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anchor="ctr">
            <a:normAutofit/>
          </a:bodyPr>
          <a:lstStyle/>
          <a:p>
            <a:pPr algn="ctr"/>
            <a:r>
              <a:rPr lang="en-US" altLang="zh-CN"/>
              <a:t>02</a:t>
            </a:r>
          </a:p>
        </p:txBody>
      </p:sp>
      <p:sp>
        <p:nvSpPr>
          <p:cNvPr id="34" name="iṩļiḓe">
            <a:extLst>
              <a:ext uri="{FF2B5EF4-FFF2-40B4-BE49-F238E27FC236}">
                <a16:creationId xmlns:a16="http://schemas.microsoft.com/office/drawing/2014/main" id="{FC1C0765-2C94-466F-AC92-D674BDBEF486}"/>
              </a:ext>
            </a:extLst>
          </p:cNvPr>
          <p:cNvSpPr/>
          <p:nvPr/>
        </p:nvSpPr>
        <p:spPr>
          <a:xfrm>
            <a:off x="703833" y="1844824"/>
            <a:ext cx="2340377" cy="1620901"/>
          </a:xfrm>
          <a:prstGeom prst="parallelogram">
            <a:avLst/>
          </a:prstGeom>
          <a:blipFill>
            <a:blip r:embed="rId5"/>
            <a:srcRect/>
            <a:stretch>
              <a:fillRect l="-3385" t="892" r="-3673" b="-892"/>
            </a:stretch>
          </a:blip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/>
          </a:p>
        </p:txBody>
      </p:sp>
      <p:sp>
        <p:nvSpPr>
          <p:cNvPr id="35" name="ïsľîďe">
            <a:extLst>
              <a:ext uri="{FF2B5EF4-FFF2-40B4-BE49-F238E27FC236}">
                <a16:creationId xmlns:a16="http://schemas.microsoft.com/office/drawing/2014/main" id="{E22C80F0-A0EA-4135-B2B8-BC734EE0DE21}"/>
              </a:ext>
            </a:extLst>
          </p:cNvPr>
          <p:cNvSpPr/>
          <p:nvPr/>
        </p:nvSpPr>
        <p:spPr>
          <a:xfrm>
            <a:off x="703833" y="1844824"/>
            <a:ext cx="811268" cy="1620901"/>
          </a:xfrm>
          <a:prstGeom prst="triangle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anchor="ctr">
            <a:normAutofit/>
          </a:bodyPr>
          <a:lstStyle/>
          <a:p>
            <a:pPr algn="ctr"/>
            <a:r>
              <a:rPr lang="en-US" altLang="zh-CN"/>
              <a:t>01</a:t>
            </a:r>
          </a:p>
        </p:txBody>
      </p:sp>
      <p:sp>
        <p:nvSpPr>
          <p:cNvPr id="31" name="ïṧ1iḍé">
            <a:extLst>
              <a:ext uri="{FF2B5EF4-FFF2-40B4-BE49-F238E27FC236}">
                <a16:creationId xmlns:a16="http://schemas.microsoft.com/office/drawing/2014/main" id="{03327D39-8AC1-40A2-AF2C-2D3E7B0AFDBF}"/>
              </a:ext>
            </a:extLst>
          </p:cNvPr>
          <p:cNvSpPr txBox="1"/>
          <p:nvPr/>
        </p:nvSpPr>
        <p:spPr>
          <a:xfrm>
            <a:off x="8059390" y="1995999"/>
            <a:ext cx="3501296" cy="1169551"/>
          </a:xfrm>
          <a:prstGeom prst="rect">
            <a:avLst/>
          </a:prstGeom>
          <a:noFill/>
        </p:spPr>
        <p:txBody>
          <a:bodyPr wrap="square" lIns="90000" tIns="46800" rIns="90000" bIns="46800" anchor="ctr">
            <a:normAutofit/>
          </a:bodyPr>
          <a:lstStyle/>
          <a:p>
            <a:r>
              <a:rPr lang="zh-CN" altLang="en-US" sz="2800" b="1" dirty="0"/>
              <a:t>更能够让枯燥的段落赋予变化！</a:t>
            </a:r>
          </a:p>
        </p:txBody>
      </p:sp>
      <p:sp>
        <p:nvSpPr>
          <p:cNvPr id="32" name="ï$1ïḑé">
            <a:extLst>
              <a:ext uri="{FF2B5EF4-FFF2-40B4-BE49-F238E27FC236}">
                <a16:creationId xmlns:a16="http://schemas.microsoft.com/office/drawing/2014/main" id="{525A10C5-0852-4643-AACC-708BC22591D2}"/>
              </a:ext>
            </a:extLst>
          </p:cNvPr>
          <p:cNvSpPr txBox="1"/>
          <p:nvPr/>
        </p:nvSpPr>
        <p:spPr>
          <a:xfrm>
            <a:off x="8059390" y="1719000"/>
            <a:ext cx="3501296" cy="276999"/>
          </a:xfrm>
          <a:prstGeom prst="rect">
            <a:avLst/>
          </a:prstGeom>
          <a:noFill/>
        </p:spPr>
        <p:txBody>
          <a:bodyPr wrap="square" lIns="90000" tIns="46800" rIns="90000" bIns="46800" anchor="ctr">
            <a:normAutofit/>
          </a:bodyPr>
          <a:lstStyle/>
          <a:p>
            <a:r>
              <a:rPr lang="zh-CN" altLang="en-US" sz="1100" dirty="0"/>
              <a:t>或许大小不同的文字错落的排版</a:t>
            </a:r>
          </a:p>
        </p:txBody>
      </p:sp>
      <p:sp>
        <p:nvSpPr>
          <p:cNvPr id="33" name="iŝlíḑê">
            <a:extLst>
              <a:ext uri="{FF2B5EF4-FFF2-40B4-BE49-F238E27FC236}">
                <a16:creationId xmlns:a16="http://schemas.microsoft.com/office/drawing/2014/main" id="{7FEAC90A-2EA1-4FCB-AB4C-C33A6EFF86A3}"/>
              </a:ext>
            </a:extLst>
          </p:cNvPr>
          <p:cNvSpPr txBox="1"/>
          <p:nvPr/>
        </p:nvSpPr>
        <p:spPr>
          <a:xfrm>
            <a:off x="8059390" y="3165550"/>
            <a:ext cx="3501296" cy="830997"/>
          </a:xfrm>
          <a:prstGeom prst="rect">
            <a:avLst/>
          </a:prstGeom>
          <a:noFill/>
        </p:spPr>
        <p:txBody>
          <a:bodyPr wrap="square" lIns="90000" tIns="46800" rIns="90000" bIns="46800" anchor="ctr">
            <a:normAutofit/>
          </a:bodyPr>
          <a:lstStyle/>
          <a:p>
            <a:r>
              <a:rPr lang="zh-CN" altLang="en-US" dirty="0"/>
              <a:t>主次分明的布局排版帮助</a:t>
            </a:r>
            <a:r>
              <a:rPr lang="en-US" altLang="zh-CN" dirty="0"/>
              <a:t>PPT</a:t>
            </a:r>
            <a:r>
              <a:rPr lang="zh-CN" altLang="en-US" dirty="0"/>
              <a:t>更好的传递和表达信息。</a:t>
            </a:r>
          </a:p>
        </p:txBody>
      </p:sp>
      <p:sp>
        <p:nvSpPr>
          <p:cNvPr id="29" name="ïṡliḍé">
            <a:extLst>
              <a:ext uri="{FF2B5EF4-FFF2-40B4-BE49-F238E27FC236}">
                <a16:creationId xmlns:a16="http://schemas.microsoft.com/office/drawing/2014/main" id="{9D11EF7D-CB1F-4A65-90A1-556B1A778115}"/>
              </a:ext>
            </a:extLst>
          </p:cNvPr>
          <p:cNvSpPr/>
          <p:nvPr/>
        </p:nvSpPr>
        <p:spPr>
          <a:xfrm>
            <a:off x="1536551" y="3744000"/>
            <a:ext cx="675000" cy="675005"/>
          </a:xfrm>
          <a:prstGeom prst="ellipse">
            <a:avLst/>
          </a:prstGeom>
          <a:solidFill>
            <a:schemeClr val="accent1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zh-CN" altLang="en-US" dirty="0"/>
          </a:p>
        </p:txBody>
      </p:sp>
      <p:sp>
        <p:nvSpPr>
          <p:cNvPr id="30" name="íśľîḓé">
            <a:extLst>
              <a:ext uri="{FF2B5EF4-FFF2-40B4-BE49-F238E27FC236}">
                <a16:creationId xmlns:a16="http://schemas.microsoft.com/office/drawing/2014/main" id="{69E99DC4-0A61-4AF6-A111-2891EE526862}"/>
              </a:ext>
            </a:extLst>
          </p:cNvPr>
          <p:cNvSpPr>
            <a:spLocks/>
          </p:cNvSpPr>
          <p:nvPr/>
        </p:nvSpPr>
        <p:spPr bwMode="auto">
          <a:xfrm>
            <a:off x="1701958" y="3912764"/>
            <a:ext cx="344185" cy="337474"/>
          </a:xfrm>
          <a:custGeom>
            <a:avLst/>
            <a:gdLst>
              <a:gd name="T0" fmla="*/ 1312 w 1990"/>
              <a:gd name="T1" fmla="*/ 1552 h 1954"/>
              <a:gd name="T2" fmla="*/ 291 w 1990"/>
              <a:gd name="T3" fmla="*/ 1746 h 1954"/>
              <a:gd name="T4" fmla="*/ 0 w 1990"/>
              <a:gd name="T5" fmla="*/ 540 h 1954"/>
              <a:gd name="T6" fmla="*/ 515 w 1990"/>
              <a:gd name="T7" fmla="*/ 249 h 1954"/>
              <a:gd name="T8" fmla="*/ 1205 w 1990"/>
              <a:gd name="T9" fmla="*/ 0 h 1954"/>
              <a:gd name="T10" fmla="*/ 1496 w 1990"/>
              <a:gd name="T11" fmla="*/ 489 h 1954"/>
              <a:gd name="T12" fmla="*/ 1413 w 1990"/>
              <a:gd name="T13" fmla="*/ 291 h 1954"/>
              <a:gd name="T14" fmla="*/ 802 w 1990"/>
              <a:gd name="T15" fmla="*/ 83 h 1954"/>
              <a:gd name="T16" fmla="*/ 1039 w 1990"/>
              <a:gd name="T17" fmla="*/ 249 h 1954"/>
              <a:gd name="T18" fmla="*/ 1243 w 1990"/>
              <a:gd name="T19" fmla="*/ 499 h 1954"/>
              <a:gd name="T20" fmla="*/ 291 w 1990"/>
              <a:gd name="T21" fmla="*/ 333 h 1954"/>
              <a:gd name="T22" fmla="*/ 83 w 1990"/>
              <a:gd name="T23" fmla="*/ 1455 h 1954"/>
              <a:gd name="T24" fmla="*/ 1039 w 1990"/>
              <a:gd name="T25" fmla="*/ 1663 h 1954"/>
              <a:gd name="T26" fmla="*/ 1641 w 1990"/>
              <a:gd name="T27" fmla="*/ 1453 h 1954"/>
              <a:gd name="T28" fmla="*/ 1138 w 1990"/>
              <a:gd name="T29" fmla="*/ 583 h 1954"/>
              <a:gd name="T30" fmla="*/ 1641 w 1990"/>
              <a:gd name="T31" fmla="*/ 1453 h 1954"/>
              <a:gd name="T32" fmla="*/ 1752 w 1990"/>
              <a:gd name="T33" fmla="*/ 809 h 1954"/>
              <a:gd name="T34" fmla="*/ 1026 w 1990"/>
              <a:gd name="T35" fmla="*/ 1228 h 1954"/>
              <a:gd name="T36" fmla="*/ 1767 w 1990"/>
              <a:gd name="T37" fmla="*/ 1422 h 1954"/>
              <a:gd name="T38" fmla="*/ 1717 w 1990"/>
              <a:gd name="T39" fmla="*/ 1835 h 1954"/>
              <a:gd name="T40" fmla="*/ 1767 w 1990"/>
              <a:gd name="T41" fmla="*/ 1422 h 1954"/>
              <a:gd name="T42" fmla="*/ 1739 w 1990"/>
              <a:gd name="T43" fmla="*/ 1874 h 1954"/>
              <a:gd name="T44" fmla="*/ 1956 w 1990"/>
              <a:gd name="T45" fmla="*/ 1749 h 1954"/>
              <a:gd name="T46" fmla="*/ 249 w 1990"/>
              <a:gd name="T47" fmla="*/ 551 h 1954"/>
              <a:gd name="T48" fmla="*/ 803 w 1990"/>
              <a:gd name="T49" fmla="*/ 613 h 1954"/>
              <a:gd name="T50" fmla="*/ 675 w 1990"/>
              <a:gd name="T51" fmla="*/ 828 h 1954"/>
              <a:gd name="T52" fmla="*/ 249 w 1990"/>
              <a:gd name="T53" fmla="*/ 890 h 1954"/>
              <a:gd name="T54" fmla="*/ 675 w 1990"/>
              <a:gd name="T55" fmla="*/ 828 h 1954"/>
              <a:gd name="T56" fmla="*/ 675 w 1990"/>
              <a:gd name="T57" fmla="*/ 1167 h 1954"/>
              <a:gd name="T58" fmla="*/ 249 w 1990"/>
              <a:gd name="T59" fmla="*/ 1105 h 1954"/>
              <a:gd name="T60" fmla="*/ 249 w 1990"/>
              <a:gd name="T61" fmla="*/ 1444 h 1954"/>
              <a:gd name="T62" fmla="*/ 803 w 1990"/>
              <a:gd name="T63" fmla="*/ 1382 h 1954"/>
              <a:gd name="T64" fmla="*/ 249 w 1990"/>
              <a:gd name="T65" fmla="*/ 1444 h 1954"/>
              <a:gd name="T66" fmla="*/ 1179 w 1990"/>
              <a:gd name="T67" fmla="*/ 961 h 1954"/>
              <a:gd name="T68" fmla="*/ 1300 w 1990"/>
              <a:gd name="T69" fmla="*/ 1219 h 1954"/>
              <a:gd name="T70" fmla="*/ 1604 w 1990"/>
              <a:gd name="T71" fmla="*/ 858 h 19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1990" h="1954">
                <a:moveTo>
                  <a:pt x="1231" y="1534"/>
                </a:moveTo>
                <a:cubicBezTo>
                  <a:pt x="1258" y="1542"/>
                  <a:pt x="1285" y="1548"/>
                  <a:pt x="1312" y="1552"/>
                </a:cubicBezTo>
                <a:cubicBezTo>
                  <a:pt x="1272" y="1665"/>
                  <a:pt x="1165" y="1746"/>
                  <a:pt x="1039" y="1746"/>
                </a:cubicBezTo>
                <a:lnTo>
                  <a:pt x="291" y="1746"/>
                </a:lnTo>
                <a:cubicBezTo>
                  <a:pt x="131" y="1746"/>
                  <a:pt x="0" y="1615"/>
                  <a:pt x="0" y="1455"/>
                </a:cubicBezTo>
                <a:lnTo>
                  <a:pt x="0" y="540"/>
                </a:lnTo>
                <a:cubicBezTo>
                  <a:pt x="0" y="380"/>
                  <a:pt x="131" y="249"/>
                  <a:pt x="291" y="249"/>
                </a:cubicBezTo>
                <a:lnTo>
                  <a:pt x="515" y="249"/>
                </a:lnTo>
                <a:cubicBezTo>
                  <a:pt x="535" y="109"/>
                  <a:pt x="656" y="0"/>
                  <a:pt x="802" y="0"/>
                </a:cubicBezTo>
                <a:lnTo>
                  <a:pt x="1205" y="0"/>
                </a:lnTo>
                <a:cubicBezTo>
                  <a:pt x="1366" y="0"/>
                  <a:pt x="1496" y="131"/>
                  <a:pt x="1496" y="291"/>
                </a:cubicBezTo>
                <a:lnTo>
                  <a:pt x="1496" y="489"/>
                </a:lnTo>
                <a:cubicBezTo>
                  <a:pt x="1469" y="484"/>
                  <a:pt x="1441" y="480"/>
                  <a:pt x="1413" y="479"/>
                </a:cubicBezTo>
                <a:lnTo>
                  <a:pt x="1413" y="291"/>
                </a:lnTo>
                <a:cubicBezTo>
                  <a:pt x="1413" y="176"/>
                  <a:pt x="1320" y="83"/>
                  <a:pt x="1205" y="83"/>
                </a:cubicBezTo>
                <a:lnTo>
                  <a:pt x="802" y="83"/>
                </a:lnTo>
                <a:cubicBezTo>
                  <a:pt x="701" y="83"/>
                  <a:pt x="617" y="155"/>
                  <a:pt x="598" y="249"/>
                </a:cubicBezTo>
                <a:lnTo>
                  <a:pt x="1039" y="249"/>
                </a:lnTo>
                <a:cubicBezTo>
                  <a:pt x="1180" y="249"/>
                  <a:pt x="1297" y="349"/>
                  <a:pt x="1324" y="482"/>
                </a:cubicBezTo>
                <a:cubicBezTo>
                  <a:pt x="1297" y="485"/>
                  <a:pt x="1270" y="491"/>
                  <a:pt x="1243" y="499"/>
                </a:cubicBezTo>
                <a:cubicBezTo>
                  <a:pt x="1224" y="404"/>
                  <a:pt x="1140" y="333"/>
                  <a:pt x="1039" y="333"/>
                </a:cubicBezTo>
                <a:lnTo>
                  <a:pt x="291" y="333"/>
                </a:lnTo>
                <a:cubicBezTo>
                  <a:pt x="177" y="333"/>
                  <a:pt x="83" y="426"/>
                  <a:pt x="83" y="540"/>
                </a:cubicBezTo>
                <a:lnTo>
                  <a:pt x="83" y="1455"/>
                </a:lnTo>
                <a:cubicBezTo>
                  <a:pt x="83" y="1569"/>
                  <a:pt x="177" y="1663"/>
                  <a:pt x="291" y="1663"/>
                </a:cubicBezTo>
                <a:lnTo>
                  <a:pt x="1039" y="1663"/>
                </a:lnTo>
                <a:cubicBezTo>
                  <a:pt x="1126" y="1663"/>
                  <a:pt x="1200" y="1609"/>
                  <a:pt x="1231" y="1534"/>
                </a:cubicBezTo>
                <a:close/>
                <a:moveTo>
                  <a:pt x="1641" y="1453"/>
                </a:moveTo>
                <a:cubicBezTo>
                  <a:pt x="1401" y="1591"/>
                  <a:pt x="1093" y="1509"/>
                  <a:pt x="955" y="1269"/>
                </a:cubicBezTo>
                <a:cubicBezTo>
                  <a:pt x="816" y="1029"/>
                  <a:pt x="899" y="722"/>
                  <a:pt x="1138" y="583"/>
                </a:cubicBezTo>
                <a:cubicBezTo>
                  <a:pt x="1378" y="445"/>
                  <a:pt x="1686" y="527"/>
                  <a:pt x="1824" y="767"/>
                </a:cubicBezTo>
                <a:cubicBezTo>
                  <a:pt x="1963" y="1007"/>
                  <a:pt x="1880" y="1314"/>
                  <a:pt x="1641" y="1453"/>
                </a:cubicBezTo>
                <a:close/>
                <a:moveTo>
                  <a:pt x="1599" y="1381"/>
                </a:moveTo>
                <a:cubicBezTo>
                  <a:pt x="1799" y="1266"/>
                  <a:pt x="1868" y="1009"/>
                  <a:pt x="1752" y="809"/>
                </a:cubicBezTo>
                <a:cubicBezTo>
                  <a:pt x="1637" y="608"/>
                  <a:pt x="1380" y="539"/>
                  <a:pt x="1180" y="655"/>
                </a:cubicBezTo>
                <a:cubicBezTo>
                  <a:pt x="980" y="771"/>
                  <a:pt x="911" y="1027"/>
                  <a:pt x="1026" y="1228"/>
                </a:cubicBezTo>
                <a:cubicBezTo>
                  <a:pt x="1142" y="1428"/>
                  <a:pt x="1399" y="1497"/>
                  <a:pt x="1599" y="1381"/>
                </a:cubicBezTo>
                <a:close/>
                <a:moveTo>
                  <a:pt x="1767" y="1422"/>
                </a:moveTo>
                <a:lnTo>
                  <a:pt x="1551" y="1547"/>
                </a:lnTo>
                <a:lnTo>
                  <a:pt x="1717" y="1835"/>
                </a:lnTo>
                <a:lnTo>
                  <a:pt x="1933" y="1710"/>
                </a:lnTo>
                <a:lnTo>
                  <a:pt x="1767" y="1422"/>
                </a:lnTo>
                <a:close/>
                <a:moveTo>
                  <a:pt x="1956" y="1749"/>
                </a:moveTo>
                <a:lnTo>
                  <a:pt x="1739" y="1874"/>
                </a:lnTo>
                <a:cubicBezTo>
                  <a:pt x="1774" y="1934"/>
                  <a:pt x="1850" y="1954"/>
                  <a:pt x="1910" y="1919"/>
                </a:cubicBezTo>
                <a:cubicBezTo>
                  <a:pt x="1969" y="1885"/>
                  <a:pt x="1990" y="1809"/>
                  <a:pt x="1956" y="1749"/>
                </a:cubicBezTo>
                <a:close/>
                <a:moveTo>
                  <a:pt x="803" y="551"/>
                </a:moveTo>
                <a:lnTo>
                  <a:pt x="249" y="551"/>
                </a:lnTo>
                <a:lnTo>
                  <a:pt x="249" y="613"/>
                </a:lnTo>
                <a:lnTo>
                  <a:pt x="803" y="613"/>
                </a:lnTo>
                <a:lnTo>
                  <a:pt x="803" y="551"/>
                </a:lnTo>
                <a:close/>
                <a:moveTo>
                  <a:pt x="675" y="828"/>
                </a:moveTo>
                <a:lnTo>
                  <a:pt x="249" y="828"/>
                </a:lnTo>
                <a:lnTo>
                  <a:pt x="249" y="890"/>
                </a:lnTo>
                <a:lnTo>
                  <a:pt x="675" y="890"/>
                </a:lnTo>
                <a:lnTo>
                  <a:pt x="675" y="828"/>
                </a:lnTo>
                <a:close/>
                <a:moveTo>
                  <a:pt x="249" y="1167"/>
                </a:moveTo>
                <a:lnTo>
                  <a:pt x="675" y="1167"/>
                </a:lnTo>
                <a:lnTo>
                  <a:pt x="675" y="1105"/>
                </a:lnTo>
                <a:lnTo>
                  <a:pt x="249" y="1105"/>
                </a:lnTo>
                <a:lnTo>
                  <a:pt x="249" y="1167"/>
                </a:lnTo>
                <a:close/>
                <a:moveTo>
                  <a:pt x="249" y="1444"/>
                </a:moveTo>
                <a:lnTo>
                  <a:pt x="803" y="1444"/>
                </a:lnTo>
                <a:lnTo>
                  <a:pt x="803" y="1382"/>
                </a:lnTo>
                <a:lnTo>
                  <a:pt x="249" y="1382"/>
                </a:lnTo>
                <a:lnTo>
                  <a:pt x="249" y="1444"/>
                </a:lnTo>
                <a:close/>
                <a:moveTo>
                  <a:pt x="1308" y="1105"/>
                </a:moveTo>
                <a:lnTo>
                  <a:pt x="1179" y="961"/>
                </a:lnTo>
                <a:lnTo>
                  <a:pt x="1118" y="1017"/>
                </a:lnTo>
                <a:lnTo>
                  <a:pt x="1300" y="1219"/>
                </a:lnTo>
                <a:lnTo>
                  <a:pt x="1657" y="922"/>
                </a:lnTo>
                <a:lnTo>
                  <a:pt x="1604" y="858"/>
                </a:lnTo>
                <a:lnTo>
                  <a:pt x="1308" y="110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82832" tIns="91416" rIns="182832" bIns="91416" numCol="1" anchor="t" anchorCtr="0" compatLnSpc="1">
            <a:prstTxWarp prst="textNoShape">
              <a:avLst/>
            </a:prstTxWarp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 sz="7198" dirty="0"/>
          </a:p>
        </p:txBody>
      </p:sp>
      <p:sp>
        <p:nvSpPr>
          <p:cNvPr id="27" name="ïṡḷîďê">
            <a:extLst>
              <a:ext uri="{FF2B5EF4-FFF2-40B4-BE49-F238E27FC236}">
                <a16:creationId xmlns:a16="http://schemas.microsoft.com/office/drawing/2014/main" id="{2556FBE4-4382-412A-8316-9A0984FEEB39}"/>
              </a:ext>
            </a:extLst>
          </p:cNvPr>
          <p:cNvSpPr/>
          <p:nvPr/>
        </p:nvSpPr>
        <p:spPr>
          <a:xfrm>
            <a:off x="3968511" y="3744000"/>
            <a:ext cx="675000" cy="675005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zh-CN" altLang="en-US" dirty="0"/>
          </a:p>
        </p:txBody>
      </p:sp>
      <p:sp>
        <p:nvSpPr>
          <p:cNvPr id="28" name="íṡḻíḑé">
            <a:extLst>
              <a:ext uri="{FF2B5EF4-FFF2-40B4-BE49-F238E27FC236}">
                <a16:creationId xmlns:a16="http://schemas.microsoft.com/office/drawing/2014/main" id="{A0145AE0-549D-405E-B919-783AC2066F13}"/>
              </a:ext>
            </a:extLst>
          </p:cNvPr>
          <p:cNvSpPr>
            <a:spLocks/>
          </p:cNvSpPr>
          <p:nvPr/>
        </p:nvSpPr>
        <p:spPr bwMode="auto">
          <a:xfrm>
            <a:off x="4133918" y="3912764"/>
            <a:ext cx="344185" cy="337474"/>
          </a:xfrm>
          <a:custGeom>
            <a:avLst/>
            <a:gdLst>
              <a:gd name="T0" fmla="*/ 1312 w 1990"/>
              <a:gd name="T1" fmla="*/ 1552 h 1954"/>
              <a:gd name="T2" fmla="*/ 291 w 1990"/>
              <a:gd name="T3" fmla="*/ 1746 h 1954"/>
              <a:gd name="T4" fmla="*/ 0 w 1990"/>
              <a:gd name="T5" fmla="*/ 540 h 1954"/>
              <a:gd name="T6" fmla="*/ 515 w 1990"/>
              <a:gd name="T7" fmla="*/ 249 h 1954"/>
              <a:gd name="T8" fmla="*/ 1205 w 1990"/>
              <a:gd name="T9" fmla="*/ 0 h 1954"/>
              <a:gd name="T10" fmla="*/ 1496 w 1990"/>
              <a:gd name="T11" fmla="*/ 489 h 1954"/>
              <a:gd name="T12" fmla="*/ 1413 w 1990"/>
              <a:gd name="T13" fmla="*/ 291 h 1954"/>
              <a:gd name="T14" fmla="*/ 802 w 1990"/>
              <a:gd name="T15" fmla="*/ 83 h 1954"/>
              <a:gd name="T16" fmla="*/ 1039 w 1990"/>
              <a:gd name="T17" fmla="*/ 249 h 1954"/>
              <a:gd name="T18" fmla="*/ 1243 w 1990"/>
              <a:gd name="T19" fmla="*/ 499 h 1954"/>
              <a:gd name="T20" fmla="*/ 291 w 1990"/>
              <a:gd name="T21" fmla="*/ 333 h 1954"/>
              <a:gd name="T22" fmla="*/ 83 w 1990"/>
              <a:gd name="T23" fmla="*/ 1455 h 1954"/>
              <a:gd name="T24" fmla="*/ 1039 w 1990"/>
              <a:gd name="T25" fmla="*/ 1663 h 1954"/>
              <a:gd name="T26" fmla="*/ 1641 w 1990"/>
              <a:gd name="T27" fmla="*/ 1453 h 1954"/>
              <a:gd name="T28" fmla="*/ 1138 w 1990"/>
              <a:gd name="T29" fmla="*/ 583 h 1954"/>
              <a:gd name="T30" fmla="*/ 1641 w 1990"/>
              <a:gd name="T31" fmla="*/ 1453 h 1954"/>
              <a:gd name="T32" fmla="*/ 1752 w 1990"/>
              <a:gd name="T33" fmla="*/ 809 h 1954"/>
              <a:gd name="T34" fmla="*/ 1026 w 1990"/>
              <a:gd name="T35" fmla="*/ 1228 h 1954"/>
              <a:gd name="T36" fmla="*/ 1767 w 1990"/>
              <a:gd name="T37" fmla="*/ 1422 h 1954"/>
              <a:gd name="T38" fmla="*/ 1717 w 1990"/>
              <a:gd name="T39" fmla="*/ 1835 h 1954"/>
              <a:gd name="T40" fmla="*/ 1767 w 1990"/>
              <a:gd name="T41" fmla="*/ 1422 h 1954"/>
              <a:gd name="T42" fmla="*/ 1739 w 1990"/>
              <a:gd name="T43" fmla="*/ 1874 h 1954"/>
              <a:gd name="T44" fmla="*/ 1956 w 1990"/>
              <a:gd name="T45" fmla="*/ 1749 h 1954"/>
              <a:gd name="T46" fmla="*/ 249 w 1990"/>
              <a:gd name="T47" fmla="*/ 551 h 1954"/>
              <a:gd name="T48" fmla="*/ 803 w 1990"/>
              <a:gd name="T49" fmla="*/ 613 h 1954"/>
              <a:gd name="T50" fmla="*/ 675 w 1990"/>
              <a:gd name="T51" fmla="*/ 828 h 1954"/>
              <a:gd name="T52" fmla="*/ 249 w 1990"/>
              <a:gd name="T53" fmla="*/ 890 h 1954"/>
              <a:gd name="T54" fmla="*/ 675 w 1990"/>
              <a:gd name="T55" fmla="*/ 828 h 1954"/>
              <a:gd name="T56" fmla="*/ 675 w 1990"/>
              <a:gd name="T57" fmla="*/ 1167 h 1954"/>
              <a:gd name="T58" fmla="*/ 249 w 1990"/>
              <a:gd name="T59" fmla="*/ 1105 h 1954"/>
              <a:gd name="T60" fmla="*/ 249 w 1990"/>
              <a:gd name="T61" fmla="*/ 1444 h 1954"/>
              <a:gd name="T62" fmla="*/ 803 w 1990"/>
              <a:gd name="T63" fmla="*/ 1382 h 1954"/>
              <a:gd name="T64" fmla="*/ 249 w 1990"/>
              <a:gd name="T65" fmla="*/ 1444 h 1954"/>
              <a:gd name="T66" fmla="*/ 1179 w 1990"/>
              <a:gd name="T67" fmla="*/ 961 h 1954"/>
              <a:gd name="T68" fmla="*/ 1300 w 1990"/>
              <a:gd name="T69" fmla="*/ 1219 h 1954"/>
              <a:gd name="T70" fmla="*/ 1604 w 1990"/>
              <a:gd name="T71" fmla="*/ 858 h 19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1990" h="1954">
                <a:moveTo>
                  <a:pt x="1231" y="1534"/>
                </a:moveTo>
                <a:cubicBezTo>
                  <a:pt x="1258" y="1542"/>
                  <a:pt x="1285" y="1548"/>
                  <a:pt x="1312" y="1552"/>
                </a:cubicBezTo>
                <a:cubicBezTo>
                  <a:pt x="1272" y="1665"/>
                  <a:pt x="1165" y="1746"/>
                  <a:pt x="1039" y="1746"/>
                </a:cubicBezTo>
                <a:lnTo>
                  <a:pt x="291" y="1746"/>
                </a:lnTo>
                <a:cubicBezTo>
                  <a:pt x="131" y="1746"/>
                  <a:pt x="0" y="1615"/>
                  <a:pt x="0" y="1455"/>
                </a:cubicBezTo>
                <a:lnTo>
                  <a:pt x="0" y="540"/>
                </a:lnTo>
                <a:cubicBezTo>
                  <a:pt x="0" y="380"/>
                  <a:pt x="131" y="249"/>
                  <a:pt x="291" y="249"/>
                </a:cubicBezTo>
                <a:lnTo>
                  <a:pt x="515" y="249"/>
                </a:lnTo>
                <a:cubicBezTo>
                  <a:pt x="535" y="109"/>
                  <a:pt x="656" y="0"/>
                  <a:pt x="802" y="0"/>
                </a:cubicBezTo>
                <a:lnTo>
                  <a:pt x="1205" y="0"/>
                </a:lnTo>
                <a:cubicBezTo>
                  <a:pt x="1366" y="0"/>
                  <a:pt x="1496" y="131"/>
                  <a:pt x="1496" y="291"/>
                </a:cubicBezTo>
                <a:lnTo>
                  <a:pt x="1496" y="489"/>
                </a:lnTo>
                <a:cubicBezTo>
                  <a:pt x="1469" y="484"/>
                  <a:pt x="1441" y="480"/>
                  <a:pt x="1413" y="479"/>
                </a:cubicBezTo>
                <a:lnTo>
                  <a:pt x="1413" y="291"/>
                </a:lnTo>
                <a:cubicBezTo>
                  <a:pt x="1413" y="176"/>
                  <a:pt x="1320" y="83"/>
                  <a:pt x="1205" y="83"/>
                </a:cubicBezTo>
                <a:lnTo>
                  <a:pt x="802" y="83"/>
                </a:lnTo>
                <a:cubicBezTo>
                  <a:pt x="701" y="83"/>
                  <a:pt x="617" y="155"/>
                  <a:pt x="598" y="249"/>
                </a:cubicBezTo>
                <a:lnTo>
                  <a:pt x="1039" y="249"/>
                </a:lnTo>
                <a:cubicBezTo>
                  <a:pt x="1180" y="249"/>
                  <a:pt x="1297" y="349"/>
                  <a:pt x="1324" y="482"/>
                </a:cubicBezTo>
                <a:cubicBezTo>
                  <a:pt x="1297" y="485"/>
                  <a:pt x="1270" y="491"/>
                  <a:pt x="1243" y="499"/>
                </a:cubicBezTo>
                <a:cubicBezTo>
                  <a:pt x="1224" y="404"/>
                  <a:pt x="1140" y="333"/>
                  <a:pt x="1039" y="333"/>
                </a:cubicBezTo>
                <a:lnTo>
                  <a:pt x="291" y="333"/>
                </a:lnTo>
                <a:cubicBezTo>
                  <a:pt x="177" y="333"/>
                  <a:pt x="83" y="426"/>
                  <a:pt x="83" y="540"/>
                </a:cubicBezTo>
                <a:lnTo>
                  <a:pt x="83" y="1455"/>
                </a:lnTo>
                <a:cubicBezTo>
                  <a:pt x="83" y="1569"/>
                  <a:pt x="177" y="1663"/>
                  <a:pt x="291" y="1663"/>
                </a:cubicBezTo>
                <a:lnTo>
                  <a:pt x="1039" y="1663"/>
                </a:lnTo>
                <a:cubicBezTo>
                  <a:pt x="1126" y="1663"/>
                  <a:pt x="1200" y="1609"/>
                  <a:pt x="1231" y="1534"/>
                </a:cubicBezTo>
                <a:close/>
                <a:moveTo>
                  <a:pt x="1641" y="1453"/>
                </a:moveTo>
                <a:cubicBezTo>
                  <a:pt x="1401" y="1591"/>
                  <a:pt x="1093" y="1509"/>
                  <a:pt x="955" y="1269"/>
                </a:cubicBezTo>
                <a:cubicBezTo>
                  <a:pt x="816" y="1029"/>
                  <a:pt x="899" y="722"/>
                  <a:pt x="1138" y="583"/>
                </a:cubicBezTo>
                <a:cubicBezTo>
                  <a:pt x="1378" y="445"/>
                  <a:pt x="1686" y="527"/>
                  <a:pt x="1824" y="767"/>
                </a:cubicBezTo>
                <a:cubicBezTo>
                  <a:pt x="1963" y="1007"/>
                  <a:pt x="1880" y="1314"/>
                  <a:pt x="1641" y="1453"/>
                </a:cubicBezTo>
                <a:close/>
                <a:moveTo>
                  <a:pt x="1599" y="1381"/>
                </a:moveTo>
                <a:cubicBezTo>
                  <a:pt x="1799" y="1266"/>
                  <a:pt x="1868" y="1009"/>
                  <a:pt x="1752" y="809"/>
                </a:cubicBezTo>
                <a:cubicBezTo>
                  <a:pt x="1637" y="608"/>
                  <a:pt x="1380" y="539"/>
                  <a:pt x="1180" y="655"/>
                </a:cubicBezTo>
                <a:cubicBezTo>
                  <a:pt x="980" y="771"/>
                  <a:pt x="911" y="1027"/>
                  <a:pt x="1026" y="1228"/>
                </a:cubicBezTo>
                <a:cubicBezTo>
                  <a:pt x="1142" y="1428"/>
                  <a:pt x="1399" y="1497"/>
                  <a:pt x="1599" y="1381"/>
                </a:cubicBezTo>
                <a:close/>
                <a:moveTo>
                  <a:pt x="1767" y="1422"/>
                </a:moveTo>
                <a:lnTo>
                  <a:pt x="1551" y="1547"/>
                </a:lnTo>
                <a:lnTo>
                  <a:pt x="1717" y="1835"/>
                </a:lnTo>
                <a:lnTo>
                  <a:pt x="1933" y="1710"/>
                </a:lnTo>
                <a:lnTo>
                  <a:pt x="1767" y="1422"/>
                </a:lnTo>
                <a:close/>
                <a:moveTo>
                  <a:pt x="1956" y="1749"/>
                </a:moveTo>
                <a:lnTo>
                  <a:pt x="1739" y="1874"/>
                </a:lnTo>
                <a:cubicBezTo>
                  <a:pt x="1774" y="1934"/>
                  <a:pt x="1850" y="1954"/>
                  <a:pt x="1910" y="1919"/>
                </a:cubicBezTo>
                <a:cubicBezTo>
                  <a:pt x="1969" y="1885"/>
                  <a:pt x="1990" y="1809"/>
                  <a:pt x="1956" y="1749"/>
                </a:cubicBezTo>
                <a:close/>
                <a:moveTo>
                  <a:pt x="803" y="551"/>
                </a:moveTo>
                <a:lnTo>
                  <a:pt x="249" y="551"/>
                </a:lnTo>
                <a:lnTo>
                  <a:pt x="249" y="613"/>
                </a:lnTo>
                <a:lnTo>
                  <a:pt x="803" y="613"/>
                </a:lnTo>
                <a:lnTo>
                  <a:pt x="803" y="551"/>
                </a:lnTo>
                <a:close/>
                <a:moveTo>
                  <a:pt x="675" y="828"/>
                </a:moveTo>
                <a:lnTo>
                  <a:pt x="249" y="828"/>
                </a:lnTo>
                <a:lnTo>
                  <a:pt x="249" y="890"/>
                </a:lnTo>
                <a:lnTo>
                  <a:pt x="675" y="890"/>
                </a:lnTo>
                <a:lnTo>
                  <a:pt x="675" y="828"/>
                </a:lnTo>
                <a:close/>
                <a:moveTo>
                  <a:pt x="249" y="1167"/>
                </a:moveTo>
                <a:lnTo>
                  <a:pt x="675" y="1167"/>
                </a:lnTo>
                <a:lnTo>
                  <a:pt x="675" y="1105"/>
                </a:lnTo>
                <a:lnTo>
                  <a:pt x="249" y="1105"/>
                </a:lnTo>
                <a:lnTo>
                  <a:pt x="249" y="1167"/>
                </a:lnTo>
                <a:close/>
                <a:moveTo>
                  <a:pt x="249" y="1444"/>
                </a:moveTo>
                <a:lnTo>
                  <a:pt x="803" y="1444"/>
                </a:lnTo>
                <a:lnTo>
                  <a:pt x="803" y="1382"/>
                </a:lnTo>
                <a:lnTo>
                  <a:pt x="249" y="1382"/>
                </a:lnTo>
                <a:lnTo>
                  <a:pt x="249" y="1444"/>
                </a:lnTo>
                <a:close/>
                <a:moveTo>
                  <a:pt x="1308" y="1105"/>
                </a:moveTo>
                <a:lnTo>
                  <a:pt x="1179" y="961"/>
                </a:lnTo>
                <a:lnTo>
                  <a:pt x="1118" y="1017"/>
                </a:lnTo>
                <a:lnTo>
                  <a:pt x="1300" y="1219"/>
                </a:lnTo>
                <a:lnTo>
                  <a:pt x="1657" y="922"/>
                </a:lnTo>
                <a:lnTo>
                  <a:pt x="1604" y="858"/>
                </a:lnTo>
                <a:lnTo>
                  <a:pt x="1308" y="110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82832" tIns="91416" rIns="182832" bIns="91416" numCol="1" anchor="t" anchorCtr="0" compatLnSpc="1">
            <a:prstTxWarp prst="textNoShape">
              <a:avLst/>
            </a:prstTxWarp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 sz="7198" dirty="0"/>
          </a:p>
        </p:txBody>
      </p:sp>
      <p:sp>
        <p:nvSpPr>
          <p:cNvPr id="25" name="íśḻïdê">
            <a:extLst>
              <a:ext uri="{FF2B5EF4-FFF2-40B4-BE49-F238E27FC236}">
                <a16:creationId xmlns:a16="http://schemas.microsoft.com/office/drawing/2014/main" id="{B0A5B98C-CA17-472F-84E0-1F4A6A980ED9}"/>
              </a:ext>
            </a:extLst>
          </p:cNvPr>
          <p:cNvSpPr/>
          <p:nvPr/>
        </p:nvSpPr>
        <p:spPr>
          <a:xfrm>
            <a:off x="6222933" y="3744000"/>
            <a:ext cx="675000" cy="675005"/>
          </a:xfrm>
          <a:prstGeom prst="ellipse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zh-CN" altLang="en-US" dirty="0"/>
          </a:p>
        </p:txBody>
      </p:sp>
      <p:sp>
        <p:nvSpPr>
          <p:cNvPr id="26" name="ïṥļîḓé">
            <a:extLst>
              <a:ext uri="{FF2B5EF4-FFF2-40B4-BE49-F238E27FC236}">
                <a16:creationId xmlns:a16="http://schemas.microsoft.com/office/drawing/2014/main" id="{0311A41E-88D5-4996-9101-8ADDAE368891}"/>
              </a:ext>
            </a:extLst>
          </p:cNvPr>
          <p:cNvSpPr>
            <a:spLocks/>
          </p:cNvSpPr>
          <p:nvPr/>
        </p:nvSpPr>
        <p:spPr bwMode="auto">
          <a:xfrm>
            <a:off x="6388340" y="3912764"/>
            <a:ext cx="344185" cy="337474"/>
          </a:xfrm>
          <a:custGeom>
            <a:avLst/>
            <a:gdLst>
              <a:gd name="T0" fmla="*/ 1312 w 1990"/>
              <a:gd name="T1" fmla="*/ 1552 h 1954"/>
              <a:gd name="T2" fmla="*/ 291 w 1990"/>
              <a:gd name="T3" fmla="*/ 1746 h 1954"/>
              <a:gd name="T4" fmla="*/ 0 w 1990"/>
              <a:gd name="T5" fmla="*/ 540 h 1954"/>
              <a:gd name="T6" fmla="*/ 515 w 1990"/>
              <a:gd name="T7" fmla="*/ 249 h 1954"/>
              <a:gd name="T8" fmla="*/ 1205 w 1990"/>
              <a:gd name="T9" fmla="*/ 0 h 1954"/>
              <a:gd name="T10" fmla="*/ 1496 w 1990"/>
              <a:gd name="T11" fmla="*/ 489 h 1954"/>
              <a:gd name="T12" fmla="*/ 1413 w 1990"/>
              <a:gd name="T13" fmla="*/ 291 h 1954"/>
              <a:gd name="T14" fmla="*/ 802 w 1990"/>
              <a:gd name="T15" fmla="*/ 83 h 1954"/>
              <a:gd name="T16" fmla="*/ 1039 w 1990"/>
              <a:gd name="T17" fmla="*/ 249 h 1954"/>
              <a:gd name="T18" fmla="*/ 1243 w 1990"/>
              <a:gd name="T19" fmla="*/ 499 h 1954"/>
              <a:gd name="T20" fmla="*/ 291 w 1990"/>
              <a:gd name="T21" fmla="*/ 333 h 1954"/>
              <a:gd name="T22" fmla="*/ 83 w 1990"/>
              <a:gd name="T23" fmla="*/ 1455 h 1954"/>
              <a:gd name="T24" fmla="*/ 1039 w 1990"/>
              <a:gd name="T25" fmla="*/ 1663 h 1954"/>
              <a:gd name="T26" fmla="*/ 1641 w 1990"/>
              <a:gd name="T27" fmla="*/ 1453 h 1954"/>
              <a:gd name="T28" fmla="*/ 1138 w 1990"/>
              <a:gd name="T29" fmla="*/ 583 h 1954"/>
              <a:gd name="T30" fmla="*/ 1641 w 1990"/>
              <a:gd name="T31" fmla="*/ 1453 h 1954"/>
              <a:gd name="T32" fmla="*/ 1752 w 1990"/>
              <a:gd name="T33" fmla="*/ 809 h 1954"/>
              <a:gd name="T34" fmla="*/ 1026 w 1990"/>
              <a:gd name="T35" fmla="*/ 1228 h 1954"/>
              <a:gd name="T36" fmla="*/ 1767 w 1990"/>
              <a:gd name="T37" fmla="*/ 1422 h 1954"/>
              <a:gd name="T38" fmla="*/ 1717 w 1990"/>
              <a:gd name="T39" fmla="*/ 1835 h 1954"/>
              <a:gd name="T40" fmla="*/ 1767 w 1990"/>
              <a:gd name="T41" fmla="*/ 1422 h 1954"/>
              <a:gd name="T42" fmla="*/ 1739 w 1990"/>
              <a:gd name="T43" fmla="*/ 1874 h 1954"/>
              <a:gd name="T44" fmla="*/ 1956 w 1990"/>
              <a:gd name="T45" fmla="*/ 1749 h 1954"/>
              <a:gd name="T46" fmla="*/ 249 w 1990"/>
              <a:gd name="T47" fmla="*/ 551 h 1954"/>
              <a:gd name="T48" fmla="*/ 803 w 1990"/>
              <a:gd name="T49" fmla="*/ 613 h 1954"/>
              <a:gd name="T50" fmla="*/ 675 w 1990"/>
              <a:gd name="T51" fmla="*/ 828 h 1954"/>
              <a:gd name="T52" fmla="*/ 249 w 1990"/>
              <a:gd name="T53" fmla="*/ 890 h 1954"/>
              <a:gd name="T54" fmla="*/ 675 w 1990"/>
              <a:gd name="T55" fmla="*/ 828 h 1954"/>
              <a:gd name="T56" fmla="*/ 675 w 1990"/>
              <a:gd name="T57" fmla="*/ 1167 h 1954"/>
              <a:gd name="T58" fmla="*/ 249 w 1990"/>
              <a:gd name="T59" fmla="*/ 1105 h 1954"/>
              <a:gd name="T60" fmla="*/ 249 w 1990"/>
              <a:gd name="T61" fmla="*/ 1444 h 1954"/>
              <a:gd name="T62" fmla="*/ 803 w 1990"/>
              <a:gd name="T63" fmla="*/ 1382 h 1954"/>
              <a:gd name="T64" fmla="*/ 249 w 1990"/>
              <a:gd name="T65" fmla="*/ 1444 h 1954"/>
              <a:gd name="T66" fmla="*/ 1179 w 1990"/>
              <a:gd name="T67" fmla="*/ 961 h 1954"/>
              <a:gd name="T68" fmla="*/ 1300 w 1990"/>
              <a:gd name="T69" fmla="*/ 1219 h 1954"/>
              <a:gd name="T70" fmla="*/ 1604 w 1990"/>
              <a:gd name="T71" fmla="*/ 858 h 19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1990" h="1954">
                <a:moveTo>
                  <a:pt x="1231" y="1534"/>
                </a:moveTo>
                <a:cubicBezTo>
                  <a:pt x="1258" y="1542"/>
                  <a:pt x="1285" y="1548"/>
                  <a:pt x="1312" y="1552"/>
                </a:cubicBezTo>
                <a:cubicBezTo>
                  <a:pt x="1272" y="1665"/>
                  <a:pt x="1165" y="1746"/>
                  <a:pt x="1039" y="1746"/>
                </a:cubicBezTo>
                <a:lnTo>
                  <a:pt x="291" y="1746"/>
                </a:lnTo>
                <a:cubicBezTo>
                  <a:pt x="131" y="1746"/>
                  <a:pt x="0" y="1615"/>
                  <a:pt x="0" y="1455"/>
                </a:cubicBezTo>
                <a:lnTo>
                  <a:pt x="0" y="540"/>
                </a:lnTo>
                <a:cubicBezTo>
                  <a:pt x="0" y="380"/>
                  <a:pt x="131" y="249"/>
                  <a:pt x="291" y="249"/>
                </a:cubicBezTo>
                <a:lnTo>
                  <a:pt x="515" y="249"/>
                </a:lnTo>
                <a:cubicBezTo>
                  <a:pt x="535" y="109"/>
                  <a:pt x="656" y="0"/>
                  <a:pt x="802" y="0"/>
                </a:cubicBezTo>
                <a:lnTo>
                  <a:pt x="1205" y="0"/>
                </a:lnTo>
                <a:cubicBezTo>
                  <a:pt x="1366" y="0"/>
                  <a:pt x="1496" y="131"/>
                  <a:pt x="1496" y="291"/>
                </a:cubicBezTo>
                <a:lnTo>
                  <a:pt x="1496" y="489"/>
                </a:lnTo>
                <a:cubicBezTo>
                  <a:pt x="1469" y="484"/>
                  <a:pt x="1441" y="480"/>
                  <a:pt x="1413" y="479"/>
                </a:cubicBezTo>
                <a:lnTo>
                  <a:pt x="1413" y="291"/>
                </a:lnTo>
                <a:cubicBezTo>
                  <a:pt x="1413" y="176"/>
                  <a:pt x="1320" y="83"/>
                  <a:pt x="1205" y="83"/>
                </a:cubicBezTo>
                <a:lnTo>
                  <a:pt x="802" y="83"/>
                </a:lnTo>
                <a:cubicBezTo>
                  <a:pt x="701" y="83"/>
                  <a:pt x="617" y="155"/>
                  <a:pt x="598" y="249"/>
                </a:cubicBezTo>
                <a:lnTo>
                  <a:pt x="1039" y="249"/>
                </a:lnTo>
                <a:cubicBezTo>
                  <a:pt x="1180" y="249"/>
                  <a:pt x="1297" y="349"/>
                  <a:pt x="1324" y="482"/>
                </a:cubicBezTo>
                <a:cubicBezTo>
                  <a:pt x="1297" y="485"/>
                  <a:pt x="1270" y="491"/>
                  <a:pt x="1243" y="499"/>
                </a:cubicBezTo>
                <a:cubicBezTo>
                  <a:pt x="1224" y="404"/>
                  <a:pt x="1140" y="333"/>
                  <a:pt x="1039" y="333"/>
                </a:cubicBezTo>
                <a:lnTo>
                  <a:pt x="291" y="333"/>
                </a:lnTo>
                <a:cubicBezTo>
                  <a:pt x="177" y="333"/>
                  <a:pt x="83" y="426"/>
                  <a:pt x="83" y="540"/>
                </a:cubicBezTo>
                <a:lnTo>
                  <a:pt x="83" y="1455"/>
                </a:lnTo>
                <a:cubicBezTo>
                  <a:pt x="83" y="1569"/>
                  <a:pt x="177" y="1663"/>
                  <a:pt x="291" y="1663"/>
                </a:cubicBezTo>
                <a:lnTo>
                  <a:pt x="1039" y="1663"/>
                </a:lnTo>
                <a:cubicBezTo>
                  <a:pt x="1126" y="1663"/>
                  <a:pt x="1200" y="1609"/>
                  <a:pt x="1231" y="1534"/>
                </a:cubicBezTo>
                <a:close/>
                <a:moveTo>
                  <a:pt x="1641" y="1453"/>
                </a:moveTo>
                <a:cubicBezTo>
                  <a:pt x="1401" y="1591"/>
                  <a:pt x="1093" y="1509"/>
                  <a:pt x="955" y="1269"/>
                </a:cubicBezTo>
                <a:cubicBezTo>
                  <a:pt x="816" y="1029"/>
                  <a:pt x="899" y="722"/>
                  <a:pt x="1138" y="583"/>
                </a:cubicBezTo>
                <a:cubicBezTo>
                  <a:pt x="1378" y="445"/>
                  <a:pt x="1686" y="527"/>
                  <a:pt x="1824" y="767"/>
                </a:cubicBezTo>
                <a:cubicBezTo>
                  <a:pt x="1963" y="1007"/>
                  <a:pt x="1880" y="1314"/>
                  <a:pt x="1641" y="1453"/>
                </a:cubicBezTo>
                <a:close/>
                <a:moveTo>
                  <a:pt x="1599" y="1381"/>
                </a:moveTo>
                <a:cubicBezTo>
                  <a:pt x="1799" y="1266"/>
                  <a:pt x="1868" y="1009"/>
                  <a:pt x="1752" y="809"/>
                </a:cubicBezTo>
                <a:cubicBezTo>
                  <a:pt x="1637" y="608"/>
                  <a:pt x="1380" y="539"/>
                  <a:pt x="1180" y="655"/>
                </a:cubicBezTo>
                <a:cubicBezTo>
                  <a:pt x="980" y="771"/>
                  <a:pt x="911" y="1027"/>
                  <a:pt x="1026" y="1228"/>
                </a:cubicBezTo>
                <a:cubicBezTo>
                  <a:pt x="1142" y="1428"/>
                  <a:pt x="1399" y="1497"/>
                  <a:pt x="1599" y="1381"/>
                </a:cubicBezTo>
                <a:close/>
                <a:moveTo>
                  <a:pt x="1767" y="1422"/>
                </a:moveTo>
                <a:lnTo>
                  <a:pt x="1551" y="1547"/>
                </a:lnTo>
                <a:lnTo>
                  <a:pt x="1717" y="1835"/>
                </a:lnTo>
                <a:lnTo>
                  <a:pt x="1933" y="1710"/>
                </a:lnTo>
                <a:lnTo>
                  <a:pt x="1767" y="1422"/>
                </a:lnTo>
                <a:close/>
                <a:moveTo>
                  <a:pt x="1956" y="1749"/>
                </a:moveTo>
                <a:lnTo>
                  <a:pt x="1739" y="1874"/>
                </a:lnTo>
                <a:cubicBezTo>
                  <a:pt x="1774" y="1934"/>
                  <a:pt x="1850" y="1954"/>
                  <a:pt x="1910" y="1919"/>
                </a:cubicBezTo>
                <a:cubicBezTo>
                  <a:pt x="1969" y="1885"/>
                  <a:pt x="1990" y="1809"/>
                  <a:pt x="1956" y="1749"/>
                </a:cubicBezTo>
                <a:close/>
                <a:moveTo>
                  <a:pt x="803" y="551"/>
                </a:moveTo>
                <a:lnTo>
                  <a:pt x="249" y="551"/>
                </a:lnTo>
                <a:lnTo>
                  <a:pt x="249" y="613"/>
                </a:lnTo>
                <a:lnTo>
                  <a:pt x="803" y="613"/>
                </a:lnTo>
                <a:lnTo>
                  <a:pt x="803" y="551"/>
                </a:lnTo>
                <a:close/>
                <a:moveTo>
                  <a:pt x="675" y="828"/>
                </a:moveTo>
                <a:lnTo>
                  <a:pt x="249" y="828"/>
                </a:lnTo>
                <a:lnTo>
                  <a:pt x="249" y="890"/>
                </a:lnTo>
                <a:lnTo>
                  <a:pt x="675" y="890"/>
                </a:lnTo>
                <a:lnTo>
                  <a:pt x="675" y="828"/>
                </a:lnTo>
                <a:close/>
                <a:moveTo>
                  <a:pt x="249" y="1167"/>
                </a:moveTo>
                <a:lnTo>
                  <a:pt x="675" y="1167"/>
                </a:lnTo>
                <a:lnTo>
                  <a:pt x="675" y="1105"/>
                </a:lnTo>
                <a:lnTo>
                  <a:pt x="249" y="1105"/>
                </a:lnTo>
                <a:lnTo>
                  <a:pt x="249" y="1167"/>
                </a:lnTo>
                <a:close/>
                <a:moveTo>
                  <a:pt x="249" y="1444"/>
                </a:moveTo>
                <a:lnTo>
                  <a:pt x="803" y="1444"/>
                </a:lnTo>
                <a:lnTo>
                  <a:pt x="803" y="1382"/>
                </a:lnTo>
                <a:lnTo>
                  <a:pt x="249" y="1382"/>
                </a:lnTo>
                <a:lnTo>
                  <a:pt x="249" y="1444"/>
                </a:lnTo>
                <a:close/>
                <a:moveTo>
                  <a:pt x="1308" y="1105"/>
                </a:moveTo>
                <a:lnTo>
                  <a:pt x="1179" y="961"/>
                </a:lnTo>
                <a:lnTo>
                  <a:pt x="1118" y="1017"/>
                </a:lnTo>
                <a:lnTo>
                  <a:pt x="1300" y="1219"/>
                </a:lnTo>
                <a:lnTo>
                  <a:pt x="1657" y="922"/>
                </a:lnTo>
                <a:lnTo>
                  <a:pt x="1604" y="858"/>
                </a:lnTo>
                <a:lnTo>
                  <a:pt x="1308" y="110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82832" tIns="91416" rIns="182832" bIns="91416" numCol="1" anchor="t" anchorCtr="0" compatLnSpc="1">
            <a:prstTxWarp prst="textNoShape">
              <a:avLst/>
            </a:prstTxWarp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 sz="7198" dirty="0"/>
          </a:p>
        </p:txBody>
      </p:sp>
      <p:sp>
        <p:nvSpPr>
          <p:cNvPr id="23" name="ïṣlíḑe">
            <a:extLst>
              <a:ext uri="{FF2B5EF4-FFF2-40B4-BE49-F238E27FC236}">
                <a16:creationId xmlns:a16="http://schemas.microsoft.com/office/drawing/2014/main" id="{829B2D0A-1D7E-41C4-B87B-23B984B46960}"/>
              </a:ext>
            </a:extLst>
          </p:cNvPr>
          <p:cNvSpPr/>
          <p:nvPr/>
        </p:nvSpPr>
        <p:spPr>
          <a:xfrm>
            <a:off x="748283" y="4598989"/>
            <a:ext cx="2251474" cy="430240"/>
          </a:xfrm>
          <a:prstGeom prst="rect">
            <a:avLst/>
          </a:prstGeom>
        </p:spPr>
        <p:txBody>
          <a:bodyPr wrap="square" lIns="90000" tIns="46800" rIns="90000" bIns="46800">
            <a:normAutofit/>
          </a:bodyPr>
          <a:lstStyle/>
          <a:p>
            <a:pPr algn="ctr">
              <a:spcBef>
                <a:spcPts val="375"/>
              </a:spcBef>
              <a:defRPr/>
            </a:pPr>
            <a:r>
              <a:rPr lang="zh-CN" altLang="en-US" sz="1600" b="1" kern="100" dirty="0">
                <a:solidFill>
                  <a:schemeClr val="accent1"/>
                </a:solidFill>
              </a:rPr>
              <a:t>标题文本预设</a:t>
            </a:r>
            <a:endParaRPr lang="zh-CN" altLang="zh-CN" sz="1600" b="1" kern="100" dirty="0">
              <a:solidFill>
                <a:schemeClr val="accent1"/>
              </a:solidFill>
            </a:endParaRPr>
          </a:p>
        </p:txBody>
      </p:sp>
      <p:sp>
        <p:nvSpPr>
          <p:cNvPr id="24" name="iśľídè">
            <a:extLst>
              <a:ext uri="{FF2B5EF4-FFF2-40B4-BE49-F238E27FC236}">
                <a16:creationId xmlns:a16="http://schemas.microsoft.com/office/drawing/2014/main" id="{ABC314A7-1D42-4C2F-BC2D-B3686EE1B200}"/>
              </a:ext>
            </a:extLst>
          </p:cNvPr>
          <p:cNvSpPr>
            <a:spLocks/>
          </p:cNvSpPr>
          <p:nvPr/>
        </p:nvSpPr>
        <p:spPr bwMode="auto">
          <a:xfrm>
            <a:off x="748284" y="5029228"/>
            <a:ext cx="2251474" cy="11143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rIns="9000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 eaLnBrk="1" hangingPunct="1">
              <a:lnSpc>
                <a:spcPct val="17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9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此部分内容作为文字排版占位显示（建议使用主题字体）</a:t>
            </a:r>
            <a:endParaRPr lang="en-US" altLang="zh-CN" sz="9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171450" indent="-171450">
              <a:lnSpc>
                <a:spcPct val="17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9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此部分内容作为文字排版占位显示（建议使用主题字体）</a:t>
            </a:r>
            <a:endParaRPr lang="en-US" altLang="zh-CN" sz="9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21" name="ïṡḷíde">
            <a:extLst>
              <a:ext uri="{FF2B5EF4-FFF2-40B4-BE49-F238E27FC236}">
                <a16:creationId xmlns:a16="http://schemas.microsoft.com/office/drawing/2014/main" id="{1896CEC6-2668-49AB-9AEB-C97FBC698128}"/>
              </a:ext>
            </a:extLst>
          </p:cNvPr>
          <p:cNvSpPr/>
          <p:nvPr/>
        </p:nvSpPr>
        <p:spPr>
          <a:xfrm>
            <a:off x="3180272" y="4598989"/>
            <a:ext cx="2251474" cy="430240"/>
          </a:xfrm>
          <a:prstGeom prst="rect">
            <a:avLst/>
          </a:prstGeom>
        </p:spPr>
        <p:txBody>
          <a:bodyPr wrap="square" lIns="90000" tIns="46800" rIns="90000" bIns="46800">
            <a:normAutofit/>
          </a:bodyPr>
          <a:lstStyle/>
          <a:p>
            <a:pPr algn="ctr">
              <a:spcBef>
                <a:spcPts val="375"/>
              </a:spcBef>
              <a:defRPr/>
            </a:pPr>
            <a:r>
              <a:rPr lang="zh-CN" altLang="en-US" sz="1600" b="1" kern="100" dirty="0">
                <a:solidFill>
                  <a:schemeClr val="accent2"/>
                </a:solidFill>
              </a:rPr>
              <a:t>标题文本预设</a:t>
            </a:r>
            <a:endParaRPr lang="zh-CN" altLang="zh-CN" sz="1600" b="1" kern="100" dirty="0">
              <a:solidFill>
                <a:schemeClr val="accent2"/>
              </a:solidFill>
            </a:endParaRPr>
          </a:p>
        </p:txBody>
      </p:sp>
      <p:sp>
        <p:nvSpPr>
          <p:cNvPr id="22" name="ïṡḻîḓe">
            <a:extLst>
              <a:ext uri="{FF2B5EF4-FFF2-40B4-BE49-F238E27FC236}">
                <a16:creationId xmlns:a16="http://schemas.microsoft.com/office/drawing/2014/main" id="{E52D2D20-6EF2-40C0-8E91-9514775F3D75}"/>
              </a:ext>
            </a:extLst>
          </p:cNvPr>
          <p:cNvSpPr>
            <a:spLocks/>
          </p:cNvSpPr>
          <p:nvPr/>
        </p:nvSpPr>
        <p:spPr bwMode="auto">
          <a:xfrm>
            <a:off x="3180273" y="5029228"/>
            <a:ext cx="2251474" cy="11143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rIns="9000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 eaLnBrk="1" hangingPunct="1">
              <a:lnSpc>
                <a:spcPct val="17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9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此部分内容作为文字排版占位显示（建议使用主题字体）</a:t>
            </a:r>
            <a:endParaRPr lang="en-US" altLang="zh-CN" sz="9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171450" indent="-171450">
              <a:lnSpc>
                <a:spcPct val="17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9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此部分内容作为文字排版占位显示（建议使用主题字体）</a:t>
            </a:r>
            <a:endParaRPr lang="en-US" altLang="zh-CN" sz="9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9" name="ïṣlíḑe">
            <a:extLst>
              <a:ext uri="{FF2B5EF4-FFF2-40B4-BE49-F238E27FC236}">
                <a16:creationId xmlns:a16="http://schemas.microsoft.com/office/drawing/2014/main" id="{824314F6-0F2D-454C-AA72-3C2B059E2183}"/>
              </a:ext>
            </a:extLst>
          </p:cNvPr>
          <p:cNvSpPr/>
          <p:nvPr/>
        </p:nvSpPr>
        <p:spPr>
          <a:xfrm>
            <a:off x="5434694" y="4598989"/>
            <a:ext cx="2251474" cy="430240"/>
          </a:xfrm>
          <a:prstGeom prst="rect">
            <a:avLst/>
          </a:prstGeom>
        </p:spPr>
        <p:txBody>
          <a:bodyPr wrap="square" lIns="90000" tIns="46800" rIns="90000" bIns="46800">
            <a:normAutofit/>
          </a:bodyPr>
          <a:lstStyle/>
          <a:p>
            <a:pPr algn="ctr">
              <a:spcBef>
                <a:spcPts val="375"/>
              </a:spcBef>
              <a:defRPr/>
            </a:pPr>
            <a:r>
              <a:rPr lang="zh-CN" altLang="en-US" sz="1600" b="1" kern="100" dirty="0">
                <a:solidFill>
                  <a:schemeClr val="accent3"/>
                </a:solidFill>
              </a:rPr>
              <a:t>标题文本预设</a:t>
            </a:r>
            <a:endParaRPr lang="zh-CN" altLang="zh-CN" sz="1600" b="1" kern="100" dirty="0">
              <a:solidFill>
                <a:schemeClr val="accent3"/>
              </a:solidFill>
            </a:endParaRPr>
          </a:p>
        </p:txBody>
      </p:sp>
      <p:sp>
        <p:nvSpPr>
          <p:cNvPr id="20" name="iśļiďè">
            <a:extLst>
              <a:ext uri="{FF2B5EF4-FFF2-40B4-BE49-F238E27FC236}">
                <a16:creationId xmlns:a16="http://schemas.microsoft.com/office/drawing/2014/main" id="{FBF78D0F-AE9E-48E0-9B67-CE7782B6FA5A}"/>
              </a:ext>
            </a:extLst>
          </p:cNvPr>
          <p:cNvSpPr>
            <a:spLocks/>
          </p:cNvSpPr>
          <p:nvPr/>
        </p:nvSpPr>
        <p:spPr bwMode="auto">
          <a:xfrm>
            <a:off x="5434695" y="5029228"/>
            <a:ext cx="2251474" cy="11143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rIns="9000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 eaLnBrk="1" hangingPunct="1">
              <a:lnSpc>
                <a:spcPct val="17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9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此部分内容作为文字排版占位显示（建议使用主题字体）</a:t>
            </a:r>
            <a:endParaRPr lang="en-US" altLang="zh-CN" sz="9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171450" indent="-171450">
              <a:lnSpc>
                <a:spcPct val="17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9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此部分内容作为文字排版占位显示（建议使用主题字体）</a:t>
            </a:r>
            <a:endParaRPr lang="en-US" altLang="zh-CN" sz="9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cxnSp>
        <p:nvCxnSpPr>
          <p:cNvPr id="17" name="直接连接符 16">
            <a:extLst>
              <a:ext uri="{FF2B5EF4-FFF2-40B4-BE49-F238E27FC236}">
                <a16:creationId xmlns:a16="http://schemas.microsoft.com/office/drawing/2014/main" id="{C29A67E5-367E-45BB-9FBC-3C3E69B5195B}"/>
              </a:ext>
            </a:extLst>
          </p:cNvPr>
          <p:cNvCxnSpPr/>
          <p:nvPr/>
        </p:nvCxnSpPr>
        <p:spPr>
          <a:xfrm>
            <a:off x="2999757" y="5029228"/>
            <a:ext cx="0" cy="1114397"/>
          </a:xfrm>
          <a:prstGeom prst="line">
            <a:avLst/>
          </a:prstGeom>
          <a:ln w="3175" cap="rnd">
            <a:solidFill>
              <a:schemeClr val="bg1">
                <a:lumMod val="8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直接连接符 17">
            <a:extLst>
              <a:ext uri="{FF2B5EF4-FFF2-40B4-BE49-F238E27FC236}">
                <a16:creationId xmlns:a16="http://schemas.microsoft.com/office/drawing/2014/main" id="{CD7B7D67-CD72-4BF0-BB64-4E998A2F9608}"/>
              </a:ext>
            </a:extLst>
          </p:cNvPr>
          <p:cNvCxnSpPr/>
          <p:nvPr/>
        </p:nvCxnSpPr>
        <p:spPr>
          <a:xfrm>
            <a:off x="5314332" y="5029228"/>
            <a:ext cx="0" cy="1114397"/>
          </a:xfrm>
          <a:prstGeom prst="line">
            <a:avLst/>
          </a:prstGeom>
          <a:ln w="3175" cap="rnd">
            <a:solidFill>
              <a:schemeClr val="bg1">
                <a:lumMod val="8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0947321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ED8589B-9F27-43D4-A358-BDD078A787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5FC47F98-EEE6-450C-A930-E6D6280E6B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5404DD15-23F8-442A-984A-3C9F827661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/>
          </a:p>
        </p:txBody>
      </p:sp>
      <p:sp>
        <p:nvSpPr>
          <p:cNvPr id="6" name="îṧļíďe">
            <a:extLst>
              <a:ext uri="{FF2B5EF4-FFF2-40B4-BE49-F238E27FC236}">
                <a16:creationId xmlns:a16="http://schemas.microsoft.com/office/drawing/2014/main" id="{9B1E1199-82B8-403D-B230-66C52D091D65}"/>
              </a:ext>
            </a:extLst>
          </p:cNvPr>
          <p:cNvSpPr>
            <a:spLocks/>
          </p:cNvSpPr>
          <p:nvPr/>
        </p:nvSpPr>
        <p:spPr bwMode="auto">
          <a:xfrm>
            <a:off x="10169547" y="3130445"/>
            <a:ext cx="183192" cy="1122052"/>
          </a:xfrm>
          <a:custGeom>
            <a:avLst/>
            <a:gdLst>
              <a:gd name="T0" fmla="*/ 0 w 132"/>
              <a:gd name="T1" fmla="*/ 0 h 808"/>
              <a:gd name="T2" fmla="*/ 0 w 132"/>
              <a:gd name="T3" fmla="*/ 788 h 808"/>
              <a:gd name="T4" fmla="*/ 20 w 132"/>
              <a:gd name="T5" fmla="*/ 808 h 808"/>
              <a:gd name="T6" fmla="*/ 132 w 132"/>
              <a:gd name="T7" fmla="*/ 808 h 8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32" h="808">
                <a:moveTo>
                  <a:pt x="0" y="0"/>
                </a:moveTo>
                <a:cubicBezTo>
                  <a:pt x="0" y="788"/>
                  <a:pt x="0" y="788"/>
                  <a:pt x="0" y="788"/>
                </a:cubicBezTo>
                <a:cubicBezTo>
                  <a:pt x="0" y="799"/>
                  <a:pt x="9" y="808"/>
                  <a:pt x="20" y="808"/>
                </a:cubicBezTo>
                <a:cubicBezTo>
                  <a:pt x="132" y="808"/>
                  <a:pt x="132" y="808"/>
                  <a:pt x="132" y="808"/>
                </a:cubicBezTo>
              </a:path>
            </a:pathLst>
          </a:custGeom>
          <a:noFill/>
          <a:ln w="60325" cap="flat">
            <a:solidFill>
              <a:schemeClr val="tx2">
                <a:lumMod val="60000"/>
                <a:lumOff val="40000"/>
              </a:schemeClr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7" name="išḷíďè">
            <a:extLst>
              <a:ext uri="{FF2B5EF4-FFF2-40B4-BE49-F238E27FC236}">
                <a16:creationId xmlns:a16="http://schemas.microsoft.com/office/drawing/2014/main" id="{2A96D75A-4E60-4C2B-A51B-B14BEBB565E0}"/>
              </a:ext>
            </a:extLst>
          </p:cNvPr>
          <p:cNvSpPr>
            <a:spLocks/>
          </p:cNvSpPr>
          <p:nvPr/>
        </p:nvSpPr>
        <p:spPr bwMode="auto">
          <a:xfrm>
            <a:off x="9666943" y="3130444"/>
            <a:ext cx="0" cy="1266492"/>
          </a:xfrm>
          <a:prstGeom prst="line">
            <a:avLst/>
          </a:prstGeom>
          <a:noFill/>
          <a:ln w="60325" cap="flat">
            <a:solidFill>
              <a:schemeClr val="tx2">
                <a:lumMod val="60000"/>
                <a:lumOff val="40000"/>
              </a:schemeClr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GB">
              <a:solidFill>
                <a:srgbClr val="7E7E7E"/>
              </a:solidFill>
            </a:endParaRPr>
          </a:p>
        </p:txBody>
      </p:sp>
      <p:sp>
        <p:nvSpPr>
          <p:cNvPr id="8" name="iSļïḋè">
            <a:extLst>
              <a:ext uri="{FF2B5EF4-FFF2-40B4-BE49-F238E27FC236}">
                <a16:creationId xmlns:a16="http://schemas.microsoft.com/office/drawing/2014/main" id="{1EC43560-891A-4C58-ADCE-808934626098}"/>
              </a:ext>
            </a:extLst>
          </p:cNvPr>
          <p:cNvSpPr>
            <a:spLocks/>
          </p:cNvSpPr>
          <p:nvPr/>
        </p:nvSpPr>
        <p:spPr bwMode="auto">
          <a:xfrm>
            <a:off x="9068633" y="3130444"/>
            <a:ext cx="0" cy="1462014"/>
          </a:xfrm>
          <a:prstGeom prst="line">
            <a:avLst/>
          </a:prstGeom>
          <a:noFill/>
          <a:ln w="60325" cap="flat">
            <a:solidFill>
              <a:schemeClr val="tx2">
                <a:lumMod val="60000"/>
                <a:lumOff val="40000"/>
              </a:schemeClr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GB">
              <a:solidFill>
                <a:srgbClr val="7E7E7E"/>
              </a:solidFill>
            </a:endParaRPr>
          </a:p>
        </p:txBody>
      </p:sp>
      <p:sp>
        <p:nvSpPr>
          <p:cNvPr id="47" name="íśḷïḑé">
            <a:extLst>
              <a:ext uri="{FF2B5EF4-FFF2-40B4-BE49-F238E27FC236}">
                <a16:creationId xmlns:a16="http://schemas.microsoft.com/office/drawing/2014/main" id="{5F02DE5F-4C46-4947-9095-31ECF91296D7}"/>
              </a:ext>
            </a:extLst>
          </p:cNvPr>
          <p:cNvSpPr>
            <a:spLocks/>
          </p:cNvSpPr>
          <p:nvPr/>
        </p:nvSpPr>
        <p:spPr bwMode="auto">
          <a:xfrm>
            <a:off x="7624822" y="1359000"/>
            <a:ext cx="3801238" cy="2239407"/>
          </a:xfrm>
          <a:custGeom>
            <a:avLst/>
            <a:gdLst>
              <a:gd name="T0" fmla="*/ 2456 w 2738"/>
              <a:gd name="T1" fmla="*/ 830 h 1613"/>
              <a:gd name="T2" fmla="*/ 2348 w 2738"/>
              <a:gd name="T3" fmla="*/ 851 h 1613"/>
              <a:gd name="T4" fmla="*/ 2348 w 2738"/>
              <a:gd name="T5" fmla="*/ 850 h 1613"/>
              <a:gd name="T6" fmla="*/ 2025 w 2738"/>
              <a:gd name="T7" fmla="*/ 528 h 1613"/>
              <a:gd name="T8" fmla="*/ 1910 w 2738"/>
              <a:gd name="T9" fmla="*/ 549 h 1613"/>
              <a:gd name="T10" fmla="*/ 1812 w 2738"/>
              <a:gd name="T11" fmla="*/ 480 h 1613"/>
              <a:gd name="T12" fmla="*/ 1814 w 2738"/>
              <a:gd name="T13" fmla="*/ 435 h 1613"/>
              <a:gd name="T14" fmla="*/ 1379 w 2738"/>
              <a:gd name="T15" fmla="*/ 0 h 1613"/>
              <a:gd name="T16" fmla="*/ 1015 w 2738"/>
              <a:gd name="T17" fmla="*/ 196 h 1613"/>
              <a:gd name="T18" fmla="*/ 917 w 2738"/>
              <a:gd name="T19" fmla="*/ 162 h 1613"/>
              <a:gd name="T20" fmla="*/ 759 w 2738"/>
              <a:gd name="T21" fmla="*/ 320 h 1613"/>
              <a:gd name="T22" fmla="*/ 763 w 2738"/>
              <a:gd name="T23" fmla="*/ 356 h 1613"/>
              <a:gd name="T24" fmla="*/ 511 w 2738"/>
              <a:gd name="T25" fmla="*/ 621 h 1613"/>
              <a:gd name="T26" fmla="*/ 469 w 2738"/>
              <a:gd name="T27" fmla="*/ 616 h 1613"/>
              <a:gd name="T28" fmla="*/ 294 w 2738"/>
              <a:gd name="T29" fmla="*/ 791 h 1613"/>
              <a:gd name="T30" fmla="*/ 298 w 2738"/>
              <a:gd name="T31" fmla="*/ 830 h 1613"/>
              <a:gd name="T32" fmla="*/ 0 w 2738"/>
              <a:gd name="T33" fmla="*/ 1139 h 1613"/>
              <a:gd name="T34" fmla="*/ 309 w 2738"/>
              <a:gd name="T35" fmla="*/ 1449 h 1613"/>
              <a:gd name="T36" fmla="*/ 426 w 2738"/>
              <a:gd name="T37" fmla="*/ 1426 h 1613"/>
              <a:gd name="T38" fmla="*/ 737 w 2738"/>
              <a:gd name="T39" fmla="*/ 1573 h 1613"/>
              <a:gd name="T40" fmla="*/ 984 w 2738"/>
              <a:gd name="T41" fmla="*/ 1488 h 1613"/>
              <a:gd name="T42" fmla="*/ 1138 w 2738"/>
              <a:gd name="T43" fmla="*/ 1607 h 1613"/>
              <a:gd name="T44" fmla="*/ 1296 w 2738"/>
              <a:gd name="T45" fmla="*/ 1461 h 1613"/>
              <a:gd name="T46" fmla="*/ 1379 w 2738"/>
              <a:gd name="T47" fmla="*/ 1469 h 1613"/>
              <a:gd name="T48" fmla="*/ 1594 w 2738"/>
              <a:gd name="T49" fmla="*/ 1412 h 1613"/>
              <a:gd name="T50" fmla="*/ 1763 w 2738"/>
              <a:gd name="T51" fmla="*/ 1449 h 1613"/>
              <a:gd name="T52" fmla="*/ 1803 w 2738"/>
              <a:gd name="T53" fmla="*/ 1447 h 1613"/>
              <a:gd name="T54" fmla="*/ 2085 w 2738"/>
              <a:gd name="T55" fmla="*/ 1613 h 1613"/>
              <a:gd name="T56" fmla="*/ 2393 w 2738"/>
              <a:gd name="T57" fmla="*/ 1387 h 1613"/>
              <a:gd name="T58" fmla="*/ 2456 w 2738"/>
              <a:gd name="T59" fmla="*/ 1395 h 1613"/>
              <a:gd name="T60" fmla="*/ 2738 w 2738"/>
              <a:gd name="T61" fmla="*/ 1112 h 1613"/>
              <a:gd name="T62" fmla="*/ 2456 w 2738"/>
              <a:gd name="T63" fmla="*/ 830 h 16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2738" h="1613">
                <a:moveTo>
                  <a:pt x="2456" y="830"/>
                </a:moveTo>
                <a:cubicBezTo>
                  <a:pt x="2418" y="830"/>
                  <a:pt x="2381" y="837"/>
                  <a:pt x="2348" y="851"/>
                </a:cubicBezTo>
                <a:cubicBezTo>
                  <a:pt x="2348" y="851"/>
                  <a:pt x="2348" y="851"/>
                  <a:pt x="2348" y="850"/>
                </a:cubicBezTo>
                <a:cubicBezTo>
                  <a:pt x="2348" y="672"/>
                  <a:pt x="2203" y="528"/>
                  <a:pt x="2025" y="528"/>
                </a:cubicBezTo>
                <a:cubicBezTo>
                  <a:pt x="1985" y="528"/>
                  <a:pt x="1946" y="536"/>
                  <a:pt x="1910" y="549"/>
                </a:cubicBezTo>
                <a:cubicBezTo>
                  <a:pt x="1890" y="513"/>
                  <a:pt x="1854" y="487"/>
                  <a:pt x="1812" y="480"/>
                </a:cubicBezTo>
                <a:cubicBezTo>
                  <a:pt x="1813" y="465"/>
                  <a:pt x="1814" y="450"/>
                  <a:pt x="1814" y="435"/>
                </a:cubicBezTo>
                <a:cubicBezTo>
                  <a:pt x="1814" y="194"/>
                  <a:pt x="1619" y="0"/>
                  <a:pt x="1379" y="0"/>
                </a:cubicBezTo>
                <a:cubicBezTo>
                  <a:pt x="1227" y="0"/>
                  <a:pt x="1093" y="78"/>
                  <a:pt x="1015" y="196"/>
                </a:cubicBezTo>
                <a:cubicBezTo>
                  <a:pt x="988" y="175"/>
                  <a:pt x="954" y="162"/>
                  <a:pt x="917" y="162"/>
                </a:cubicBezTo>
                <a:cubicBezTo>
                  <a:pt x="829" y="162"/>
                  <a:pt x="759" y="233"/>
                  <a:pt x="759" y="320"/>
                </a:cubicBezTo>
                <a:cubicBezTo>
                  <a:pt x="759" y="333"/>
                  <a:pt x="760" y="344"/>
                  <a:pt x="763" y="356"/>
                </a:cubicBezTo>
                <a:cubicBezTo>
                  <a:pt x="642" y="398"/>
                  <a:pt x="547" y="497"/>
                  <a:pt x="511" y="621"/>
                </a:cubicBezTo>
                <a:cubicBezTo>
                  <a:pt x="497" y="618"/>
                  <a:pt x="483" y="616"/>
                  <a:pt x="469" y="616"/>
                </a:cubicBezTo>
                <a:cubicBezTo>
                  <a:pt x="372" y="616"/>
                  <a:pt x="294" y="694"/>
                  <a:pt x="294" y="791"/>
                </a:cubicBezTo>
                <a:cubicBezTo>
                  <a:pt x="294" y="805"/>
                  <a:pt x="295" y="818"/>
                  <a:pt x="298" y="830"/>
                </a:cubicBezTo>
                <a:cubicBezTo>
                  <a:pt x="132" y="836"/>
                  <a:pt x="0" y="972"/>
                  <a:pt x="0" y="1139"/>
                </a:cubicBezTo>
                <a:cubicBezTo>
                  <a:pt x="0" y="1310"/>
                  <a:pt x="138" y="1449"/>
                  <a:pt x="309" y="1449"/>
                </a:cubicBezTo>
                <a:cubicBezTo>
                  <a:pt x="351" y="1449"/>
                  <a:pt x="390" y="1441"/>
                  <a:pt x="426" y="1426"/>
                </a:cubicBezTo>
                <a:cubicBezTo>
                  <a:pt x="500" y="1516"/>
                  <a:pt x="612" y="1573"/>
                  <a:pt x="737" y="1573"/>
                </a:cubicBezTo>
                <a:cubicBezTo>
                  <a:pt x="830" y="1573"/>
                  <a:pt x="916" y="1541"/>
                  <a:pt x="984" y="1488"/>
                </a:cubicBezTo>
                <a:cubicBezTo>
                  <a:pt x="1002" y="1556"/>
                  <a:pt x="1064" y="1607"/>
                  <a:pt x="1138" y="1607"/>
                </a:cubicBezTo>
                <a:cubicBezTo>
                  <a:pt x="1221" y="1607"/>
                  <a:pt x="1290" y="1543"/>
                  <a:pt x="1296" y="1461"/>
                </a:cubicBezTo>
                <a:cubicBezTo>
                  <a:pt x="1323" y="1466"/>
                  <a:pt x="1351" y="1469"/>
                  <a:pt x="1379" y="1469"/>
                </a:cubicBezTo>
                <a:cubicBezTo>
                  <a:pt x="1457" y="1469"/>
                  <a:pt x="1531" y="1448"/>
                  <a:pt x="1594" y="1412"/>
                </a:cubicBezTo>
                <a:cubicBezTo>
                  <a:pt x="1646" y="1435"/>
                  <a:pt x="1703" y="1449"/>
                  <a:pt x="1763" y="1449"/>
                </a:cubicBezTo>
                <a:cubicBezTo>
                  <a:pt x="1777" y="1449"/>
                  <a:pt x="1790" y="1448"/>
                  <a:pt x="1803" y="1447"/>
                </a:cubicBezTo>
                <a:cubicBezTo>
                  <a:pt x="1858" y="1546"/>
                  <a:pt x="1964" y="1613"/>
                  <a:pt x="2085" y="1613"/>
                </a:cubicBezTo>
                <a:cubicBezTo>
                  <a:pt x="2229" y="1613"/>
                  <a:pt x="2351" y="1518"/>
                  <a:pt x="2393" y="1387"/>
                </a:cubicBezTo>
                <a:cubicBezTo>
                  <a:pt x="2413" y="1392"/>
                  <a:pt x="2434" y="1395"/>
                  <a:pt x="2456" y="1395"/>
                </a:cubicBezTo>
                <a:cubicBezTo>
                  <a:pt x="2612" y="1395"/>
                  <a:pt x="2738" y="1268"/>
                  <a:pt x="2738" y="1112"/>
                </a:cubicBezTo>
                <a:cubicBezTo>
                  <a:pt x="2738" y="956"/>
                  <a:pt x="2612" y="830"/>
                  <a:pt x="2456" y="830"/>
                </a:cubicBez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48" name="iṥ1ïḓé">
            <a:extLst>
              <a:ext uri="{FF2B5EF4-FFF2-40B4-BE49-F238E27FC236}">
                <a16:creationId xmlns:a16="http://schemas.microsoft.com/office/drawing/2014/main" id="{6DE68931-9C01-4A8B-87A8-B683B98B2AC3}"/>
              </a:ext>
            </a:extLst>
          </p:cNvPr>
          <p:cNvSpPr>
            <a:spLocks/>
          </p:cNvSpPr>
          <p:nvPr/>
        </p:nvSpPr>
        <p:spPr bwMode="auto">
          <a:xfrm>
            <a:off x="9805512" y="2449933"/>
            <a:ext cx="211376" cy="211376"/>
          </a:xfrm>
          <a:custGeom>
            <a:avLst/>
            <a:gdLst>
              <a:gd name="T0" fmla="*/ 76 w 152"/>
              <a:gd name="T1" fmla="*/ 0 h 152"/>
              <a:gd name="T2" fmla="*/ 0 w 152"/>
              <a:gd name="T3" fmla="*/ 76 h 152"/>
              <a:gd name="T4" fmla="*/ 76 w 152"/>
              <a:gd name="T5" fmla="*/ 152 h 152"/>
              <a:gd name="T6" fmla="*/ 152 w 152"/>
              <a:gd name="T7" fmla="*/ 76 h 152"/>
              <a:gd name="T8" fmla="*/ 76 w 152"/>
              <a:gd name="T9" fmla="*/ 0 h 152"/>
              <a:gd name="T10" fmla="*/ 76 w 152"/>
              <a:gd name="T11" fmla="*/ 136 h 152"/>
              <a:gd name="T12" fmla="*/ 16 w 152"/>
              <a:gd name="T13" fmla="*/ 76 h 152"/>
              <a:gd name="T14" fmla="*/ 76 w 152"/>
              <a:gd name="T15" fmla="*/ 16 h 152"/>
              <a:gd name="T16" fmla="*/ 136 w 152"/>
              <a:gd name="T17" fmla="*/ 76 h 152"/>
              <a:gd name="T18" fmla="*/ 76 w 152"/>
              <a:gd name="T19" fmla="*/ 136 h 152"/>
              <a:gd name="T20" fmla="*/ 76 w 152"/>
              <a:gd name="T21" fmla="*/ 136 h 152"/>
              <a:gd name="T22" fmla="*/ 76 w 152"/>
              <a:gd name="T23" fmla="*/ 136 h 1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52" h="152">
                <a:moveTo>
                  <a:pt x="76" y="0"/>
                </a:moveTo>
                <a:cubicBezTo>
                  <a:pt x="34" y="0"/>
                  <a:pt x="0" y="34"/>
                  <a:pt x="0" y="76"/>
                </a:cubicBezTo>
                <a:cubicBezTo>
                  <a:pt x="0" y="118"/>
                  <a:pt x="34" y="152"/>
                  <a:pt x="76" y="152"/>
                </a:cubicBezTo>
                <a:cubicBezTo>
                  <a:pt x="118" y="152"/>
                  <a:pt x="152" y="118"/>
                  <a:pt x="152" y="76"/>
                </a:cubicBezTo>
                <a:cubicBezTo>
                  <a:pt x="152" y="34"/>
                  <a:pt x="118" y="0"/>
                  <a:pt x="76" y="0"/>
                </a:cubicBezTo>
                <a:close/>
                <a:moveTo>
                  <a:pt x="76" y="136"/>
                </a:moveTo>
                <a:cubicBezTo>
                  <a:pt x="43" y="136"/>
                  <a:pt x="16" y="109"/>
                  <a:pt x="16" y="76"/>
                </a:cubicBezTo>
                <a:cubicBezTo>
                  <a:pt x="16" y="43"/>
                  <a:pt x="43" y="16"/>
                  <a:pt x="76" y="16"/>
                </a:cubicBezTo>
                <a:cubicBezTo>
                  <a:pt x="109" y="16"/>
                  <a:pt x="136" y="43"/>
                  <a:pt x="136" y="76"/>
                </a:cubicBezTo>
                <a:cubicBezTo>
                  <a:pt x="136" y="109"/>
                  <a:pt x="109" y="136"/>
                  <a:pt x="76" y="136"/>
                </a:cubicBezTo>
                <a:close/>
                <a:moveTo>
                  <a:pt x="76" y="136"/>
                </a:moveTo>
                <a:cubicBezTo>
                  <a:pt x="76" y="136"/>
                  <a:pt x="76" y="136"/>
                  <a:pt x="76" y="136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49" name="ïṧľîdê">
            <a:extLst>
              <a:ext uri="{FF2B5EF4-FFF2-40B4-BE49-F238E27FC236}">
                <a16:creationId xmlns:a16="http://schemas.microsoft.com/office/drawing/2014/main" id="{27355526-1182-4F0C-85CC-0157EA379910}"/>
              </a:ext>
            </a:extLst>
          </p:cNvPr>
          <p:cNvSpPr>
            <a:spLocks/>
          </p:cNvSpPr>
          <p:nvPr/>
        </p:nvSpPr>
        <p:spPr bwMode="auto">
          <a:xfrm>
            <a:off x="9892999" y="2546227"/>
            <a:ext cx="35229" cy="76330"/>
          </a:xfrm>
          <a:custGeom>
            <a:avLst/>
            <a:gdLst>
              <a:gd name="T0" fmla="*/ 21 w 25"/>
              <a:gd name="T1" fmla="*/ 0 h 55"/>
              <a:gd name="T2" fmla="*/ 5 w 25"/>
              <a:gd name="T3" fmla="*/ 0 h 55"/>
              <a:gd name="T4" fmla="*/ 0 w 25"/>
              <a:gd name="T5" fmla="*/ 4 h 55"/>
              <a:gd name="T6" fmla="*/ 0 w 25"/>
              <a:gd name="T7" fmla="*/ 50 h 55"/>
              <a:gd name="T8" fmla="*/ 5 w 25"/>
              <a:gd name="T9" fmla="*/ 55 h 55"/>
              <a:gd name="T10" fmla="*/ 21 w 25"/>
              <a:gd name="T11" fmla="*/ 55 h 55"/>
              <a:gd name="T12" fmla="*/ 25 w 25"/>
              <a:gd name="T13" fmla="*/ 50 h 55"/>
              <a:gd name="T14" fmla="*/ 25 w 25"/>
              <a:gd name="T15" fmla="*/ 4 h 55"/>
              <a:gd name="T16" fmla="*/ 21 w 25"/>
              <a:gd name="T17" fmla="*/ 0 h 55"/>
              <a:gd name="T18" fmla="*/ 21 w 25"/>
              <a:gd name="T19" fmla="*/ 0 h 55"/>
              <a:gd name="T20" fmla="*/ 21 w 25"/>
              <a:gd name="T21" fmla="*/ 0 h 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5" h="55">
                <a:moveTo>
                  <a:pt x="21" y="0"/>
                </a:moveTo>
                <a:cubicBezTo>
                  <a:pt x="5" y="0"/>
                  <a:pt x="5" y="0"/>
                  <a:pt x="5" y="0"/>
                </a:cubicBezTo>
                <a:cubicBezTo>
                  <a:pt x="2" y="0"/>
                  <a:pt x="0" y="2"/>
                  <a:pt x="0" y="4"/>
                </a:cubicBezTo>
                <a:cubicBezTo>
                  <a:pt x="0" y="50"/>
                  <a:pt x="0" y="50"/>
                  <a:pt x="0" y="50"/>
                </a:cubicBezTo>
                <a:cubicBezTo>
                  <a:pt x="0" y="53"/>
                  <a:pt x="2" y="55"/>
                  <a:pt x="5" y="55"/>
                </a:cubicBezTo>
                <a:cubicBezTo>
                  <a:pt x="21" y="55"/>
                  <a:pt x="21" y="55"/>
                  <a:pt x="21" y="55"/>
                </a:cubicBezTo>
                <a:cubicBezTo>
                  <a:pt x="23" y="55"/>
                  <a:pt x="25" y="53"/>
                  <a:pt x="25" y="50"/>
                </a:cubicBezTo>
                <a:cubicBezTo>
                  <a:pt x="25" y="4"/>
                  <a:pt x="25" y="4"/>
                  <a:pt x="25" y="4"/>
                </a:cubicBezTo>
                <a:cubicBezTo>
                  <a:pt x="25" y="2"/>
                  <a:pt x="23" y="0"/>
                  <a:pt x="21" y="0"/>
                </a:cubicBezTo>
                <a:close/>
                <a:moveTo>
                  <a:pt x="21" y="0"/>
                </a:moveTo>
                <a:cubicBezTo>
                  <a:pt x="21" y="0"/>
                  <a:pt x="21" y="0"/>
                  <a:pt x="2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50" name="íṩľîḍe">
            <a:extLst>
              <a:ext uri="{FF2B5EF4-FFF2-40B4-BE49-F238E27FC236}">
                <a16:creationId xmlns:a16="http://schemas.microsoft.com/office/drawing/2014/main" id="{B83E7765-305B-4F9E-AA5F-4A462C3B9269}"/>
              </a:ext>
            </a:extLst>
          </p:cNvPr>
          <p:cNvSpPr>
            <a:spLocks/>
          </p:cNvSpPr>
          <p:nvPr/>
        </p:nvSpPr>
        <p:spPr bwMode="auto">
          <a:xfrm>
            <a:off x="9891825" y="2489272"/>
            <a:ext cx="38752" cy="38752"/>
          </a:xfrm>
          <a:custGeom>
            <a:avLst/>
            <a:gdLst>
              <a:gd name="T0" fmla="*/ 14 w 28"/>
              <a:gd name="T1" fmla="*/ 0 h 28"/>
              <a:gd name="T2" fmla="*/ 0 w 28"/>
              <a:gd name="T3" fmla="*/ 14 h 28"/>
              <a:gd name="T4" fmla="*/ 14 w 28"/>
              <a:gd name="T5" fmla="*/ 28 h 28"/>
              <a:gd name="T6" fmla="*/ 28 w 28"/>
              <a:gd name="T7" fmla="*/ 14 h 28"/>
              <a:gd name="T8" fmla="*/ 14 w 28"/>
              <a:gd name="T9" fmla="*/ 0 h 28"/>
              <a:gd name="T10" fmla="*/ 14 w 28"/>
              <a:gd name="T11" fmla="*/ 0 h 28"/>
              <a:gd name="T12" fmla="*/ 14 w 28"/>
              <a:gd name="T13" fmla="*/ 0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8" h="28">
                <a:moveTo>
                  <a:pt x="14" y="0"/>
                </a:moveTo>
                <a:cubicBezTo>
                  <a:pt x="6" y="0"/>
                  <a:pt x="0" y="6"/>
                  <a:pt x="0" y="14"/>
                </a:cubicBezTo>
                <a:cubicBezTo>
                  <a:pt x="0" y="22"/>
                  <a:pt x="6" y="28"/>
                  <a:pt x="14" y="28"/>
                </a:cubicBezTo>
                <a:cubicBezTo>
                  <a:pt x="21" y="28"/>
                  <a:pt x="28" y="22"/>
                  <a:pt x="28" y="14"/>
                </a:cubicBezTo>
                <a:cubicBezTo>
                  <a:pt x="28" y="6"/>
                  <a:pt x="21" y="0"/>
                  <a:pt x="14" y="0"/>
                </a:cubicBezTo>
                <a:close/>
                <a:moveTo>
                  <a:pt x="14" y="0"/>
                </a:moveTo>
                <a:cubicBezTo>
                  <a:pt x="14" y="0"/>
                  <a:pt x="14" y="0"/>
                  <a:pt x="14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51" name="iṩḷíďé">
            <a:extLst>
              <a:ext uri="{FF2B5EF4-FFF2-40B4-BE49-F238E27FC236}">
                <a16:creationId xmlns:a16="http://schemas.microsoft.com/office/drawing/2014/main" id="{DD24ABB6-75EA-42C4-BBBD-5CF567B350AC}"/>
              </a:ext>
            </a:extLst>
          </p:cNvPr>
          <p:cNvSpPr>
            <a:spLocks/>
          </p:cNvSpPr>
          <p:nvPr/>
        </p:nvSpPr>
        <p:spPr bwMode="auto">
          <a:xfrm>
            <a:off x="8216086" y="2773455"/>
            <a:ext cx="211376" cy="211376"/>
          </a:xfrm>
          <a:custGeom>
            <a:avLst/>
            <a:gdLst>
              <a:gd name="T0" fmla="*/ 76 w 152"/>
              <a:gd name="T1" fmla="*/ 0 h 152"/>
              <a:gd name="T2" fmla="*/ 0 w 152"/>
              <a:gd name="T3" fmla="*/ 76 h 152"/>
              <a:gd name="T4" fmla="*/ 76 w 152"/>
              <a:gd name="T5" fmla="*/ 152 h 152"/>
              <a:gd name="T6" fmla="*/ 152 w 152"/>
              <a:gd name="T7" fmla="*/ 76 h 152"/>
              <a:gd name="T8" fmla="*/ 76 w 152"/>
              <a:gd name="T9" fmla="*/ 0 h 152"/>
              <a:gd name="T10" fmla="*/ 76 w 152"/>
              <a:gd name="T11" fmla="*/ 136 h 152"/>
              <a:gd name="T12" fmla="*/ 16 w 152"/>
              <a:gd name="T13" fmla="*/ 76 h 152"/>
              <a:gd name="T14" fmla="*/ 76 w 152"/>
              <a:gd name="T15" fmla="*/ 16 h 152"/>
              <a:gd name="T16" fmla="*/ 136 w 152"/>
              <a:gd name="T17" fmla="*/ 76 h 152"/>
              <a:gd name="T18" fmla="*/ 76 w 152"/>
              <a:gd name="T19" fmla="*/ 136 h 152"/>
              <a:gd name="T20" fmla="*/ 76 w 152"/>
              <a:gd name="T21" fmla="*/ 136 h 152"/>
              <a:gd name="T22" fmla="*/ 76 w 152"/>
              <a:gd name="T23" fmla="*/ 136 h 1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52" h="152">
                <a:moveTo>
                  <a:pt x="76" y="0"/>
                </a:moveTo>
                <a:cubicBezTo>
                  <a:pt x="34" y="0"/>
                  <a:pt x="0" y="34"/>
                  <a:pt x="0" y="76"/>
                </a:cubicBezTo>
                <a:cubicBezTo>
                  <a:pt x="0" y="118"/>
                  <a:pt x="34" y="152"/>
                  <a:pt x="76" y="152"/>
                </a:cubicBezTo>
                <a:cubicBezTo>
                  <a:pt x="118" y="152"/>
                  <a:pt x="152" y="118"/>
                  <a:pt x="152" y="76"/>
                </a:cubicBezTo>
                <a:cubicBezTo>
                  <a:pt x="152" y="34"/>
                  <a:pt x="118" y="0"/>
                  <a:pt x="76" y="0"/>
                </a:cubicBezTo>
                <a:close/>
                <a:moveTo>
                  <a:pt x="76" y="136"/>
                </a:moveTo>
                <a:cubicBezTo>
                  <a:pt x="43" y="136"/>
                  <a:pt x="16" y="109"/>
                  <a:pt x="16" y="76"/>
                </a:cubicBezTo>
                <a:cubicBezTo>
                  <a:pt x="16" y="43"/>
                  <a:pt x="43" y="16"/>
                  <a:pt x="76" y="16"/>
                </a:cubicBezTo>
                <a:cubicBezTo>
                  <a:pt x="109" y="16"/>
                  <a:pt x="136" y="43"/>
                  <a:pt x="136" y="76"/>
                </a:cubicBezTo>
                <a:cubicBezTo>
                  <a:pt x="136" y="109"/>
                  <a:pt x="109" y="136"/>
                  <a:pt x="76" y="136"/>
                </a:cubicBezTo>
                <a:close/>
                <a:moveTo>
                  <a:pt x="76" y="136"/>
                </a:moveTo>
                <a:cubicBezTo>
                  <a:pt x="76" y="136"/>
                  <a:pt x="76" y="136"/>
                  <a:pt x="76" y="136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52" name="ïŝ1ïḍé">
            <a:extLst>
              <a:ext uri="{FF2B5EF4-FFF2-40B4-BE49-F238E27FC236}">
                <a16:creationId xmlns:a16="http://schemas.microsoft.com/office/drawing/2014/main" id="{F13F7E74-C811-42A9-8A5D-7EFA21D630F8}"/>
              </a:ext>
            </a:extLst>
          </p:cNvPr>
          <p:cNvSpPr>
            <a:spLocks/>
          </p:cNvSpPr>
          <p:nvPr/>
        </p:nvSpPr>
        <p:spPr bwMode="auto">
          <a:xfrm>
            <a:off x="8305333" y="2869748"/>
            <a:ext cx="32881" cy="76330"/>
          </a:xfrm>
          <a:custGeom>
            <a:avLst/>
            <a:gdLst>
              <a:gd name="T0" fmla="*/ 20 w 24"/>
              <a:gd name="T1" fmla="*/ 0 h 55"/>
              <a:gd name="T2" fmla="*/ 4 w 24"/>
              <a:gd name="T3" fmla="*/ 0 h 55"/>
              <a:gd name="T4" fmla="*/ 0 w 24"/>
              <a:gd name="T5" fmla="*/ 4 h 55"/>
              <a:gd name="T6" fmla="*/ 0 w 24"/>
              <a:gd name="T7" fmla="*/ 50 h 55"/>
              <a:gd name="T8" fmla="*/ 4 w 24"/>
              <a:gd name="T9" fmla="*/ 55 h 55"/>
              <a:gd name="T10" fmla="*/ 20 w 24"/>
              <a:gd name="T11" fmla="*/ 55 h 55"/>
              <a:gd name="T12" fmla="*/ 24 w 24"/>
              <a:gd name="T13" fmla="*/ 50 h 55"/>
              <a:gd name="T14" fmla="*/ 24 w 24"/>
              <a:gd name="T15" fmla="*/ 4 h 55"/>
              <a:gd name="T16" fmla="*/ 20 w 24"/>
              <a:gd name="T17" fmla="*/ 0 h 55"/>
              <a:gd name="T18" fmla="*/ 20 w 24"/>
              <a:gd name="T19" fmla="*/ 0 h 55"/>
              <a:gd name="T20" fmla="*/ 20 w 24"/>
              <a:gd name="T21" fmla="*/ 0 h 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4" h="55">
                <a:moveTo>
                  <a:pt x="20" y="0"/>
                </a:moveTo>
                <a:cubicBezTo>
                  <a:pt x="4" y="0"/>
                  <a:pt x="4" y="0"/>
                  <a:pt x="4" y="0"/>
                </a:cubicBezTo>
                <a:cubicBezTo>
                  <a:pt x="2" y="0"/>
                  <a:pt x="0" y="2"/>
                  <a:pt x="0" y="4"/>
                </a:cubicBezTo>
                <a:cubicBezTo>
                  <a:pt x="0" y="50"/>
                  <a:pt x="0" y="50"/>
                  <a:pt x="0" y="50"/>
                </a:cubicBezTo>
                <a:cubicBezTo>
                  <a:pt x="0" y="53"/>
                  <a:pt x="2" y="55"/>
                  <a:pt x="4" y="55"/>
                </a:cubicBezTo>
                <a:cubicBezTo>
                  <a:pt x="20" y="55"/>
                  <a:pt x="20" y="55"/>
                  <a:pt x="20" y="55"/>
                </a:cubicBezTo>
                <a:cubicBezTo>
                  <a:pt x="22" y="55"/>
                  <a:pt x="24" y="53"/>
                  <a:pt x="24" y="50"/>
                </a:cubicBezTo>
                <a:cubicBezTo>
                  <a:pt x="24" y="4"/>
                  <a:pt x="24" y="4"/>
                  <a:pt x="24" y="4"/>
                </a:cubicBezTo>
                <a:cubicBezTo>
                  <a:pt x="24" y="2"/>
                  <a:pt x="22" y="0"/>
                  <a:pt x="20" y="0"/>
                </a:cubicBezTo>
                <a:close/>
                <a:moveTo>
                  <a:pt x="20" y="0"/>
                </a:moveTo>
                <a:cubicBezTo>
                  <a:pt x="20" y="0"/>
                  <a:pt x="20" y="0"/>
                  <a:pt x="20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53" name="îṣlïḍè">
            <a:extLst>
              <a:ext uri="{FF2B5EF4-FFF2-40B4-BE49-F238E27FC236}">
                <a16:creationId xmlns:a16="http://schemas.microsoft.com/office/drawing/2014/main" id="{05C73AB9-8F7F-46FB-90E6-B8BFF23F0A3B}"/>
              </a:ext>
            </a:extLst>
          </p:cNvPr>
          <p:cNvSpPr>
            <a:spLocks/>
          </p:cNvSpPr>
          <p:nvPr/>
        </p:nvSpPr>
        <p:spPr bwMode="auto">
          <a:xfrm>
            <a:off x="8302397" y="2812794"/>
            <a:ext cx="38752" cy="38752"/>
          </a:xfrm>
          <a:custGeom>
            <a:avLst/>
            <a:gdLst>
              <a:gd name="T0" fmla="*/ 14 w 28"/>
              <a:gd name="T1" fmla="*/ 0 h 28"/>
              <a:gd name="T2" fmla="*/ 0 w 28"/>
              <a:gd name="T3" fmla="*/ 14 h 28"/>
              <a:gd name="T4" fmla="*/ 14 w 28"/>
              <a:gd name="T5" fmla="*/ 28 h 28"/>
              <a:gd name="T6" fmla="*/ 28 w 28"/>
              <a:gd name="T7" fmla="*/ 14 h 28"/>
              <a:gd name="T8" fmla="*/ 14 w 28"/>
              <a:gd name="T9" fmla="*/ 0 h 28"/>
              <a:gd name="T10" fmla="*/ 14 w 28"/>
              <a:gd name="T11" fmla="*/ 0 h 28"/>
              <a:gd name="T12" fmla="*/ 14 w 28"/>
              <a:gd name="T13" fmla="*/ 0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8" h="28">
                <a:moveTo>
                  <a:pt x="14" y="0"/>
                </a:moveTo>
                <a:cubicBezTo>
                  <a:pt x="6" y="0"/>
                  <a:pt x="0" y="6"/>
                  <a:pt x="0" y="14"/>
                </a:cubicBezTo>
                <a:cubicBezTo>
                  <a:pt x="0" y="21"/>
                  <a:pt x="6" y="28"/>
                  <a:pt x="14" y="28"/>
                </a:cubicBezTo>
                <a:cubicBezTo>
                  <a:pt x="22" y="28"/>
                  <a:pt x="28" y="21"/>
                  <a:pt x="28" y="14"/>
                </a:cubicBezTo>
                <a:cubicBezTo>
                  <a:pt x="28" y="6"/>
                  <a:pt x="22" y="0"/>
                  <a:pt x="14" y="0"/>
                </a:cubicBezTo>
                <a:close/>
                <a:moveTo>
                  <a:pt x="14" y="0"/>
                </a:moveTo>
                <a:cubicBezTo>
                  <a:pt x="14" y="0"/>
                  <a:pt x="14" y="0"/>
                  <a:pt x="14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54" name="i$1iḍe">
            <a:extLst>
              <a:ext uri="{FF2B5EF4-FFF2-40B4-BE49-F238E27FC236}">
                <a16:creationId xmlns:a16="http://schemas.microsoft.com/office/drawing/2014/main" id="{E08797C0-2AA7-4B4A-BDAA-F10ACBA64DB6}"/>
              </a:ext>
            </a:extLst>
          </p:cNvPr>
          <p:cNvSpPr>
            <a:spLocks/>
          </p:cNvSpPr>
          <p:nvPr/>
        </p:nvSpPr>
        <p:spPr bwMode="auto">
          <a:xfrm>
            <a:off x="10235897" y="2685969"/>
            <a:ext cx="386348" cy="559558"/>
          </a:xfrm>
          <a:custGeom>
            <a:avLst/>
            <a:gdLst>
              <a:gd name="T0" fmla="*/ 163 w 278"/>
              <a:gd name="T1" fmla="*/ 16 h 403"/>
              <a:gd name="T2" fmla="*/ 17 w 278"/>
              <a:gd name="T3" fmla="*/ 201 h 403"/>
              <a:gd name="T4" fmla="*/ 24 w 278"/>
              <a:gd name="T5" fmla="*/ 337 h 403"/>
              <a:gd name="T6" fmla="*/ 48 w 278"/>
              <a:gd name="T7" fmla="*/ 356 h 403"/>
              <a:gd name="T8" fmla="*/ 68 w 278"/>
              <a:gd name="T9" fmla="*/ 395 h 403"/>
              <a:gd name="T10" fmla="*/ 123 w 278"/>
              <a:gd name="T11" fmla="*/ 379 h 403"/>
              <a:gd name="T12" fmla="*/ 139 w 278"/>
              <a:gd name="T13" fmla="*/ 376 h 403"/>
              <a:gd name="T14" fmla="*/ 172 w 278"/>
              <a:gd name="T15" fmla="*/ 288 h 403"/>
              <a:gd name="T16" fmla="*/ 263 w 278"/>
              <a:gd name="T17" fmla="*/ 172 h 403"/>
              <a:gd name="T18" fmla="*/ 90 w 278"/>
              <a:gd name="T19" fmla="*/ 152 h 403"/>
              <a:gd name="T20" fmla="*/ 119 w 278"/>
              <a:gd name="T21" fmla="*/ 165 h 403"/>
              <a:gd name="T22" fmla="*/ 128 w 278"/>
              <a:gd name="T23" fmla="*/ 167 h 403"/>
              <a:gd name="T24" fmla="*/ 151 w 278"/>
              <a:gd name="T25" fmla="*/ 171 h 403"/>
              <a:gd name="T26" fmla="*/ 158 w 278"/>
              <a:gd name="T27" fmla="*/ 176 h 403"/>
              <a:gd name="T28" fmla="*/ 129 w 278"/>
              <a:gd name="T29" fmla="*/ 261 h 403"/>
              <a:gd name="T30" fmla="*/ 144 w 278"/>
              <a:gd name="T31" fmla="*/ 292 h 403"/>
              <a:gd name="T32" fmla="*/ 60 w 278"/>
              <a:gd name="T33" fmla="*/ 296 h 403"/>
              <a:gd name="T34" fmla="*/ 144 w 278"/>
              <a:gd name="T35" fmla="*/ 292 h 403"/>
              <a:gd name="T36" fmla="*/ 57 w 278"/>
              <a:gd name="T37" fmla="*/ 308 h 403"/>
              <a:gd name="T38" fmla="*/ 132 w 278"/>
              <a:gd name="T39" fmla="*/ 348 h 403"/>
              <a:gd name="T40" fmla="*/ 156 w 278"/>
              <a:gd name="T41" fmla="*/ 267 h 403"/>
              <a:gd name="T42" fmla="*/ 196 w 278"/>
              <a:gd name="T43" fmla="*/ 165 h 403"/>
              <a:gd name="T44" fmla="*/ 178 w 278"/>
              <a:gd name="T45" fmla="*/ 157 h 403"/>
              <a:gd name="T46" fmla="*/ 162 w 278"/>
              <a:gd name="T47" fmla="*/ 162 h 403"/>
              <a:gd name="T48" fmla="*/ 152 w 278"/>
              <a:gd name="T49" fmla="*/ 135 h 403"/>
              <a:gd name="T50" fmla="*/ 125 w 278"/>
              <a:gd name="T51" fmla="*/ 152 h 403"/>
              <a:gd name="T52" fmla="*/ 106 w 278"/>
              <a:gd name="T53" fmla="*/ 132 h 403"/>
              <a:gd name="T54" fmla="*/ 90 w 278"/>
              <a:gd name="T55" fmla="*/ 138 h 403"/>
              <a:gd name="T56" fmla="*/ 71 w 278"/>
              <a:gd name="T57" fmla="*/ 138 h 403"/>
              <a:gd name="T58" fmla="*/ 64 w 278"/>
              <a:gd name="T59" fmla="*/ 247 h 403"/>
              <a:gd name="T60" fmla="*/ 32 w 278"/>
              <a:gd name="T61" fmla="*/ 121 h 403"/>
              <a:gd name="T62" fmla="*/ 237 w 278"/>
              <a:gd name="T63" fmla="*/ 166 h 403"/>
              <a:gd name="T64" fmla="*/ 156 w 278"/>
              <a:gd name="T65" fmla="*/ 267 h 403"/>
              <a:gd name="T66" fmla="*/ 156 w 278"/>
              <a:gd name="T67" fmla="*/ 267 h 4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8" h="403">
                <a:moveTo>
                  <a:pt x="263" y="172"/>
                </a:moveTo>
                <a:cubicBezTo>
                  <a:pt x="278" y="101"/>
                  <a:pt x="234" y="31"/>
                  <a:pt x="163" y="16"/>
                </a:cubicBezTo>
                <a:cubicBezTo>
                  <a:pt x="92" y="0"/>
                  <a:pt x="22" y="45"/>
                  <a:pt x="7" y="116"/>
                </a:cubicBezTo>
                <a:cubicBezTo>
                  <a:pt x="0" y="145"/>
                  <a:pt x="4" y="174"/>
                  <a:pt x="17" y="201"/>
                </a:cubicBezTo>
                <a:cubicBezTo>
                  <a:pt x="26" y="219"/>
                  <a:pt x="34" y="240"/>
                  <a:pt x="41" y="259"/>
                </a:cubicBezTo>
                <a:cubicBezTo>
                  <a:pt x="24" y="337"/>
                  <a:pt x="24" y="337"/>
                  <a:pt x="24" y="337"/>
                </a:cubicBezTo>
                <a:cubicBezTo>
                  <a:pt x="22" y="344"/>
                  <a:pt x="27" y="351"/>
                  <a:pt x="34" y="353"/>
                </a:cubicBezTo>
                <a:cubicBezTo>
                  <a:pt x="48" y="356"/>
                  <a:pt x="48" y="356"/>
                  <a:pt x="48" y="356"/>
                </a:cubicBezTo>
                <a:cubicBezTo>
                  <a:pt x="47" y="362"/>
                  <a:pt x="47" y="362"/>
                  <a:pt x="47" y="362"/>
                </a:cubicBezTo>
                <a:cubicBezTo>
                  <a:pt x="44" y="377"/>
                  <a:pt x="53" y="392"/>
                  <a:pt x="68" y="395"/>
                </a:cubicBezTo>
                <a:cubicBezTo>
                  <a:pt x="90" y="400"/>
                  <a:pt x="90" y="400"/>
                  <a:pt x="90" y="400"/>
                </a:cubicBezTo>
                <a:cubicBezTo>
                  <a:pt x="105" y="403"/>
                  <a:pt x="120" y="394"/>
                  <a:pt x="123" y="379"/>
                </a:cubicBezTo>
                <a:cubicBezTo>
                  <a:pt x="125" y="373"/>
                  <a:pt x="125" y="373"/>
                  <a:pt x="125" y="373"/>
                </a:cubicBezTo>
                <a:cubicBezTo>
                  <a:pt x="139" y="376"/>
                  <a:pt x="139" y="376"/>
                  <a:pt x="139" y="376"/>
                </a:cubicBezTo>
                <a:cubicBezTo>
                  <a:pt x="146" y="378"/>
                  <a:pt x="153" y="373"/>
                  <a:pt x="155" y="366"/>
                </a:cubicBezTo>
                <a:cubicBezTo>
                  <a:pt x="172" y="288"/>
                  <a:pt x="172" y="288"/>
                  <a:pt x="172" y="288"/>
                </a:cubicBezTo>
                <a:cubicBezTo>
                  <a:pt x="186" y="273"/>
                  <a:pt x="202" y="258"/>
                  <a:pt x="218" y="245"/>
                </a:cubicBezTo>
                <a:cubicBezTo>
                  <a:pt x="241" y="226"/>
                  <a:pt x="257" y="201"/>
                  <a:pt x="263" y="172"/>
                </a:cubicBezTo>
                <a:close/>
                <a:moveTo>
                  <a:pt x="91" y="253"/>
                </a:moveTo>
                <a:cubicBezTo>
                  <a:pt x="90" y="152"/>
                  <a:pt x="90" y="152"/>
                  <a:pt x="90" y="152"/>
                </a:cubicBezTo>
                <a:cubicBezTo>
                  <a:pt x="106" y="146"/>
                  <a:pt x="106" y="146"/>
                  <a:pt x="106" y="146"/>
                </a:cubicBezTo>
                <a:cubicBezTo>
                  <a:pt x="119" y="165"/>
                  <a:pt x="119" y="165"/>
                  <a:pt x="119" y="165"/>
                </a:cubicBezTo>
                <a:cubicBezTo>
                  <a:pt x="120" y="167"/>
                  <a:pt x="121" y="168"/>
                  <a:pt x="123" y="168"/>
                </a:cubicBezTo>
                <a:cubicBezTo>
                  <a:pt x="125" y="169"/>
                  <a:pt x="127" y="168"/>
                  <a:pt x="128" y="167"/>
                </a:cubicBezTo>
                <a:cubicBezTo>
                  <a:pt x="146" y="153"/>
                  <a:pt x="146" y="153"/>
                  <a:pt x="146" y="153"/>
                </a:cubicBezTo>
                <a:cubicBezTo>
                  <a:pt x="151" y="171"/>
                  <a:pt x="151" y="171"/>
                  <a:pt x="151" y="171"/>
                </a:cubicBezTo>
                <a:cubicBezTo>
                  <a:pt x="152" y="173"/>
                  <a:pt x="153" y="175"/>
                  <a:pt x="156" y="175"/>
                </a:cubicBezTo>
                <a:cubicBezTo>
                  <a:pt x="157" y="176"/>
                  <a:pt x="157" y="176"/>
                  <a:pt x="158" y="176"/>
                </a:cubicBezTo>
                <a:cubicBezTo>
                  <a:pt x="170" y="173"/>
                  <a:pt x="170" y="173"/>
                  <a:pt x="170" y="173"/>
                </a:cubicBezTo>
                <a:cubicBezTo>
                  <a:pt x="129" y="261"/>
                  <a:pt x="129" y="261"/>
                  <a:pt x="129" y="261"/>
                </a:cubicBezTo>
                <a:lnTo>
                  <a:pt x="91" y="253"/>
                </a:lnTo>
                <a:close/>
                <a:moveTo>
                  <a:pt x="144" y="292"/>
                </a:moveTo>
                <a:cubicBezTo>
                  <a:pt x="140" y="313"/>
                  <a:pt x="140" y="313"/>
                  <a:pt x="140" y="313"/>
                </a:cubicBezTo>
                <a:cubicBezTo>
                  <a:pt x="60" y="296"/>
                  <a:pt x="60" y="296"/>
                  <a:pt x="60" y="296"/>
                </a:cubicBezTo>
                <a:cubicBezTo>
                  <a:pt x="64" y="274"/>
                  <a:pt x="64" y="274"/>
                  <a:pt x="64" y="274"/>
                </a:cubicBezTo>
                <a:lnTo>
                  <a:pt x="144" y="292"/>
                </a:lnTo>
                <a:close/>
                <a:moveTo>
                  <a:pt x="52" y="330"/>
                </a:moveTo>
                <a:cubicBezTo>
                  <a:pt x="57" y="308"/>
                  <a:pt x="57" y="308"/>
                  <a:pt x="57" y="308"/>
                </a:cubicBezTo>
                <a:cubicBezTo>
                  <a:pt x="137" y="326"/>
                  <a:pt x="137" y="326"/>
                  <a:pt x="137" y="326"/>
                </a:cubicBezTo>
                <a:cubicBezTo>
                  <a:pt x="132" y="348"/>
                  <a:pt x="132" y="348"/>
                  <a:pt x="132" y="348"/>
                </a:cubicBezTo>
                <a:lnTo>
                  <a:pt x="52" y="330"/>
                </a:lnTo>
                <a:close/>
                <a:moveTo>
                  <a:pt x="156" y="267"/>
                </a:moveTo>
                <a:cubicBezTo>
                  <a:pt x="148" y="266"/>
                  <a:pt x="148" y="266"/>
                  <a:pt x="148" y="266"/>
                </a:cubicBezTo>
                <a:cubicBezTo>
                  <a:pt x="196" y="165"/>
                  <a:pt x="196" y="165"/>
                  <a:pt x="196" y="165"/>
                </a:cubicBezTo>
                <a:cubicBezTo>
                  <a:pt x="198" y="160"/>
                  <a:pt x="196" y="154"/>
                  <a:pt x="191" y="152"/>
                </a:cubicBezTo>
                <a:cubicBezTo>
                  <a:pt x="186" y="150"/>
                  <a:pt x="180" y="152"/>
                  <a:pt x="178" y="157"/>
                </a:cubicBezTo>
                <a:cubicBezTo>
                  <a:pt x="177" y="159"/>
                  <a:pt x="177" y="159"/>
                  <a:pt x="177" y="159"/>
                </a:cubicBezTo>
                <a:cubicBezTo>
                  <a:pt x="162" y="162"/>
                  <a:pt x="162" y="162"/>
                  <a:pt x="162" y="162"/>
                </a:cubicBezTo>
                <a:cubicBezTo>
                  <a:pt x="156" y="140"/>
                  <a:pt x="156" y="140"/>
                  <a:pt x="156" y="140"/>
                </a:cubicBezTo>
                <a:cubicBezTo>
                  <a:pt x="156" y="138"/>
                  <a:pt x="154" y="136"/>
                  <a:pt x="152" y="135"/>
                </a:cubicBezTo>
                <a:cubicBezTo>
                  <a:pt x="150" y="134"/>
                  <a:pt x="148" y="135"/>
                  <a:pt x="146" y="136"/>
                </a:cubicBezTo>
                <a:cubicBezTo>
                  <a:pt x="125" y="152"/>
                  <a:pt x="125" y="152"/>
                  <a:pt x="125" y="152"/>
                </a:cubicBezTo>
                <a:cubicBezTo>
                  <a:pt x="114" y="135"/>
                  <a:pt x="114" y="135"/>
                  <a:pt x="114" y="135"/>
                </a:cubicBezTo>
                <a:cubicBezTo>
                  <a:pt x="112" y="132"/>
                  <a:pt x="109" y="131"/>
                  <a:pt x="106" y="132"/>
                </a:cubicBezTo>
                <a:cubicBezTo>
                  <a:pt x="90" y="138"/>
                  <a:pt x="90" y="138"/>
                  <a:pt x="90" y="138"/>
                </a:cubicBezTo>
                <a:cubicBezTo>
                  <a:pt x="90" y="138"/>
                  <a:pt x="90" y="138"/>
                  <a:pt x="90" y="138"/>
                </a:cubicBezTo>
                <a:cubicBezTo>
                  <a:pt x="90" y="132"/>
                  <a:pt x="86" y="128"/>
                  <a:pt x="80" y="128"/>
                </a:cubicBezTo>
                <a:cubicBezTo>
                  <a:pt x="75" y="128"/>
                  <a:pt x="71" y="132"/>
                  <a:pt x="71" y="138"/>
                </a:cubicBezTo>
                <a:cubicBezTo>
                  <a:pt x="72" y="249"/>
                  <a:pt x="72" y="249"/>
                  <a:pt x="72" y="249"/>
                </a:cubicBezTo>
                <a:cubicBezTo>
                  <a:pt x="64" y="247"/>
                  <a:pt x="64" y="247"/>
                  <a:pt x="64" y="247"/>
                </a:cubicBezTo>
                <a:cubicBezTo>
                  <a:pt x="58" y="228"/>
                  <a:pt x="50" y="208"/>
                  <a:pt x="41" y="189"/>
                </a:cubicBezTo>
                <a:cubicBezTo>
                  <a:pt x="30" y="168"/>
                  <a:pt x="27" y="144"/>
                  <a:pt x="32" y="121"/>
                </a:cubicBezTo>
                <a:cubicBezTo>
                  <a:pt x="45" y="65"/>
                  <a:pt x="101" y="29"/>
                  <a:pt x="157" y="41"/>
                </a:cubicBezTo>
                <a:cubicBezTo>
                  <a:pt x="214" y="54"/>
                  <a:pt x="250" y="110"/>
                  <a:pt x="237" y="166"/>
                </a:cubicBezTo>
                <a:cubicBezTo>
                  <a:pt x="232" y="189"/>
                  <a:pt x="220" y="210"/>
                  <a:pt x="201" y="225"/>
                </a:cubicBezTo>
                <a:cubicBezTo>
                  <a:pt x="185" y="238"/>
                  <a:pt x="170" y="252"/>
                  <a:pt x="156" y="267"/>
                </a:cubicBezTo>
                <a:close/>
                <a:moveTo>
                  <a:pt x="156" y="267"/>
                </a:moveTo>
                <a:cubicBezTo>
                  <a:pt x="156" y="267"/>
                  <a:pt x="156" y="267"/>
                  <a:pt x="156" y="267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55" name="ïṥḻïḍé">
            <a:extLst>
              <a:ext uri="{FF2B5EF4-FFF2-40B4-BE49-F238E27FC236}">
                <a16:creationId xmlns:a16="http://schemas.microsoft.com/office/drawing/2014/main" id="{337EBCD0-A9B3-41E0-BCFE-FE0020D429E2}"/>
              </a:ext>
            </a:extLst>
          </p:cNvPr>
          <p:cNvSpPr>
            <a:spLocks/>
          </p:cNvSpPr>
          <p:nvPr/>
        </p:nvSpPr>
        <p:spPr bwMode="auto">
          <a:xfrm>
            <a:off x="8320599" y="3072317"/>
            <a:ext cx="164990" cy="240146"/>
          </a:xfrm>
          <a:custGeom>
            <a:avLst/>
            <a:gdLst>
              <a:gd name="T0" fmla="*/ 69 w 119"/>
              <a:gd name="T1" fmla="*/ 7 h 173"/>
              <a:gd name="T2" fmla="*/ 7 w 119"/>
              <a:gd name="T3" fmla="*/ 86 h 173"/>
              <a:gd name="T4" fmla="*/ 10 w 119"/>
              <a:gd name="T5" fmla="*/ 145 h 173"/>
              <a:gd name="T6" fmla="*/ 20 w 119"/>
              <a:gd name="T7" fmla="*/ 153 h 173"/>
              <a:gd name="T8" fmla="*/ 29 w 119"/>
              <a:gd name="T9" fmla="*/ 169 h 173"/>
              <a:gd name="T10" fmla="*/ 52 w 119"/>
              <a:gd name="T11" fmla="*/ 162 h 173"/>
              <a:gd name="T12" fmla="*/ 59 w 119"/>
              <a:gd name="T13" fmla="*/ 161 h 173"/>
              <a:gd name="T14" fmla="*/ 73 w 119"/>
              <a:gd name="T15" fmla="*/ 124 h 173"/>
              <a:gd name="T16" fmla="*/ 112 w 119"/>
              <a:gd name="T17" fmla="*/ 74 h 173"/>
              <a:gd name="T18" fmla="*/ 38 w 119"/>
              <a:gd name="T19" fmla="*/ 65 h 173"/>
              <a:gd name="T20" fmla="*/ 50 w 119"/>
              <a:gd name="T21" fmla="*/ 71 h 173"/>
              <a:gd name="T22" fmla="*/ 54 w 119"/>
              <a:gd name="T23" fmla="*/ 72 h 173"/>
              <a:gd name="T24" fmla="*/ 64 w 119"/>
              <a:gd name="T25" fmla="*/ 73 h 173"/>
              <a:gd name="T26" fmla="*/ 67 w 119"/>
              <a:gd name="T27" fmla="*/ 75 h 173"/>
              <a:gd name="T28" fmla="*/ 54 w 119"/>
              <a:gd name="T29" fmla="*/ 112 h 173"/>
              <a:gd name="T30" fmla="*/ 61 w 119"/>
              <a:gd name="T31" fmla="*/ 125 h 173"/>
              <a:gd name="T32" fmla="*/ 25 w 119"/>
              <a:gd name="T33" fmla="*/ 127 h 173"/>
              <a:gd name="T34" fmla="*/ 61 w 119"/>
              <a:gd name="T35" fmla="*/ 125 h 173"/>
              <a:gd name="T36" fmla="*/ 24 w 119"/>
              <a:gd name="T37" fmla="*/ 132 h 173"/>
              <a:gd name="T38" fmla="*/ 56 w 119"/>
              <a:gd name="T39" fmla="*/ 149 h 173"/>
              <a:gd name="T40" fmla="*/ 66 w 119"/>
              <a:gd name="T41" fmla="*/ 115 h 173"/>
              <a:gd name="T42" fmla="*/ 83 w 119"/>
              <a:gd name="T43" fmla="*/ 71 h 173"/>
              <a:gd name="T44" fmla="*/ 76 w 119"/>
              <a:gd name="T45" fmla="*/ 67 h 173"/>
              <a:gd name="T46" fmla="*/ 69 w 119"/>
              <a:gd name="T47" fmla="*/ 69 h 173"/>
              <a:gd name="T48" fmla="*/ 65 w 119"/>
              <a:gd name="T49" fmla="*/ 58 h 173"/>
              <a:gd name="T50" fmla="*/ 53 w 119"/>
              <a:gd name="T51" fmla="*/ 65 h 173"/>
              <a:gd name="T52" fmla="*/ 45 w 119"/>
              <a:gd name="T53" fmla="*/ 57 h 173"/>
              <a:gd name="T54" fmla="*/ 38 w 119"/>
              <a:gd name="T55" fmla="*/ 59 h 173"/>
              <a:gd name="T56" fmla="*/ 30 w 119"/>
              <a:gd name="T57" fmla="*/ 59 h 173"/>
              <a:gd name="T58" fmla="*/ 27 w 119"/>
              <a:gd name="T59" fmla="*/ 106 h 173"/>
              <a:gd name="T60" fmla="*/ 13 w 119"/>
              <a:gd name="T61" fmla="*/ 52 h 173"/>
              <a:gd name="T62" fmla="*/ 101 w 119"/>
              <a:gd name="T63" fmla="*/ 71 h 173"/>
              <a:gd name="T64" fmla="*/ 66 w 119"/>
              <a:gd name="T65" fmla="*/ 115 h 173"/>
              <a:gd name="T66" fmla="*/ 66 w 119"/>
              <a:gd name="T67" fmla="*/ 115 h 1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19" h="173">
                <a:moveTo>
                  <a:pt x="112" y="74"/>
                </a:moveTo>
                <a:cubicBezTo>
                  <a:pt x="119" y="44"/>
                  <a:pt x="99" y="14"/>
                  <a:pt x="69" y="7"/>
                </a:cubicBezTo>
                <a:cubicBezTo>
                  <a:pt x="39" y="0"/>
                  <a:pt x="9" y="20"/>
                  <a:pt x="2" y="50"/>
                </a:cubicBezTo>
                <a:cubicBezTo>
                  <a:pt x="0" y="62"/>
                  <a:pt x="1" y="75"/>
                  <a:pt x="7" y="86"/>
                </a:cubicBezTo>
                <a:cubicBezTo>
                  <a:pt x="11" y="94"/>
                  <a:pt x="14" y="103"/>
                  <a:pt x="17" y="111"/>
                </a:cubicBezTo>
                <a:cubicBezTo>
                  <a:pt x="10" y="145"/>
                  <a:pt x="10" y="145"/>
                  <a:pt x="10" y="145"/>
                </a:cubicBezTo>
                <a:cubicBezTo>
                  <a:pt x="9" y="148"/>
                  <a:pt x="11" y="151"/>
                  <a:pt x="14" y="151"/>
                </a:cubicBezTo>
                <a:cubicBezTo>
                  <a:pt x="20" y="153"/>
                  <a:pt x="20" y="153"/>
                  <a:pt x="20" y="153"/>
                </a:cubicBezTo>
                <a:cubicBezTo>
                  <a:pt x="19" y="155"/>
                  <a:pt x="19" y="155"/>
                  <a:pt x="19" y="155"/>
                </a:cubicBezTo>
                <a:cubicBezTo>
                  <a:pt x="18" y="162"/>
                  <a:pt x="22" y="168"/>
                  <a:pt x="29" y="169"/>
                </a:cubicBezTo>
                <a:cubicBezTo>
                  <a:pt x="38" y="172"/>
                  <a:pt x="38" y="172"/>
                  <a:pt x="38" y="172"/>
                </a:cubicBezTo>
                <a:cubicBezTo>
                  <a:pt x="45" y="173"/>
                  <a:pt x="51" y="169"/>
                  <a:pt x="52" y="162"/>
                </a:cubicBezTo>
                <a:cubicBezTo>
                  <a:pt x="53" y="160"/>
                  <a:pt x="53" y="160"/>
                  <a:pt x="53" y="160"/>
                </a:cubicBezTo>
                <a:cubicBezTo>
                  <a:pt x="59" y="161"/>
                  <a:pt x="59" y="161"/>
                  <a:pt x="59" y="161"/>
                </a:cubicBezTo>
                <a:cubicBezTo>
                  <a:pt x="62" y="162"/>
                  <a:pt x="65" y="160"/>
                  <a:pt x="66" y="157"/>
                </a:cubicBezTo>
                <a:cubicBezTo>
                  <a:pt x="73" y="124"/>
                  <a:pt x="73" y="124"/>
                  <a:pt x="73" y="124"/>
                </a:cubicBezTo>
                <a:cubicBezTo>
                  <a:pt x="79" y="117"/>
                  <a:pt x="86" y="111"/>
                  <a:pt x="93" y="105"/>
                </a:cubicBezTo>
                <a:cubicBezTo>
                  <a:pt x="103" y="97"/>
                  <a:pt x="109" y="86"/>
                  <a:pt x="112" y="74"/>
                </a:cubicBezTo>
                <a:close/>
                <a:moveTo>
                  <a:pt x="39" y="109"/>
                </a:moveTo>
                <a:cubicBezTo>
                  <a:pt x="38" y="65"/>
                  <a:pt x="38" y="65"/>
                  <a:pt x="38" y="65"/>
                </a:cubicBezTo>
                <a:cubicBezTo>
                  <a:pt x="45" y="63"/>
                  <a:pt x="45" y="63"/>
                  <a:pt x="45" y="63"/>
                </a:cubicBezTo>
                <a:cubicBezTo>
                  <a:pt x="50" y="71"/>
                  <a:pt x="50" y="71"/>
                  <a:pt x="50" y="71"/>
                </a:cubicBezTo>
                <a:cubicBezTo>
                  <a:pt x="51" y="72"/>
                  <a:pt x="51" y="72"/>
                  <a:pt x="52" y="72"/>
                </a:cubicBezTo>
                <a:cubicBezTo>
                  <a:pt x="53" y="72"/>
                  <a:pt x="54" y="72"/>
                  <a:pt x="54" y="72"/>
                </a:cubicBezTo>
                <a:cubicBezTo>
                  <a:pt x="62" y="66"/>
                  <a:pt x="62" y="66"/>
                  <a:pt x="62" y="66"/>
                </a:cubicBezTo>
                <a:cubicBezTo>
                  <a:pt x="64" y="73"/>
                  <a:pt x="64" y="73"/>
                  <a:pt x="64" y="73"/>
                </a:cubicBezTo>
                <a:cubicBezTo>
                  <a:pt x="64" y="74"/>
                  <a:pt x="65" y="75"/>
                  <a:pt x="66" y="75"/>
                </a:cubicBezTo>
                <a:cubicBezTo>
                  <a:pt x="66" y="75"/>
                  <a:pt x="67" y="75"/>
                  <a:pt x="67" y="75"/>
                </a:cubicBezTo>
                <a:cubicBezTo>
                  <a:pt x="72" y="74"/>
                  <a:pt x="72" y="74"/>
                  <a:pt x="72" y="74"/>
                </a:cubicBezTo>
                <a:cubicBezTo>
                  <a:pt x="54" y="112"/>
                  <a:pt x="54" y="112"/>
                  <a:pt x="54" y="112"/>
                </a:cubicBezTo>
                <a:lnTo>
                  <a:pt x="39" y="109"/>
                </a:lnTo>
                <a:close/>
                <a:moveTo>
                  <a:pt x="61" y="125"/>
                </a:moveTo>
                <a:cubicBezTo>
                  <a:pt x="59" y="134"/>
                  <a:pt x="59" y="134"/>
                  <a:pt x="59" y="134"/>
                </a:cubicBezTo>
                <a:cubicBezTo>
                  <a:pt x="25" y="127"/>
                  <a:pt x="25" y="127"/>
                  <a:pt x="25" y="127"/>
                </a:cubicBezTo>
                <a:cubicBezTo>
                  <a:pt x="27" y="118"/>
                  <a:pt x="27" y="118"/>
                  <a:pt x="27" y="118"/>
                </a:cubicBezTo>
                <a:lnTo>
                  <a:pt x="61" y="125"/>
                </a:lnTo>
                <a:close/>
                <a:moveTo>
                  <a:pt x="22" y="142"/>
                </a:moveTo>
                <a:cubicBezTo>
                  <a:pt x="24" y="132"/>
                  <a:pt x="24" y="132"/>
                  <a:pt x="24" y="132"/>
                </a:cubicBezTo>
                <a:cubicBezTo>
                  <a:pt x="58" y="140"/>
                  <a:pt x="58" y="140"/>
                  <a:pt x="58" y="140"/>
                </a:cubicBezTo>
                <a:cubicBezTo>
                  <a:pt x="56" y="149"/>
                  <a:pt x="56" y="149"/>
                  <a:pt x="56" y="149"/>
                </a:cubicBezTo>
                <a:lnTo>
                  <a:pt x="22" y="142"/>
                </a:lnTo>
                <a:close/>
                <a:moveTo>
                  <a:pt x="66" y="115"/>
                </a:moveTo>
                <a:cubicBezTo>
                  <a:pt x="63" y="114"/>
                  <a:pt x="63" y="114"/>
                  <a:pt x="63" y="114"/>
                </a:cubicBezTo>
                <a:cubicBezTo>
                  <a:pt x="83" y="71"/>
                  <a:pt x="83" y="71"/>
                  <a:pt x="83" y="71"/>
                </a:cubicBezTo>
                <a:cubicBezTo>
                  <a:pt x="84" y="69"/>
                  <a:pt x="83" y="66"/>
                  <a:pt x="81" y="65"/>
                </a:cubicBezTo>
                <a:cubicBezTo>
                  <a:pt x="79" y="64"/>
                  <a:pt x="77" y="65"/>
                  <a:pt x="76" y="67"/>
                </a:cubicBezTo>
                <a:cubicBezTo>
                  <a:pt x="75" y="68"/>
                  <a:pt x="75" y="68"/>
                  <a:pt x="75" y="68"/>
                </a:cubicBezTo>
                <a:cubicBezTo>
                  <a:pt x="69" y="69"/>
                  <a:pt x="69" y="69"/>
                  <a:pt x="69" y="69"/>
                </a:cubicBezTo>
                <a:cubicBezTo>
                  <a:pt x="66" y="60"/>
                  <a:pt x="66" y="60"/>
                  <a:pt x="66" y="60"/>
                </a:cubicBezTo>
                <a:cubicBezTo>
                  <a:pt x="66" y="59"/>
                  <a:pt x="65" y="58"/>
                  <a:pt x="65" y="58"/>
                </a:cubicBezTo>
                <a:cubicBezTo>
                  <a:pt x="64" y="58"/>
                  <a:pt x="63" y="58"/>
                  <a:pt x="62" y="59"/>
                </a:cubicBezTo>
                <a:cubicBezTo>
                  <a:pt x="53" y="65"/>
                  <a:pt x="53" y="65"/>
                  <a:pt x="53" y="65"/>
                </a:cubicBezTo>
                <a:cubicBezTo>
                  <a:pt x="48" y="58"/>
                  <a:pt x="48" y="58"/>
                  <a:pt x="48" y="58"/>
                </a:cubicBezTo>
                <a:cubicBezTo>
                  <a:pt x="47" y="57"/>
                  <a:pt x="46" y="56"/>
                  <a:pt x="45" y="57"/>
                </a:cubicBezTo>
                <a:cubicBezTo>
                  <a:pt x="38" y="59"/>
                  <a:pt x="38" y="59"/>
                  <a:pt x="38" y="59"/>
                </a:cubicBezTo>
                <a:cubicBezTo>
                  <a:pt x="38" y="59"/>
                  <a:pt x="38" y="59"/>
                  <a:pt x="38" y="59"/>
                </a:cubicBezTo>
                <a:cubicBezTo>
                  <a:pt x="38" y="57"/>
                  <a:pt x="36" y="55"/>
                  <a:pt x="34" y="55"/>
                </a:cubicBezTo>
                <a:cubicBezTo>
                  <a:pt x="32" y="55"/>
                  <a:pt x="30" y="57"/>
                  <a:pt x="30" y="59"/>
                </a:cubicBezTo>
                <a:cubicBezTo>
                  <a:pt x="30" y="107"/>
                  <a:pt x="30" y="107"/>
                  <a:pt x="30" y="107"/>
                </a:cubicBezTo>
                <a:cubicBezTo>
                  <a:pt x="27" y="106"/>
                  <a:pt x="27" y="106"/>
                  <a:pt x="27" y="106"/>
                </a:cubicBezTo>
                <a:cubicBezTo>
                  <a:pt x="24" y="98"/>
                  <a:pt x="21" y="89"/>
                  <a:pt x="17" y="81"/>
                </a:cubicBezTo>
                <a:cubicBezTo>
                  <a:pt x="12" y="72"/>
                  <a:pt x="11" y="62"/>
                  <a:pt x="13" y="52"/>
                </a:cubicBezTo>
                <a:cubicBezTo>
                  <a:pt x="19" y="28"/>
                  <a:pt x="43" y="13"/>
                  <a:pt x="67" y="18"/>
                </a:cubicBezTo>
                <a:cubicBezTo>
                  <a:pt x="91" y="23"/>
                  <a:pt x="106" y="47"/>
                  <a:pt x="101" y="71"/>
                </a:cubicBezTo>
                <a:cubicBezTo>
                  <a:pt x="99" y="81"/>
                  <a:pt x="94" y="90"/>
                  <a:pt x="86" y="96"/>
                </a:cubicBezTo>
                <a:cubicBezTo>
                  <a:pt x="79" y="102"/>
                  <a:pt x="72" y="108"/>
                  <a:pt x="66" y="115"/>
                </a:cubicBezTo>
                <a:close/>
                <a:moveTo>
                  <a:pt x="66" y="115"/>
                </a:moveTo>
                <a:cubicBezTo>
                  <a:pt x="66" y="115"/>
                  <a:pt x="66" y="115"/>
                  <a:pt x="66" y="115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56" name="iŝḻîḑe">
            <a:extLst>
              <a:ext uri="{FF2B5EF4-FFF2-40B4-BE49-F238E27FC236}">
                <a16:creationId xmlns:a16="http://schemas.microsoft.com/office/drawing/2014/main" id="{8F6F4C53-7627-46BB-BFA8-4498A3FB4EBD}"/>
              </a:ext>
            </a:extLst>
          </p:cNvPr>
          <p:cNvSpPr>
            <a:spLocks/>
          </p:cNvSpPr>
          <p:nvPr/>
        </p:nvSpPr>
        <p:spPr bwMode="auto">
          <a:xfrm>
            <a:off x="8971167" y="1821091"/>
            <a:ext cx="524916" cy="513760"/>
          </a:xfrm>
          <a:custGeom>
            <a:avLst/>
            <a:gdLst>
              <a:gd name="T0" fmla="*/ 251 w 378"/>
              <a:gd name="T1" fmla="*/ 53 h 370"/>
              <a:gd name="T2" fmla="*/ 54 w 378"/>
              <a:gd name="T3" fmla="*/ 58 h 370"/>
              <a:gd name="T4" fmla="*/ 58 w 378"/>
              <a:gd name="T5" fmla="*/ 255 h 370"/>
              <a:gd name="T6" fmla="*/ 236 w 378"/>
              <a:gd name="T7" fmla="*/ 267 h 370"/>
              <a:gd name="T8" fmla="*/ 245 w 378"/>
              <a:gd name="T9" fmla="*/ 281 h 370"/>
              <a:gd name="T10" fmla="*/ 325 w 378"/>
              <a:gd name="T11" fmla="*/ 359 h 370"/>
              <a:gd name="T12" fmla="*/ 367 w 378"/>
              <a:gd name="T13" fmla="*/ 358 h 370"/>
              <a:gd name="T14" fmla="*/ 366 w 378"/>
              <a:gd name="T15" fmla="*/ 316 h 370"/>
              <a:gd name="T16" fmla="*/ 285 w 378"/>
              <a:gd name="T17" fmla="*/ 239 h 370"/>
              <a:gd name="T18" fmla="*/ 270 w 378"/>
              <a:gd name="T19" fmla="*/ 231 h 370"/>
              <a:gd name="T20" fmla="*/ 251 w 378"/>
              <a:gd name="T21" fmla="*/ 53 h 370"/>
              <a:gd name="T22" fmla="*/ 229 w 378"/>
              <a:gd name="T23" fmla="*/ 226 h 370"/>
              <a:gd name="T24" fmla="*/ 82 w 378"/>
              <a:gd name="T25" fmla="*/ 229 h 370"/>
              <a:gd name="T26" fmla="*/ 79 w 378"/>
              <a:gd name="T27" fmla="*/ 82 h 370"/>
              <a:gd name="T28" fmla="*/ 226 w 378"/>
              <a:gd name="T29" fmla="*/ 79 h 370"/>
              <a:gd name="T30" fmla="*/ 229 w 378"/>
              <a:gd name="T31" fmla="*/ 226 h 370"/>
              <a:gd name="T32" fmla="*/ 229 w 378"/>
              <a:gd name="T33" fmla="*/ 226 h 370"/>
              <a:gd name="T34" fmla="*/ 229 w 378"/>
              <a:gd name="T35" fmla="*/ 226 h 3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378" h="370">
                <a:moveTo>
                  <a:pt x="251" y="53"/>
                </a:moveTo>
                <a:cubicBezTo>
                  <a:pt x="195" y="0"/>
                  <a:pt x="107" y="2"/>
                  <a:pt x="54" y="58"/>
                </a:cubicBezTo>
                <a:cubicBezTo>
                  <a:pt x="0" y="113"/>
                  <a:pt x="2" y="201"/>
                  <a:pt x="58" y="255"/>
                </a:cubicBezTo>
                <a:cubicBezTo>
                  <a:pt x="107" y="302"/>
                  <a:pt x="183" y="306"/>
                  <a:pt x="236" y="267"/>
                </a:cubicBezTo>
                <a:cubicBezTo>
                  <a:pt x="237" y="272"/>
                  <a:pt x="240" y="277"/>
                  <a:pt x="245" y="281"/>
                </a:cubicBezTo>
                <a:cubicBezTo>
                  <a:pt x="325" y="359"/>
                  <a:pt x="325" y="359"/>
                  <a:pt x="325" y="359"/>
                </a:cubicBezTo>
                <a:cubicBezTo>
                  <a:pt x="337" y="370"/>
                  <a:pt x="356" y="370"/>
                  <a:pt x="367" y="358"/>
                </a:cubicBezTo>
                <a:cubicBezTo>
                  <a:pt x="378" y="346"/>
                  <a:pt x="378" y="327"/>
                  <a:pt x="366" y="316"/>
                </a:cubicBezTo>
                <a:cubicBezTo>
                  <a:pt x="285" y="239"/>
                  <a:pt x="285" y="239"/>
                  <a:pt x="285" y="239"/>
                </a:cubicBezTo>
                <a:cubicBezTo>
                  <a:pt x="281" y="235"/>
                  <a:pt x="276" y="232"/>
                  <a:pt x="270" y="231"/>
                </a:cubicBezTo>
                <a:cubicBezTo>
                  <a:pt x="307" y="176"/>
                  <a:pt x="300" y="101"/>
                  <a:pt x="251" y="53"/>
                </a:cubicBezTo>
                <a:close/>
                <a:moveTo>
                  <a:pt x="229" y="226"/>
                </a:moveTo>
                <a:cubicBezTo>
                  <a:pt x="190" y="267"/>
                  <a:pt x="124" y="269"/>
                  <a:pt x="82" y="229"/>
                </a:cubicBezTo>
                <a:cubicBezTo>
                  <a:pt x="41" y="189"/>
                  <a:pt x="39" y="123"/>
                  <a:pt x="79" y="82"/>
                </a:cubicBezTo>
                <a:cubicBezTo>
                  <a:pt x="119" y="41"/>
                  <a:pt x="185" y="39"/>
                  <a:pt x="226" y="79"/>
                </a:cubicBezTo>
                <a:cubicBezTo>
                  <a:pt x="268" y="119"/>
                  <a:pt x="269" y="185"/>
                  <a:pt x="229" y="226"/>
                </a:cubicBezTo>
                <a:close/>
                <a:moveTo>
                  <a:pt x="229" y="226"/>
                </a:moveTo>
                <a:cubicBezTo>
                  <a:pt x="229" y="226"/>
                  <a:pt x="229" y="226"/>
                  <a:pt x="229" y="226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57" name="ïṧļîďe">
            <a:extLst>
              <a:ext uri="{FF2B5EF4-FFF2-40B4-BE49-F238E27FC236}">
                <a16:creationId xmlns:a16="http://schemas.microsoft.com/office/drawing/2014/main" id="{F88349F4-B4C6-4DD1-B65E-CF4C38C56D0A}"/>
              </a:ext>
            </a:extLst>
          </p:cNvPr>
          <p:cNvSpPr>
            <a:spLocks/>
          </p:cNvSpPr>
          <p:nvPr/>
        </p:nvSpPr>
        <p:spPr bwMode="auto">
          <a:xfrm>
            <a:off x="11111931" y="2720611"/>
            <a:ext cx="198458" cy="220770"/>
          </a:xfrm>
          <a:custGeom>
            <a:avLst/>
            <a:gdLst>
              <a:gd name="T0" fmla="*/ 71 w 143"/>
              <a:gd name="T1" fmla="*/ 17 h 159"/>
              <a:gd name="T2" fmla="*/ 70 w 143"/>
              <a:gd name="T3" fmla="*/ 14 h 159"/>
              <a:gd name="T4" fmla="*/ 61 w 143"/>
              <a:gd name="T5" fmla="*/ 11 h 159"/>
              <a:gd name="T6" fmla="*/ 51 w 143"/>
              <a:gd name="T7" fmla="*/ 15 h 159"/>
              <a:gd name="T8" fmla="*/ 50 w 143"/>
              <a:gd name="T9" fmla="*/ 9 h 159"/>
              <a:gd name="T10" fmla="*/ 33 w 143"/>
              <a:gd name="T11" fmla="*/ 3 h 159"/>
              <a:gd name="T12" fmla="*/ 27 w 143"/>
              <a:gd name="T13" fmla="*/ 20 h 159"/>
              <a:gd name="T14" fmla="*/ 31 w 143"/>
              <a:gd name="T15" fmla="*/ 24 h 159"/>
              <a:gd name="T16" fmla="*/ 23 w 143"/>
              <a:gd name="T17" fmla="*/ 28 h 159"/>
              <a:gd name="T18" fmla="*/ 19 w 143"/>
              <a:gd name="T19" fmla="*/ 37 h 159"/>
              <a:gd name="T20" fmla="*/ 21 w 143"/>
              <a:gd name="T21" fmla="*/ 40 h 159"/>
              <a:gd name="T22" fmla="*/ 7 w 143"/>
              <a:gd name="T23" fmla="*/ 46 h 159"/>
              <a:gd name="T24" fmla="*/ 2 w 143"/>
              <a:gd name="T25" fmla="*/ 60 h 159"/>
              <a:gd name="T26" fmla="*/ 44 w 143"/>
              <a:gd name="T27" fmla="*/ 152 h 159"/>
              <a:gd name="T28" fmla="*/ 58 w 143"/>
              <a:gd name="T29" fmla="*/ 157 h 159"/>
              <a:gd name="T30" fmla="*/ 136 w 143"/>
              <a:gd name="T31" fmla="*/ 121 h 159"/>
              <a:gd name="T32" fmla="*/ 141 w 143"/>
              <a:gd name="T33" fmla="*/ 107 h 159"/>
              <a:gd name="T34" fmla="*/ 99 w 143"/>
              <a:gd name="T35" fmla="*/ 16 h 159"/>
              <a:gd name="T36" fmla="*/ 85 w 143"/>
              <a:gd name="T37" fmla="*/ 11 h 159"/>
              <a:gd name="T38" fmla="*/ 71 w 143"/>
              <a:gd name="T39" fmla="*/ 17 h 159"/>
              <a:gd name="T40" fmla="*/ 32 w 143"/>
              <a:gd name="T41" fmla="*/ 18 h 159"/>
              <a:gd name="T42" fmla="*/ 35 w 143"/>
              <a:gd name="T43" fmla="*/ 8 h 159"/>
              <a:gd name="T44" fmla="*/ 45 w 143"/>
              <a:gd name="T45" fmla="*/ 12 h 159"/>
              <a:gd name="T46" fmla="*/ 45 w 143"/>
              <a:gd name="T47" fmla="*/ 18 h 159"/>
              <a:gd name="T48" fmla="*/ 37 w 143"/>
              <a:gd name="T49" fmla="*/ 22 h 159"/>
              <a:gd name="T50" fmla="*/ 32 w 143"/>
              <a:gd name="T51" fmla="*/ 18 h 159"/>
              <a:gd name="T52" fmla="*/ 129 w 143"/>
              <a:gd name="T53" fmla="*/ 106 h 159"/>
              <a:gd name="T54" fmla="*/ 126 w 143"/>
              <a:gd name="T55" fmla="*/ 114 h 159"/>
              <a:gd name="T56" fmla="*/ 59 w 143"/>
              <a:gd name="T57" fmla="*/ 145 h 159"/>
              <a:gd name="T58" fmla="*/ 51 w 143"/>
              <a:gd name="T59" fmla="*/ 142 h 159"/>
              <a:gd name="T60" fmla="*/ 14 w 143"/>
              <a:gd name="T61" fmla="*/ 61 h 159"/>
              <a:gd name="T62" fmla="*/ 17 w 143"/>
              <a:gd name="T63" fmla="*/ 53 h 159"/>
              <a:gd name="T64" fmla="*/ 25 w 143"/>
              <a:gd name="T65" fmla="*/ 50 h 159"/>
              <a:gd name="T66" fmla="*/ 32 w 143"/>
              <a:gd name="T67" fmla="*/ 52 h 159"/>
              <a:gd name="T68" fmla="*/ 73 w 143"/>
              <a:gd name="T69" fmla="*/ 33 h 159"/>
              <a:gd name="T70" fmla="*/ 76 w 143"/>
              <a:gd name="T71" fmla="*/ 26 h 159"/>
              <a:gd name="T72" fmla="*/ 84 w 143"/>
              <a:gd name="T73" fmla="*/ 23 h 159"/>
              <a:gd name="T74" fmla="*/ 92 w 143"/>
              <a:gd name="T75" fmla="*/ 26 h 159"/>
              <a:gd name="T76" fmla="*/ 129 w 143"/>
              <a:gd name="T77" fmla="*/ 106 h 159"/>
              <a:gd name="T78" fmla="*/ 129 w 143"/>
              <a:gd name="T79" fmla="*/ 106 h 159"/>
              <a:gd name="T80" fmla="*/ 129 w 143"/>
              <a:gd name="T81" fmla="*/ 106 h 1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43" h="159">
                <a:moveTo>
                  <a:pt x="71" y="17"/>
                </a:moveTo>
                <a:cubicBezTo>
                  <a:pt x="70" y="14"/>
                  <a:pt x="70" y="14"/>
                  <a:pt x="70" y="14"/>
                </a:cubicBezTo>
                <a:cubicBezTo>
                  <a:pt x="69" y="11"/>
                  <a:pt x="64" y="9"/>
                  <a:pt x="61" y="11"/>
                </a:cubicBezTo>
                <a:cubicBezTo>
                  <a:pt x="51" y="15"/>
                  <a:pt x="51" y="15"/>
                  <a:pt x="51" y="15"/>
                </a:cubicBezTo>
                <a:cubicBezTo>
                  <a:pt x="51" y="13"/>
                  <a:pt x="51" y="11"/>
                  <a:pt x="50" y="9"/>
                </a:cubicBezTo>
                <a:cubicBezTo>
                  <a:pt x="47" y="3"/>
                  <a:pt x="40" y="0"/>
                  <a:pt x="33" y="3"/>
                </a:cubicBezTo>
                <a:cubicBezTo>
                  <a:pt x="27" y="6"/>
                  <a:pt x="24" y="14"/>
                  <a:pt x="27" y="20"/>
                </a:cubicBezTo>
                <a:cubicBezTo>
                  <a:pt x="28" y="22"/>
                  <a:pt x="29" y="23"/>
                  <a:pt x="31" y="24"/>
                </a:cubicBezTo>
                <a:cubicBezTo>
                  <a:pt x="23" y="28"/>
                  <a:pt x="23" y="28"/>
                  <a:pt x="23" y="28"/>
                </a:cubicBezTo>
                <a:cubicBezTo>
                  <a:pt x="19" y="30"/>
                  <a:pt x="18" y="34"/>
                  <a:pt x="19" y="37"/>
                </a:cubicBezTo>
                <a:cubicBezTo>
                  <a:pt x="21" y="40"/>
                  <a:pt x="21" y="40"/>
                  <a:pt x="21" y="40"/>
                </a:cubicBezTo>
                <a:cubicBezTo>
                  <a:pt x="7" y="46"/>
                  <a:pt x="7" y="46"/>
                  <a:pt x="7" y="46"/>
                </a:cubicBezTo>
                <a:cubicBezTo>
                  <a:pt x="2" y="49"/>
                  <a:pt x="0" y="55"/>
                  <a:pt x="2" y="60"/>
                </a:cubicBezTo>
                <a:cubicBezTo>
                  <a:pt x="44" y="152"/>
                  <a:pt x="44" y="152"/>
                  <a:pt x="44" y="152"/>
                </a:cubicBezTo>
                <a:cubicBezTo>
                  <a:pt x="46" y="157"/>
                  <a:pt x="52" y="159"/>
                  <a:pt x="58" y="157"/>
                </a:cubicBezTo>
                <a:cubicBezTo>
                  <a:pt x="136" y="121"/>
                  <a:pt x="136" y="121"/>
                  <a:pt x="136" y="121"/>
                </a:cubicBezTo>
                <a:cubicBezTo>
                  <a:pt x="141" y="119"/>
                  <a:pt x="143" y="113"/>
                  <a:pt x="141" y="107"/>
                </a:cubicBezTo>
                <a:cubicBezTo>
                  <a:pt x="99" y="16"/>
                  <a:pt x="99" y="16"/>
                  <a:pt x="99" y="16"/>
                </a:cubicBezTo>
                <a:cubicBezTo>
                  <a:pt x="96" y="11"/>
                  <a:pt x="90" y="8"/>
                  <a:pt x="85" y="11"/>
                </a:cubicBezTo>
                <a:lnTo>
                  <a:pt x="71" y="17"/>
                </a:lnTo>
                <a:close/>
                <a:moveTo>
                  <a:pt x="32" y="18"/>
                </a:moveTo>
                <a:cubicBezTo>
                  <a:pt x="30" y="14"/>
                  <a:pt x="32" y="10"/>
                  <a:pt x="35" y="8"/>
                </a:cubicBezTo>
                <a:cubicBezTo>
                  <a:pt x="39" y="6"/>
                  <a:pt x="44" y="8"/>
                  <a:pt x="45" y="12"/>
                </a:cubicBezTo>
                <a:cubicBezTo>
                  <a:pt x="46" y="14"/>
                  <a:pt x="46" y="16"/>
                  <a:pt x="45" y="18"/>
                </a:cubicBezTo>
                <a:cubicBezTo>
                  <a:pt x="37" y="22"/>
                  <a:pt x="37" y="22"/>
                  <a:pt x="37" y="22"/>
                </a:cubicBezTo>
                <a:cubicBezTo>
                  <a:pt x="35" y="21"/>
                  <a:pt x="33" y="20"/>
                  <a:pt x="32" y="18"/>
                </a:cubicBezTo>
                <a:close/>
                <a:moveTo>
                  <a:pt x="129" y="106"/>
                </a:moveTo>
                <a:cubicBezTo>
                  <a:pt x="130" y="109"/>
                  <a:pt x="129" y="113"/>
                  <a:pt x="126" y="114"/>
                </a:cubicBezTo>
                <a:cubicBezTo>
                  <a:pt x="59" y="145"/>
                  <a:pt x="59" y="145"/>
                  <a:pt x="59" y="145"/>
                </a:cubicBezTo>
                <a:cubicBezTo>
                  <a:pt x="56" y="146"/>
                  <a:pt x="52" y="145"/>
                  <a:pt x="51" y="142"/>
                </a:cubicBezTo>
                <a:cubicBezTo>
                  <a:pt x="14" y="61"/>
                  <a:pt x="14" y="61"/>
                  <a:pt x="14" y="61"/>
                </a:cubicBezTo>
                <a:cubicBezTo>
                  <a:pt x="13" y="58"/>
                  <a:pt x="14" y="55"/>
                  <a:pt x="17" y="53"/>
                </a:cubicBezTo>
                <a:cubicBezTo>
                  <a:pt x="25" y="50"/>
                  <a:pt x="25" y="50"/>
                  <a:pt x="25" y="50"/>
                </a:cubicBezTo>
                <a:cubicBezTo>
                  <a:pt x="26" y="52"/>
                  <a:pt x="29" y="53"/>
                  <a:pt x="32" y="52"/>
                </a:cubicBezTo>
                <a:cubicBezTo>
                  <a:pt x="73" y="33"/>
                  <a:pt x="73" y="33"/>
                  <a:pt x="73" y="33"/>
                </a:cubicBezTo>
                <a:cubicBezTo>
                  <a:pt x="76" y="32"/>
                  <a:pt x="77" y="29"/>
                  <a:pt x="76" y="26"/>
                </a:cubicBezTo>
                <a:cubicBezTo>
                  <a:pt x="84" y="23"/>
                  <a:pt x="84" y="23"/>
                  <a:pt x="84" y="23"/>
                </a:cubicBezTo>
                <a:cubicBezTo>
                  <a:pt x="87" y="21"/>
                  <a:pt x="90" y="23"/>
                  <a:pt x="92" y="26"/>
                </a:cubicBezTo>
                <a:lnTo>
                  <a:pt x="129" y="106"/>
                </a:lnTo>
                <a:close/>
                <a:moveTo>
                  <a:pt x="129" y="106"/>
                </a:moveTo>
                <a:cubicBezTo>
                  <a:pt x="129" y="106"/>
                  <a:pt x="129" y="106"/>
                  <a:pt x="129" y="106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58" name="íşľïdè">
            <a:extLst>
              <a:ext uri="{FF2B5EF4-FFF2-40B4-BE49-F238E27FC236}">
                <a16:creationId xmlns:a16="http://schemas.microsoft.com/office/drawing/2014/main" id="{36DA7F71-71FC-4605-99C2-782FBD72B4F8}"/>
              </a:ext>
            </a:extLst>
          </p:cNvPr>
          <p:cNvSpPr>
            <a:spLocks/>
          </p:cNvSpPr>
          <p:nvPr/>
        </p:nvSpPr>
        <p:spPr bwMode="auto">
          <a:xfrm>
            <a:off x="11151271" y="2801638"/>
            <a:ext cx="27596" cy="28770"/>
          </a:xfrm>
          <a:custGeom>
            <a:avLst/>
            <a:gdLst>
              <a:gd name="T0" fmla="*/ 18 w 20"/>
              <a:gd name="T1" fmla="*/ 7 h 21"/>
              <a:gd name="T2" fmla="*/ 14 w 20"/>
              <a:gd name="T3" fmla="*/ 19 h 21"/>
              <a:gd name="T4" fmla="*/ 2 w 20"/>
              <a:gd name="T5" fmla="*/ 14 h 21"/>
              <a:gd name="T6" fmla="*/ 6 w 20"/>
              <a:gd name="T7" fmla="*/ 2 h 21"/>
              <a:gd name="T8" fmla="*/ 18 w 20"/>
              <a:gd name="T9" fmla="*/ 7 h 21"/>
              <a:gd name="T10" fmla="*/ 18 w 20"/>
              <a:gd name="T11" fmla="*/ 7 h 21"/>
              <a:gd name="T12" fmla="*/ 18 w 20"/>
              <a:gd name="T13" fmla="*/ 7 h 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0" h="21">
                <a:moveTo>
                  <a:pt x="18" y="7"/>
                </a:moveTo>
                <a:cubicBezTo>
                  <a:pt x="20" y="11"/>
                  <a:pt x="18" y="17"/>
                  <a:pt x="14" y="19"/>
                </a:cubicBezTo>
                <a:cubicBezTo>
                  <a:pt x="9" y="21"/>
                  <a:pt x="4" y="19"/>
                  <a:pt x="2" y="14"/>
                </a:cubicBezTo>
                <a:cubicBezTo>
                  <a:pt x="0" y="10"/>
                  <a:pt x="2" y="5"/>
                  <a:pt x="6" y="2"/>
                </a:cubicBezTo>
                <a:cubicBezTo>
                  <a:pt x="11" y="0"/>
                  <a:pt x="16" y="2"/>
                  <a:pt x="18" y="7"/>
                </a:cubicBezTo>
                <a:close/>
                <a:moveTo>
                  <a:pt x="18" y="7"/>
                </a:moveTo>
                <a:cubicBezTo>
                  <a:pt x="18" y="7"/>
                  <a:pt x="18" y="7"/>
                  <a:pt x="18" y="7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59" name="îṩ1iḑe">
            <a:extLst>
              <a:ext uri="{FF2B5EF4-FFF2-40B4-BE49-F238E27FC236}">
                <a16:creationId xmlns:a16="http://schemas.microsoft.com/office/drawing/2014/main" id="{B43AECE4-A5FA-446F-8AA5-DD5BD42DB60A}"/>
              </a:ext>
            </a:extLst>
          </p:cNvPr>
          <p:cNvSpPr>
            <a:spLocks/>
          </p:cNvSpPr>
          <p:nvPr/>
        </p:nvSpPr>
        <p:spPr bwMode="auto">
          <a:xfrm>
            <a:off x="11182977" y="2779327"/>
            <a:ext cx="54018" cy="33468"/>
          </a:xfrm>
          <a:custGeom>
            <a:avLst/>
            <a:gdLst>
              <a:gd name="T0" fmla="*/ 31 w 39"/>
              <a:gd name="T1" fmla="*/ 1 h 24"/>
              <a:gd name="T2" fmla="*/ 3 w 39"/>
              <a:gd name="T3" fmla="*/ 14 h 24"/>
              <a:gd name="T4" fmla="*/ 1 w 39"/>
              <a:gd name="T5" fmla="*/ 20 h 24"/>
              <a:gd name="T6" fmla="*/ 7 w 39"/>
              <a:gd name="T7" fmla="*/ 23 h 24"/>
              <a:gd name="T8" fmla="*/ 35 w 39"/>
              <a:gd name="T9" fmla="*/ 10 h 24"/>
              <a:gd name="T10" fmla="*/ 38 w 39"/>
              <a:gd name="T11" fmla="*/ 3 h 24"/>
              <a:gd name="T12" fmla="*/ 31 w 39"/>
              <a:gd name="T13" fmla="*/ 1 h 24"/>
              <a:gd name="T14" fmla="*/ 31 w 39"/>
              <a:gd name="T15" fmla="*/ 1 h 24"/>
              <a:gd name="T16" fmla="*/ 31 w 39"/>
              <a:gd name="T17" fmla="*/ 1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9" h="24">
                <a:moveTo>
                  <a:pt x="31" y="1"/>
                </a:moveTo>
                <a:cubicBezTo>
                  <a:pt x="3" y="14"/>
                  <a:pt x="3" y="14"/>
                  <a:pt x="3" y="14"/>
                </a:cubicBezTo>
                <a:cubicBezTo>
                  <a:pt x="1" y="15"/>
                  <a:pt x="0" y="18"/>
                  <a:pt x="1" y="20"/>
                </a:cubicBezTo>
                <a:cubicBezTo>
                  <a:pt x="2" y="23"/>
                  <a:pt x="5" y="24"/>
                  <a:pt x="7" y="23"/>
                </a:cubicBezTo>
                <a:cubicBezTo>
                  <a:pt x="35" y="10"/>
                  <a:pt x="35" y="10"/>
                  <a:pt x="35" y="10"/>
                </a:cubicBezTo>
                <a:cubicBezTo>
                  <a:pt x="38" y="9"/>
                  <a:pt x="39" y="6"/>
                  <a:pt x="38" y="3"/>
                </a:cubicBezTo>
                <a:cubicBezTo>
                  <a:pt x="36" y="1"/>
                  <a:pt x="33" y="0"/>
                  <a:pt x="31" y="1"/>
                </a:cubicBezTo>
                <a:close/>
                <a:moveTo>
                  <a:pt x="31" y="1"/>
                </a:moveTo>
                <a:cubicBezTo>
                  <a:pt x="31" y="1"/>
                  <a:pt x="31" y="1"/>
                  <a:pt x="31" y="1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60" name="iSḻîḍè">
            <a:extLst>
              <a:ext uri="{FF2B5EF4-FFF2-40B4-BE49-F238E27FC236}">
                <a16:creationId xmlns:a16="http://schemas.microsoft.com/office/drawing/2014/main" id="{AE97F6ED-71BD-4147-95AB-0CB65F39C1E5}"/>
              </a:ext>
            </a:extLst>
          </p:cNvPr>
          <p:cNvSpPr>
            <a:spLocks/>
          </p:cNvSpPr>
          <p:nvPr/>
        </p:nvSpPr>
        <p:spPr bwMode="auto">
          <a:xfrm>
            <a:off x="11164775" y="2833345"/>
            <a:ext cx="29358" cy="29358"/>
          </a:xfrm>
          <a:custGeom>
            <a:avLst/>
            <a:gdLst>
              <a:gd name="T0" fmla="*/ 19 w 21"/>
              <a:gd name="T1" fmla="*/ 7 h 21"/>
              <a:gd name="T2" fmla="*/ 14 w 21"/>
              <a:gd name="T3" fmla="*/ 19 h 21"/>
              <a:gd name="T4" fmla="*/ 2 w 21"/>
              <a:gd name="T5" fmla="*/ 14 h 21"/>
              <a:gd name="T6" fmla="*/ 7 w 21"/>
              <a:gd name="T7" fmla="*/ 2 h 21"/>
              <a:gd name="T8" fmla="*/ 19 w 21"/>
              <a:gd name="T9" fmla="*/ 7 h 21"/>
              <a:gd name="T10" fmla="*/ 19 w 21"/>
              <a:gd name="T11" fmla="*/ 7 h 21"/>
              <a:gd name="T12" fmla="*/ 19 w 21"/>
              <a:gd name="T13" fmla="*/ 7 h 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1" h="21">
                <a:moveTo>
                  <a:pt x="19" y="7"/>
                </a:moveTo>
                <a:cubicBezTo>
                  <a:pt x="21" y="11"/>
                  <a:pt x="19" y="16"/>
                  <a:pt x="14" y="19"/>
                </a:cubicBezTo>
                <a:cubicBezTo>
                  <a:pt x="10" y="21"/>
                  <a:pt x="4" y="19"/>
                  <a:pt x="2" y="14"/>
                </a:cubicBezTo>
                <a:cubicBezTo>
                  <a:pt x="0" y="10"/>
                  <a:pt x="2" y="4"/>
                  <a:pt x="7" y="2"/>
                </a:cubicBezTo>
                <a:cubicBezTo>
                  <a:pt x="11" y="0"/>
                  <a:pt x="17" y="2"/>
                  <a:pt x="19" y="7"/>
                </a:cubicBezTo>
                <a:close/>
                <a:moveTo>
                  <a:pt x="19" y="7"/>
                </a:moveTo>
                <a:cubicBezTo>
                  <a:pt x="19" y="7"/>
                  <a:pt x="19" y="7"/>
                  <a:pt x="19" y="7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61" name="îslíḓé">
            <a:extLst>
              <a:ext uri="{FF2B5EF4-FFF2-40B4-BE49-F238E27FC236}">
                <a16:creationId xmlns:a16="http://schemas.microsoft.com/office/drawing/2014/main" id="{421DA01C-4ADF-4723-BBCD-DBF004F71BCD}"/>
              </a:ext>
            </a:extLst>
          </p:cNvPr>
          <p:cNvSpPr>
            <a:spLocks/>
          </p:cNvSpPr>
          <p:nvPr/>
        </p:nvSpPr>
        <p:spPr bwMode="auto">
          <a:xfrm>
            <a:off x="11197068" y="2811033"/>
            <a:ext cx="54018" cy="33468"/>
          </a:xfrm>
          <a:custGeom>
            <a:avLst/>
            <a:gdLst>
              <a:gd name="T0" fmla="*/ 31 w 39"/>
              <a:gd name="T1" fmla="*/ 1 h 24"/>
              <a:gd name="T2" fmla="*/ 4 w 39"/>
              <a:gd name="T3" fmla="*/ 13 h 24"/>
              <a:gd name="T4" fmla="*/ 1 w 39"/>
              <a:gd name="T5" fmla="*/ 20 h 24"/>
              <a:gd name="T6" fmla="*/ 8 w 39"/>
              <a:gd name="T7" fmla="*/ 23 h 24"/>
              <a:gd name="T8" fmla="*/ 36 w 39"/>
              <a:gd name="T9" fmla="*/ 10 h 24"/>
              <a:gd name="T10" fmla="*/ 38 w 39"/>
              <a:gd name="T11" fmla="*/ 3 h 24"/>
              <a:gd name="T12" fmla="*/ 31 w 39"/>
              <a:gd name="T13" fmla="*/ 1 h 24"/>
              <a:gd name="T14" fmla="*/ 31 w 39"/>
              <a:gd name="T15" fmla="*/ 1 h 24"/>
              <a:gd name="T16" fmla="*/ 31 w 39"/>
              <a:gd name="T17" fmla="*/ 1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9" h="24">
                <a:moveTo>
                  <a:pt x="31" y="1"/>
                </a:moveTo>
                <a:cubicBezTo>
                  <a:pt x="4" y="13"/>
                  <a:pt x="4" y="13"/>
                  <a:pt x="4" y="13"/>
                </a:cubicBezTo>
                <a:cubicBezTo>
                  <a:pt x="1" y="15"/>
                  <a:pt x="0" y="18"/>
                  <a:pt x="1" y="20"/>
                </a:cubicBezTo>
                <a:cubicBezTo>
                  <a:pt x="2" y="23"/>
                  <a:pt x="5" y="24"/>
                  <a:pt x="8" y="23"/>
                </a:cubicBezTo>
                <a:cubicBezTo>
                  <a:pt x="36" y="10"/>
                  <a:pt x="36" y="10"/>
                  <a:pt x="36" y="10"/>
                </a:cubicBezTo>
                <a:cubicBezTo>
                  <a:pt x="38" y="9"/>
                  <a:pt x="39" y="6"/>
                  <a:pt x="38" y="3"/>
                </a:cubicBezTo>
                <a:cubicBezTo>
                  <a:pt x="37" y="1"/>
                  <a:pt x="34" y="0"/>
                  <a:pt x="31" y="1"/>
                </a:cubicBezTo>
                <a:close/>
                <a:moveTo>
                  <a:pt x="31" y="1"/>
                </a:moveTo>
                <a:cubicBezTo>
                  <a:pt x="31" y="1"/>
                  <a:pt x="31" y="1"/>
                  <a:pt x="31" y="1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62" name="î$1idé">
            <a:extLst>
              <a:ext uri="{FF2B5EF4-FFF2-40B4-BE49-F238E27FC236}">
                <a16:creationId xmlns:a16="http://schemas.microsoft.com/office/drawing/2014/main" id="{4D3C9388-2AE2-4214-B99B-4D335C37AC1F}"/>
              </a:ext>
            </a:extLst>
          </p:cNvPr>
          <p:cNvSpPr>
            <a:spLocks/>
          </p:cNvSpPr>
          <p:nvPr/>
        </p:nvSpPr>
        <p:spPr bwMode="auto">
          <a:xfrm>
            <a:off x="11181803" y="2867987"/>
            <a:ext cx="27596" cy="27596"/>
          </a:xfrm>
          <a:custGeom>
            <a:avLst/>
            <a:gdLst>
              <a:gd name="T0" fmla="*/ 18 w 20"/>
              <a:gd name="T1" fmla="*/ 6 h 20"/>
              <a:gd name="T2" fmla="*/ 13 w 20"/>
              <a:gd name="T3" fmla="*/ 18 h 20"/>
              <a:gd name="T4" fmla="*/ 2 w 20"/>
              <a:gd name="T5" fmla="*/ 14 h 20"/>
              <a:gd name="T6" fmla="*/ 6 w 20"/>
              <a:gd name="T7" fmla="*/ 2 h 20"/>
              <a:gd name="T8" fmla="*/ 18 w 20"/>
              <a:gd name="T9" fmla="*/ 6 h 20"/>
              <a:gd name="T10" fmla="*/ 18 w 20"/>
              <a:gd name="T11" fmla="*/ 6 h 20"/>
              <a:gd name="T12" fmla="*/ 18 w 20"/>
              <a:gd name="T13" fmla="*/ 6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0" h="20">
                <a:moveTo>
                  <a:pt x="18" y="6"/>
                </a:moveTo>
                <a:cubicBezTo>
                  <a:pt x="20" y="11"/>
                  <a:pt x="18" y="16"/>
                  <a:pt x="13" y="18"/>
                </a:cubicBezTo>
                <a:cubicBezTo>
                  <a:pt x="9" y="20"/>
                  <a:pt x="4" y="18"/>
                  <a:pt x="2" y="14"/>
                </a:cubicBezTo>
                <a:cubicBezTo>
                  <a:pt x="0" y="9"/>
                  <a:pt x="2" y="4"/>
                  <a:pt x="6" y="2"/>
                </a:cubicBezTo>
                <a:cubicBezTo>
                  <a:pt x="10" y="0"/>
                  <a:pt x="16" y="2"/>
                  <a:pt x="18" y="6"/>
                </a:cubicBezTo>
                <a:close/>
                <a:moveTo>
                  <a:pt x="18" y="6"/>
                </a:moveTo>
                <a:cubicBezTo>
                  <a:pt x="18" y="6"/>
                  <a:pt x="18" y="6"/>
                  <a:pt x="18" y="6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63" name="îṡlïḓè">
            <a:extLst>
              <a:ext uri="{FF2B5EF4-FFF2-40B4-BE49-F238E27FC236}">
                <a16:creationId xmlns:a16="http://schemas.microsoft.com/office/drawing/2014/main" id="{2A9F8A1D-3A48-4AA0-952B-42D7E453AAE5}"/>
              </a:ext>
            </a:extLst>
          </p:cNvPr>
          <p:cNvSpPr>
            <a:spLocks/>
          </p:cNvSpPr>
          <p:nvPr/>
        </p:nvSpPr>
        <p:spPr bwMode="auto">
          <a:xfrm>
            <a:off x="11212334" y="2844500"/>
            <a:ext cx="54018" cy="33468"/>
          </a:xfrm>
          <a:custGeom>
            <a:avLst/>
            <a:gdLst>
              <a:gd name="T0" fmla="*/ 31 w 39"/>
              <a:gd name="T1" fmla="*/ 1 h 24"/>
              <a:gd name="T2" fmla="*/ 4 w 39"/>
              <a:gd name="T3" fmla="*/ 14 h 24"/>
              <a:gd name="T4" fmla="*/ 1 w 39"/>
              <a:gd name="T5" fmla="*/ 21 h 24"/>
              <a:gd name="T6" fmla="*/ 8 w 39"/>
              <a:gd name="T7" fmla="*/ 23 h 24"/>
              <a:gd name="T8" fmla="*/ 36 w 39"/>
              <a:gd name="T9" fmla="*/ 10 h 24"/>
              <a:gd name="T10" fmla="*/ 38 w 39"/>
              <a:gd name="T11" fmla="*/ 4 h 24"/>
              <a:gd name="T12" fmla="*/ 31 w 39"/>
              <a:gd name="T13" fmla="*/ 1 h 24"/>
              <a:gd name="T14" fmla="*/ 31 w 39"/>
              <a:gd name="T15" fmla="*/ 1 h 24"/>
              <a:gd name="T16" fmla="*/ 31 w 39"/>
              <a:gd name="T17" fmla="*/ 1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9" h="24">
                <a:moveTo>
                  <a:pt x="31" y="1"/>
                </a:moveTo>
                <a:cubicBezTo>
                  <a:pt x="4" y="14"/>
                  <a:pt x="4" y="14"/>
                  <a:pt x="4" y="14"/>
                </a:cubicBezTo>
                <a:cubicBezTo>
                  <a:pt x="1" y="15"/>
                  <a:pt x="0" y="18"/>
                  <a:pt x="1" y="21"/>
                </a:cubicBezTo>
                <a:cubicBezTo>
                  <a:pt x="3" y="23"/>
                  <a:pt x="6" y="24"/>
                  <a:pt x="8" y="23"/>
                </a:cubicBezTo>
                <a:cubicBezTo>
                  <a:pt x="36" y="10"/>
                  <a:pt x="36" y="10"/>
                  <a:pt x="36" y="10"/>
                </a:cubicBezTo>
                <a:cubicBezTo>
                  <a:pt x="38" y="9"/>
                  <a:pt x="39" y="6"/>
                  <a:pt x="38" y="4"/>
                </a:cubicBezTo>
                <a:cubicBezTo>
                  <a:pt x="37" y="1"/>
                  <a:pt x="34" y="0"/>
                  <a:pt x="31" y="1"/>
                </a:cubicBezTo>
                <a:close/>
                <a:moveTo>
                  <a:pt x="31" y="1"/>
                </a:moveTo>
                <a:cubicBezTo>
                  <a:pt x="31" y="1"/>
                  <a:pt x="31" y="1"/>
                  <a:pt x="31" y="1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64" name="îSľíḋe">
            <a:extLst>
              <a:ext uri="{FF2B5EF4-FFF2-40B4-BE49-F238E27FC236}">
                <a16:creationId xmlns:a16="http://schemas.microsoft.com/office/drawing/2014/main" id="{5207D95A-5258-4D76-8B4D-C75C02D592FB}"/>
              </a:ext>
            </a:extLst>
          </p:cNvPr>
          <p:cNvSpPr>
            <a:spLocks/>
          </p:cNvSpPr>
          <p:nvPr/>
        </p:nvSpPr>
        <p:spPr bwMode="auto">
          <a:xfrm>
            <a:off x="9425624" y="2906739"/>
            <a:ext cx="199632" cy="220770"/>
          </a:xfrm>
          <a:custGeom>
            <a:avLst/>
            <a:gdLst>
              <a:gd name="T0" fmla="*/ 72 w 144"/>
              <a:gd name="T1" fmla="*/ 17 h 159"/>
              <a:gd name="T2" fmla="*/ 71 w 144"/>
              <a:gd name="T3" fmla="*/ 14 h 159"/>
              <a:gd name="T4" fmla="*/ 62 w 144"/>
              <a:gd name="T5" fmla="*/ 10 h 159"/>
              <a:gd name="T6" fmla="*/ 52 w 144"/>
              <a:gd name="T7" fmla="*/ 15 h 159"/>
              <a:gd name="T8" fmla="*/ 51 w 144"/>
              <a:gd name="T9" fmla="*/ 9 h 159"/>
              <a:gd name="T10" fmla="*/ 34 w 144"/>
              <a:gd name="T11" fmla="*/ 3 h 159"/>
              <a:gd name="T12" fmla="*/ 28 w 144"/>
              <a:gd name="T13" fmla="*/ 19 h 159"/>
              <a:gd name="T14" fmla="*/ 32 w 144"/>
              <a:gd name="T15" fmla="*/ 24 h 159"/>
              <a:gd name="T16" fmla="*/ 23 w 144"/>
              <a:gd name="T17" fmla="*/ 28 h 159"/>
              <a:gd name="T18" fmla="*/ 20 w 144"/>
              <a:gd name="T19" fmla="*/ 37 h 159"/>
              <a:gd name="T20" fmla="*/ 21 w 144"/>
              <a:gd name="T21" fmla="*/ 40 h 159"/>
              <a:gd name="T22" fmla="*/ 8 w 144"/>
              <a:gd name="T23" fmla="*/ 46 h 159"/>
              <a:gd name="T24" fmla="*/ 3 w 144"/>
              <a:gd name="T25" fmla="*/ 60 h 159"/>
              <a:gd name="T26" fmla="*/ 45 w 144"/>
              <a:gd name="T27" fmla="*/ 151 h 159"/>
              <a:gd name="T28" fmla="*/ 58 w 144"/>
              <a:gd name="T29" fmla="*/ 156 h 159"/>
              <a:gd name="T30" fmla="*/ 136 w 144"/>
              <a:gd name="T31" fmla="*/ 121 h 159"/>
              <a:gd name="T32" fmla="*/ 141 w 144"/>
              <a:gd name="T33" fmla="*/ 107 h 159"/>
              <a:gd name="T34" fmla="*/ 99 w 144"/>
              <a:gd name="T35" fmla="*/ 15 h 159"/>
              <a:gd name="T36" fmla="*/ 86 w 144"/>
              <a:gd name="T37" fmla="*/ 10 h 159"/>
              <a:gd name="T38" fmla="*/ 72 w 144"/>
              <a:gd name="T39" fmla="*/ 17 h 159"/>
              <a:gd name="T40" fmla="*/ 32 w 144"/>
              <a:gd name="T41" fmla="*/ 17 h 159"/>
              <a:gd name="T42" fmla="*/ 36 w 144"/>
              <a:gd name="T43" fmla="*/ 7 h 159"/>
              <a:gd name="T44" fmla="*/ 46 w 144"/>
              <a:gd name="T45" fmla="*/ 11 h 159"/>
              <a:gd name="T46" fmla="*/ 46 w 144"/>
              <a:gd name="T47" fmla="*/ 18 h 159"/>
              <a:gd name="T48" fmla="*/ 37 w 144"/>
              <a:gd name="T49" fmla="*/ 21 h 159"/>
              <a:gd name="T50" fmla="*/ 32 w 144"/>
              <a:gd name="T51" fmla="*/ 17 h 159"/>
              <a:gd name="T52" fmla="*/ 129 w 144"/>
              <a:gd name="T53" fmla="*/ 106 h 159"/>
              <a:gd name="T54" fmla="*/ 126 w 144"/>
              <a:gd name="T55" fmla="*/ 114 h 159"/>
              <a:gd name="T56" fmla="*/ 60 w 144"/>
              <a:gd name="T57" fmla="*/ 145 h 159"/>
              <a:gd name="T58" fmla="*/ 51 w 144"/>
              <a:gd name="T59" fmla="*/ 141 h 159"/>
              <a:gd name="T60" fmla="*/ 15 w 144"/>
              <a:gd name="T61" fmla="*/ 61 h 159"/>
              <a:gd name="T62" fmla="*/ 18 w 144"/>
              <a:gd name="T63" fmla="*/ 53 h 159"/>
              <a:gd name="T64" fmla="*/ 26 w 144"/>
              <a:gd name="T65" fmla="*/ 49 h 159"/>
              <a:gd name="T66" fmla="*/ 32 w 144"/>
              <a:gd name="T67" fmla="*/ 52 h 159"/>
              <a:gd name="T68" fmla="*/ 74 w 144"/>
              <a:gd name="T69" fmla="*/ 33 h 159"/>
              <a:gd name="T70" fmla="*/ 76 w 144"/>
              <a:gd name="T71" fmla="*/ 26 h 159"/>
              <a:gd name="T72" fmla="*/ 84 w 144"/>
              <a:gd name="T73" fmla="*/ 22 h 159"/>
              <a:gd name="T74" fmla="*/ 93 w 144"/>
              <a:gd name="T75" fmla="*/ 25 h 159"/>
              <a:gd name="T76" fmla="*/ 129 w 144"/>
              <a:gd name="T77" fmla="*/ 106 h 159"/>
              <a:gd name="T78" fmla="*/ 129 w 144"/>
              <a:gd name="T79" fmla="*/ 106 h 159"/>
              <a:gd name="T80" fmla="*/ 129 w 144"/>
              <a:gd name="T81" fmla="*/ 106 h 1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44" h="159">
                <a:moveTo>
                  <a:pt x="72" y="17"/>
                </a:moveTo>
                <a:cubicBezTo>
                  <a:pt x="71" y="14"/>
                  <a:pt x="71" y="14"/>
                  <a:pt x="71" y="14"/>
                </a:cubicBezTo>
                <a:cubicBezTo>
                  <a:pt x="69" y="10"/>
                  <a:pt x="65" y="9"/>
                  <a:pt x="62" y="10"/>
                </a:cubicBezTo>
                <a:cubicBezTo>
                  <a:pt x="52" y="15"/>
                  <a:pt x="52" y="15"/>
                  <a:pt x="52" y="15"/>
                </a:cubicBezTo>
                <a:cubicBezTo>
                  <a:pt x="52" y="13"/>
                  <a:pt x="51" y="11"/>
                  <a:pt x="51" y="9"/>
                </a:cubicBezTo>
                <a:cubicBezTo>
                  <a:pt x="48" y="3"/>
                  <a:pt x="40" y="0"/>
                  <a:pt x="34" y="3"/>
                </a:cubicBezTo>
                <a:cubicBezTo>
                  <a:pt x="28" y="6"/>
                  <a:pt x="25" y="13"/>
                  <a:pt x="28" y="19"/>
                </a:cubicBezTo>
                <a:cubicBezTo>
                  <a:pt x="29" y="21"/>
                  <a:pt x="30" y="23"/>
                  <a:pt x="32" y="24"/>
                </a:cubicBezTo>
                <a:cubicBezTo>
                  <a:pt x="23" y="28"/>
                  <a:pt x="23" y="28"/>
                  <a:pt x="23" y="28"/>
                </a:cubicBezTo>
                <a:cubicBezTo>
                  <a:pt x="20" y="29"/>
                  <a:pt x="19" y="33"/>
                  <a:pt x="20" y="37"/>
                </a:cubicBezTo>
                <a:cubicBezTo>
                  <a:pt x="21" y="40"/>
                  <a:pt x="21" y="40"/>
                  <a:pt x="21" y="40"/>
                </a:cubicBezTo>
                <a:cubicBezTo>
                  <a:pt x="8" y="46"/>
                  <a:pt x="8" y="46"/>
                  <a:pt x="8" y="46"/>
                </a:cubicBezTo>
                <a:cubicBezTo>
                  <a:pt x="3" y="48"/>
                  <a:pt x="0" y="55"/>
                  <a:pt x="3" y="60"/>
                </a:cubicBezTo>
                <a:cubicBezTo>
                  <a:pt x="45" y="151"/>
                  <a:pt x="45" y="151"/>
                  <a:pt x="45" y="151"/>
                </a:cubicBezTo>
                <a:cubicBezTo>
                  <a:pt x="47" y="156"/>
                  <a:pt x="53" y="159"/>
                  <a:pt x="58" y="156"/>
                </a:cubicBezTo>
                <a:cubicBezTo>
                  <a:pt x="136" y="121"/>
                  <a:pt x="136" y="121"/>
                  <a:pt x="136" y="121"/>
                </a:cubicBezTo>
                <a:cubicBezTo>
                  <a:pt x="141" y="118"/>
                  <a:pt x="144" y="112"/>
                  <a:pt x="141" y="107"/>
                </a:cubicBezTo>
                <a:cubicBezTo>
                  <a:pt x="99" y="15"/>
                  <a:pt x="99" y="15"/>
                  <a:pt x="99" y="15"/>
                </a:cubicBezTo>
                <a:cubicBezTo>
                  <a:pt x="97" y="10"/>
                  <a:pt x="91" y="8"/>
                  <a:pt x="86" y="10"/>
                </a:cubicBezTo>
                <a:lnTo>
                  <a:pt x="72" y="17"/>
                </a:lnTo>
                <a:close/>
                <a:moveTo>
                  <a:pt x="32" y="17"/>
                </a:moveTo>
                <a:cubicBezTo>
                  <a:pt x="31" y="14"/>
                  <a:pt x="32" y="9"/>
                  <a:pt x="36" y="7"/>
                </a:cubicBezTo>
                <a:cubicBezTo>
                  <a:pt x="40" y="6"/>
                  <a:pt x="44" y="7"/>
                  <a:pt x="46" y="11"/>
                </a:cubicBezTo>
                <a:cubicBezTo>
                  <a:pt x="47" y="13"/>
                  <a:pt x="47" y="16"/>
                  <a:pt x="46" y="18"/>
                </a:cubicBezTo>
                <a:cubicBezTo>
                  <a:pt x="37" y="21"/>
                  <a:pt x="37" y="21"/>
                  <a:pt x="37" y="21"/>
                </a:cubicBezTo>
                <a:cubicBezTo>
                  <a:pt x="35" y="21"/>
                  <a:pt x="33" y="19"/>
                  <a:pt x="32" y="17"/>
                </a:cubicBezTo>
                <a:close/>
                <a:moveTo>
                  <a:pt x="129" y="106"/>
                </a:moveTo>
                <a:cubicBezTo>
                  <a:pt x="131" y="109"/>
                  <a:pt x="129" y="113"/>
                  <a:pt x="126" y="114"/>
                </a:cubicBezTo>
                <a:cubicBezTo>
                  <a:pt x="60" y="145"/>
                  <a:pt x="60" y="145"/>
                  <a:pt x="60" y="145"/>
                </a:cubicBezTo>
                <a:cubicBezTo>
                  <a:pt x="57" y="146"/>
                  <a:pt x="53" y="145"/>
                  <a:pt x="51" y="141"/>
                </a:cubicBezTo>
                <a:cubicBezTo>
                  <a:pt x="15" y="61"/>
                  <a:pt x="15" y="61"/>
                  <a:pt x="15" y="61"/>
                </a:cubicBezTo>
                <a:cubicBezTo>
                  <a:pt x="13" y="58"/>
                  <a:pt x="15" y="54"/>
                  <a:pt x="18" y="53"/>
                </a:cubicBezTo>
                <a:cubicBezTo>
                  <a:pt x="26" y="49"/>
                  <a:pt x="26" y="49"/>
                  <a:pt x="26" y="49"/>
                </a:cubicBezTo>
                <a:cubicBezTo>
                  <a:pt x="27" y="52"/>
                  <a:pt x="30" y="53"/>
                  <a:pt x="32" y="52"/>
                </a:cubicBezTo>
                <a:cubicBezTo>
                  <a:pt x="74" y="33"/>
                  <a:pt x="74" y="33"/>
                  <a:pt x="74" y="33"/>
                </a:cubicBezTo>
                <a:cubicBezTo>
                  <a:pt x="76" y="31"/>
                  <a:pt x="77" y="28"/>
                  <a:pt x="76" y="26"/>
                </a:cubicBezTo>
                <a:cubicBezTo>
                  <a:pt x="84" y="22"/>
                  <a:pt x="84" y="22"/>
                  <a:pt x="84" y="22"/>
                </a:cubicBezTo>
                <a:cubicBezTo>
                  <a:pt x="87" y="21"/>
                  <a:pt x="91" y="22"/>
                  <a:pt x="93" y="25"/>
                </a:cubicBezTo>
                <a:lnTo>
                  <a:pt x="129" y="106"/>
                </a:lnTo>
                <a:close/>
                <a:moveTo>
                  <a:pt x="129" y="106"/>
                </a:moveTo>
                <a:cubicBezTo>
                  <a:pt x="129" y="106"/>
                  <a:pt x="129" y="106"/>
                  <a:pt x="129" y="106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65" name="îS1îḍé">
            <a:extLst>
              <a:ext uri="{FF2B5EF4-FFF2-40B4-BE49-F238E27FC236}">
                <a16:creationId xmlns:a16="http://schemas.microsoft.com/office/drawing/2014/main" id="{C0298DAE-DBDF-4C5F-A629-72B03DD4B51B}"/>
              </a:ext>
            </a:extLst>
          </p:cNvPr>
          <p:cNvSpPr>
            <a:spLocks/>
          </p:cNvSpPr>
          <p:nvPr/>
        </p:nvSpPr>
        <p:spPr bwMode="auto">
          <a:xfrm>
            <a:off x="9465550" y="2987766"/>
            <a:ext cx="27596" cy="27596"/>
          </a:xfrm>
          <a:custGeom>
            <a:avLst/>
            <a:gdLst>
              <a:gd name="T0" fmla="*/ 18 w 20"/>
              <a:gd name="T1" fmla="*/ 6 h 20"/>
              <a:gd name="T2" fmla="*/ 13 w 20"/>
              <a:gd name="T3" fmla="*/ 18 h 20"/>
              <a:gd name="T4" fmla="*/ 2 w 20"/>
              <a:gd name="T5" fmla="*/ 14 h 20"/>
              <a:gd name="T6" fmla="*/ 6 w 20"/>
              <a:gd name="T7" fmla="*/ 2 h 20"/>
              <a:gd name="T8" fmla="*/ 18 w 20"/>
              <a:gd name="T9" fmla="*/ 6 h 20"/>
              <a:gd name="T10" fmla="*/ 18 w 20"/>
              <a:gd name="T11" fmla="*/ 6 h 20"/>
              <a:gd name="T12" fmla="*/ 18 w 20"/>
              <a:gd name="T13" fmla="*/ 6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0" h="20">
                <a:moveTo>
                  <a:pt x="18" y="6"/>
                </a:moveTo>
                <a:cubicBezTo>
                  <a:pt x="20" y="11"/>
                  <a:pt x="18" y="16"/>
                  <a:pt x="13" y="18"/>
                </a:cubicBezTo>
                <a:cubicBezTo>
                  <a:pt x="9" y="20"/>
                  <a:pt x="4" y="18"/>
                  <a:pt x="2" y="14"/>
                </a:cubicBezTo>
                <a:cubicBezTo>
                  <a:pt x="0" y="9"/>
                  <a:pt x="1" y="4"/>
                  <a:pt x="6" y="2"/>
                </a:cubicBezTo>
                <a:cubicBezTo>
                  <a:pt x="10" y="0"/>
                  <a:pt x="16" y="2"/>
                  <a:pt x="18" y="6"/>
                </a:cubicBezTo>
                <a:close/>
                <a:moveTo>
                  <a:pt x="18" y="6"/>
                </a:moveTo>
                <a:cubicBezTo>
                  <a:pt x="18" y="6"/>
                  <a:pt x="18" y="6"/>
                  <a:pt x="18" y="6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66" name="i$ľidê">
            <a:extLst>
              <a:ext uri="{FF2B5EF4-FFF2-40B4-BE49-F238E27FC236}">
                <a16:creationId xmlns:a16="http://schemas.microsoft.com/office/drawing/2014/main" id="{84107508-CA85-4F46-A086-514F8B0C6C90}"/>
              </a:ext>
            </a:extLst>
          </p:cNvPr>
          <p:cNvSpPr>
            <a:spLocks/>
          </p:cNvSpPr>
          <p:nvPr/>
        </p:nvSpPr>
        <p:spPr bwMode="auto">
          <a:xfrm>
            <a:off x="9496082" y="2963693"/>
            <a:ext cx="54018" cy="33468"/>
          </a:xfrm>
          <a:custGeom>
            <a:avLst/>
            <a:gdLst>
              <a:gd name="T0" fmla="*/ 31 w 39"/>
              <a:gd name="T1" fmla="*/ 2 h 24"/>
              <a:gd name="T2" fmla="*/ 4 w 39"/>
              <a:gd name="T3" fmla="*/ 14 h 24"/>
              <a:gd name="T4" fmla="*/ 1 w 39"/>
              <a:gd name="T5" fmla="*/ 21 h 24"/>
              <a:gd name="T6" fmla="*/ 8 w 39"/>
              <a:gd name="T7" fmla="*/ 23 h 24"/>
              <a:gd name="T8" fmla="*/ 36 w 39"/>
              <a:gd name="T9" fmla="*/ 11 h 24"/>
              <a:gd name="T10" fmla="*/ 38 w 39"/>
              <a:gd name="T11" fmla="*/ 4 h 24"/>
              <a:gd name="T12" fmla="*/ 31 w 39"/>
              <a:gd name="T13" fmla="*/ 2 h 24"/>
              <a:gd name="T14" fmla="*/ 31 w 39"/>
              <a:gd name="T15" fmla="*/ 2 h 24"/>
              <a:gd name="T16" fmla="*/ 31 w 39"/>
              <a:gd name="T17" fmla="*/ 2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9" h="24">
                <a:moveTo>
                  <a:pt x="31" y="2"/>
                </a:moveTo>
                <a:cubicBezTo>
                  <a:pt x="4" y="14"/>
                  <a:pt x="4" y="14"/>
                  <a:pt x="4" y="14"/>
                </a:cubicBezTo>
                <a:cubicBezTo>
                  <a:pt x="1" y="15"/>
                  <a:pt x="0" y="18"/>
                  <a:pt x="1" y="21"/>
                </a:cubicBezTo>
                <a:cubicBezTo>
                  <a:pt x="3" y="23"/>
                  <a:pt x="6" y="24"/>
                  <a:pt x="8" y="23"/>
                </a:cubicBezTo>
                <a:cubicBezTo>
                  <a:pt x="36" y="11"/>
                  <a:pt x="36" y="11"/>
                  <a:pt x="36" y="11"/>
                </a:cubicBezTo>
                <a:cubicBezTo>
                  <a:pt x="38" y="10"/>
                  <a:pt x="39" y="7"/>
                  <a:pt x="38" y="4"/>
                </a:cubicBezTo>
                <a:cubicBezTo>
                  <a:pt x="37" y="2"/>
                  <a:pt x="34" y="0"/>
                  <a:pt x="31" y="2"/>
                </a:cubicBezTo>
                <a:close/>
                <a:moveTo>
                  <a:pt x="31" y="2"/>
                </a:moveTo>
                <a:cubicBezTo>
                  <a:pt x="31" y="2"/>
                  <a:pt x="31" y="2"/>
                  <a:pt x="31" y="2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67" name="ïslîḋê">
            <a:extLst>
              <a:ext uri="{FF2B5EF4-FFF2-40B4-BE49-F238E27FC236}">
                <a16:creationId xmlns:a16="http://schemas.microsoft.com/office/drawing/2014/main" id="{26A40DBB-B880-4195-A3E5-B0961C88A6E5}"/>
              </a:ext>
            </a:extLst>
          </p:cNvPr>
          <p:cNvSpPr>
            <a:spLocks/>
          </p:cNvSpPr>
          <p:nvPr/>
        </p:nvSpPr>
        <p:spPr bwMode="auto">
          <a:xfrm>
            <a:off x="9479642" y="3019473"/>
            <a:ext cx="27596" cy="27596"/>
          </a:xfrm>
          <a:custGeom>
            <a:avLst/>
            <a:gdLst>
              <a:gd name="T0" fmla="*/ 18 w 20"/>
              <a:gd name="T1" fmla="*/ 6 h 20"/>
              <a:gd name="T2" fmla="*/ 14 w 20"/>
              <a:gd name="T3" fmla="*/ 18 h 20"/>
              <a:gd name="T4" fmla="*/ 2 w 20"/>
              <a:gd name="T5" fmla="*/ 14 h 20"/>
              <a:gd name="T6" fmla="*/ 6 w 20"/>
              <a:gd name="T7" fmla="*/ 2 h 20"/>
              <a:gd name="T8" fmla="*/ 18 w 20"/>
              <a:gd name="T9" fmla="*/ 6 h 20"/>
              <a:gd name="T10" fmla="*/ 18 w 20"/>
              <a:gd name="T11" fmla="*/ 6 h 20"/>
              <a:gd name="T12" fmla="*/ 18 w 20"/>
              <a:gd name="T13" fmla="*/ 6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0" h="20">
                <a:moveTo>
                  <a:pt x="18" y="6"/>
                </a:moveTo>
                <a:cubicBezTo>
                  <a:pt x="20" y="11"/>
                  <a:pt x="18" y="16"/>
                  <a:pt x="14" y="18"/>
                </a:cubicBezTo>
                <a:cubicBezTo>
                  <a:pt x="9" y="20"/>
                  <a:pt x="4" y="18"/>
                  <a:pt x="2" y="14"/>
                </a:cubicBezTo>
                <a:cubicBezTo>
                  <a:pt x="0" y="9"/>
                  <a:pt x="2" y="4"/>
                  <a:pt x="6" y="2"/>
                </a:cubicBezTo>
                <a:cubicBezTo>
                  <a:pt x="11" y="0"/>
                  <a:pt x="16" y="2"/>
                  <a:pt x="18" y="6"/>
                </a:cubicBezTo>
                <a:close/>
                <a:moveTo>
                  <a:pt x="18" y="6"/>
                </a:moveTo>
                <a:cubicBezTo>
                  <a:pt x="18" y="6"/>
                  <a:pt x="18" y="6"/>
                  <a:pt x="18" y="6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68" name="íṡlîḍe">
            <a:extLst>
              <a:ext uri="{FF2B5EF4-FFF2-40B4-BE49-F238E27FC236}">
                <a16:creationId xmlns:a16="http://schemas.microsoft.com/office/drawing/2014/main" id="{061F9CB5-2C26-4B3C-A01A-781A1D127C40}"/>
              </a:ext>
            </a:extLst>
          </p:cNvPr>
          <p:cNvSpPr>
            <a:spLocks/>
          </p:cNvSpPr>
          <p:nvPr/>
        </p:nvSpPr>
        <p:spPr bwMode="auto">
          <a:xfrm>
            <a:off x="9511349" y="2995986"/>
            <a:ext cx="54018" cy="32881"/>
          </a:xfrm>
          <a:custGeom>
            <a:avLst/>
            <a:gdLst>
              <a:gd name="T0" fmla="*/ 31 w 39"/>
              <a:gd name="T1" fmla="*/ 1 h 24"/>
              <a:gd name="T2" fmla="*/ 3 w 39"/>
              <a:gd name="T3" fmla="*/ 14 h 24"/>
              <a:gd name="T4" fmla="*/ 1 w 39"/>
              <a:gd name="T5" fmla="*/ 21 h 24"/>
              <a:gd name="T6" fmla="*/ 8 w 39"/>
              <a:gd name="T7" fmla="*/ 23 h 24"/>
              <a:gd name="T8" fmla="*/ 35 w 39"/>
              <a:gd name="T9" fmla="*/ 11 h 24"/>
              <a:gd name="T10" fmla="*/ 38 w 39"/>
              <a:gd name="T11" fmla="*/ 4 h 24"/>
              <a:gd name="T12" fmla="*/ 31 w 39"/>
              <a:gd name="T13" fmla="*/ 1 h 24"/>
              <a:gd name="T14" fmla="*/ 31 w 39"/>
              <a:gd name="T15" fmla="*/ 1 h 24"/>
              <a:gd name="T16" fmla="*/ 31 w 39"/>
              <a:gd name="T17" fmla="*/ 1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9" h="24">
                <a:moveTo>
                  <a:pt x="31" y="1"/>
                </a:moveTo>
                <a:cubicBezTo>
                  <a:pt x="3" y="14"/>
                  <a:pt x="3" y="14"/>
                  <a:pt x="3" y="14"/>
                </a:cubicBezTo>
                <a:cubicBezTo>
                  <a:pt x="1" y="15"/>
                  <a:pt x="0" y="18"/>
                  <a:pt x="1" y="21"/>
                </a:cubicBezTo>
                <a:cubicBezTo>
                  <a:pt x="2" y="23"/>
                  <a:pt x="5" y="24"/>
                  <a:pt x="8" y="23"/>
                </a:cubicBezTo>
                <a:cubicBezTo>
                  <a:pt x="35" y="11"/>
                  <a:pt x="35" y="11"/>
                  <a:pt x="35" y="11"/>
                </a:cubicBezTo>
                <a:cubicBezTo>
                  <a:pt x="38" y="9"/>
                  <a:pt x="39" y="6"/>
                  <a:pt x="38" y="4"/>
                </a:cubicBezTo>
                <a:cubicBezTo>
                  <a:pt x="36" y="1"/>
                  <a:pt x="33" y="0"/>
                  <a:pt x="31" y="1"/>
                </a:cubicBezTo>
                <a:close/>
                <a:moveTo>
                  <a:pt x="31" y="1"/>
                </a:moveTo>
                <a:cubicBezTo>
                  <a:pt x="31" y="1"/>
                  <a:pt x="31" y="1"/>
                  <a:pt x="31" y="1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69" name="isľîďè">
            <a:extLst>
              <a:ext uri="{FF2B5EF4-FFF2-40B4-BE49-F238E27FC236}">
                <a16:creationId xmlns:a16="http://schemas.microsoft.com/office/drawing/2014/main" id="{996AAF80-7845-48F2-98AE-9F8C7FA38234}"/>
              </a:ext>
            </a:extLst>
          </p:cNvPr>
          <p:cNvSpPr>
            <a:spLocks/>
          </p:cNvSpPr>
          <p:nvPr/>
        </p:nvSpPr>
        <p:spPr bwMode="auto">
          <a:xfrm>
            <a:off x="9494908" y="3052940"/>
            <a:ext cx="27596" cy="28770"/>
          </a:xfrm>
          <a:custGeom>
            <a:avLst/>
            <a:gdLst>
              <a:gd name="T0" fmla="*/ 18 w 20"/>
              <a:gd name="T1" fmla="*/ 7 h 21"/>
              <a:gd name="T2" fmla="*/ 14 w 20"/>
              <a:gd name="T3" fmla="*/ 19 h 21"/>
              <a:gd name="T4" fmla="*/ 2 w 20"/>
              <a:gd name="T5" fmla="*/ 14 h 21"/>
              <a:gd name="T6" fmla="*/ 7 w 20"/>
              <a:gd name="T7" fmla="*/ 2 h 21"/>
              <a:gd name="T8" fmla="*/ 18 w 20"/>
              <a:gd name="T9" fmla="*/ 7 h 21"/>
              <a:gd name="T10" fmla="*/ 18 w 20"/>
              <a:gd name="T11" fmla="*/ 7 h 21"/>
              <a:gd name="T12" fmla="*/ 18 w 20"/>
              <a:gd name="T13" fmla="*/ 7 h 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0" h="21">
                <a:moveTo>
                  <a:pt x="18" y="7"/>
                </a:moveTo>
                <a:cubicBezTo>
                  <a:pt x="20" y="11"/>
                  <a:pt x="19" y="17"/>
                  <a:pt x="14" y="19"/>
                </a:cubicBezTo>
                <a:cubicBezTo>
                  <a:pt x="10" y="21"/>
                  <a:pt x="4" y="19"/>
                  <a:pt x="2" y="14"/>
                </a:cubicBezTo>
                <a:cubicBezTo>
                  <a:pt x="0" y="10"/>
                  <a:pt x="2" y="5"/>
                  <a:pt x="7" y="2"/>
                </a:cubicBezTo>
                <a:cubicBezTo>
                  <a:pt x="11" y="0"/>
                  <a:pt x="16" y="2"/>
                  <a:pt x="18" y="7"/>
                </a:cubicBezTo>
                <a:close/>
                <a:moveTo>
                  <a:pt x="18" y="7"/>
                </a:moveTo>
                <a:cubicBezTo>
                  <a:pt x="18" y="7"/>
                  <a:pt x="18" y="7"/>
                  <a:pt x="18" y="7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70" name="ïsḻiḓé">
            <a:extLst>
              <a:ext uri="{FF2B5EF4-FFF2-40B4-BE49-F238E27FC236}">
                <a16:creationId xmlns:a16="http://schemas.microsoft.com/office/drawing/2014/main" id="{DEE919B1-8EF8-409A-A939-6B9AC9468909}"/>
              </a:ext>
            </a:extLst>
          </p:cNvPr>
          <p:cNvSpPr>
            <a:spLocks/>
          </p:cNvSpPr>
          <p:nvPr/>
        </p:nvSpPr>
        <p:spPr bwMode="auto">
          <a:xfrm>
            <a:off x="9526615" y="3030628"/>
            <a:ext cx="54018" cy="33468"/>
          </a:xfrm>
          <a:custGeom>
            <a:avLst/>
            <a:gdLst>
              <a:gd name="T0" fmla="*/ 31 w 39"/>
              <a:gd name="T1" fmla="*/ 1 h 24"/>
              <a:gd name="T2" fmla="*/ 4 w 39"/>
              <a:gd name="T3" fmla="*/ 13 h 24"/>
              <a:gd name="T4" fmla="*/ 1 w 39"/>
              <a:gd name="T5" fmla="*/ 20 h 24"/>
              <a:gd name="T6" fmla="*/ 8 w 39"/>
              <a:gd name="T7" fmla="*/ 23 h 24"/>
              <a:gd name="T8" fmla="*/ 35 w 39"/>
              <a:gd name="T9" fmla="*/ 10 h 24"/>
              <a:gd name="T10" fmla="*/ 38 w 39"/>
              <a:gd name="T11" fmla="*/ 3 h 24"/>
              <a:gd name="T12" fmla="*/ 31 w 39"/>
              <a:gd name="T13" fmla="*/ 1 h 24"/>
              <a:gd name="T14" fmla="*/ 31 w 39"/>
              <a:gd name="T15" fmla="*/ 1 h 24"/>
              <a:gd name="T16" fmla="*/ 31 w 39"/>
              <a:gd name="T17" fmla="*/ 1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9" h="24">
                <a:moveTo>
                  <a:pt x="31" y="1"/>
                </a:moveTo>
                <a:cubicBezTo>
                  <a:pt x="4" y="13"/>
                  <a:pt x="4" y="13"/>
                  <a:pt x="4" y="13"/>
                </a:cubicBezTo>
                <a:cubicBezTo>
                  <a:pt x="1" y="15"/>
                  <a:pt x="0" y="18"/>
                  <a:pt x="1" y="20"/>
                </a:cubicBezTo>
                <a:cubicBezTo>
                  <a:pt x="2" y="23"/>
                  <a:pt x="5" y="24"/>
                  <a:pt x="8" y="23"/>
                </a:cubicBezTo>
                <a:cubicBezTo>
                  <a:pt x="35" y="10"/>
                  <a:pt x="35" y="10"/>
                  <a:pt x="35" y="10"/>
                </a:cubicBezTo>
                <a:cubicBezTo>
                  <a:pt x="38" y="9"/>
                  <a:pt x="39" y="6"/>
                  <a:pt x="38" y="3"/>
                </a:cubicBezTo>
                <a:cubicBezTo>
                  <a:pt x="37" y="1"/>
                  <a:pt x="34" y="0"/>
                  <a:pt x="31" y="1"/>
                </a:cubicBezTo>
                <a:close/>
                <a:moveTo>
                  <a:pt x="31" y="1"/>
                </a:moveTo>
                <a:cubicBezTo>
                  <a:pt x="31" y="1"/>
                  <a:pt x="31" y="1"/>
                  <a:pt x="31" y="1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71" name="îSḷídê">
            <a:extLst>
              <a:ext uri="{FF2B5EF4-FFF2-40B4-BE49-F238E27FC236}">
                <a16:creationId xmlns:a16="http://schemas.microsoft.com/office/drawing/2014/main" id="{EBA0DE04-A056-4CE1-8445-89DF20EEEC3F}"/>
              </a:ext>
            </a:extLst>
          </p:cNvPr>
          <p:cNvSpPr>
            <a:spLocks/>
          </p:cNvSpPr>
          <p:nvPr/>
        </p:nvSpPr>
        <p:spPr bwMode="auto">
          <a:xfrm>
            <a:off x="9449110" y="2000173"/>
            <a:ext cx="184366" cy="173798"/>
          </a:xfrm>
          <a:custGeom>
            <a:avLst/>
            <a:gdLst>
              <a:gd name="T0" fmla="*/ 122 w 133"/>
              <a:gd name="T1" fmla="*/ 22 h 125"/>
              <a:gd name="T2" fmla="*/ 101 w 133"/>
              <a:gd name="T3" fmla="*/ 1 h 125"/>
              <a:gd name="T4" fmla="*/ 95 w 133"/>
              <a:gd name="T5" fmla="*/ 1 h 125"/>
              <a:gd name="T6" fmla="*/ 93 w 133"/>
              <a:gd name="T7" fmla="*/ 5 h 125"/>
              <a:gd name="T8" fmla="*/ 93 w 133"/>
              <a:gd name="T9" fmla="*/ 16 h 125"/>
              <a:gd name="T10" fmla="*/ 95 w 133"/>
              <a:gd name="T11" fmla="*/ 20 h 125"/>
              <a:gd name="T12" fmla="*/ 113 w 133"/>
              <a:gd name="T13" fmla="*/ 58 h 125"/>
              <a:gd name="T14" fmla="*/ 66 w 133"/>
              <a:gd name="T15" fmla="*/ 105 h 125"/>
              <a:gd name="T16" fmla="*/ 19 w 133"/>
              <a:gd name="T17" fmla="*/ 58 h 125"/>
              <a:gd name="T18" fmla="*/ 38 w 133"/>
              <a:gd name="T19" fmla="*/ 20 h 125"/>
              <a:gd name="T20" fmla="*/ 40 w 133"/>
              <a:gd name="T21" fmla="*/ 16 h 125"/>
              <a:gd name="T22" fmla="*/ 40 w 133"/>
              <a:gd name="T23" fmla="*/ 5 h 125"/>
              <a:gd name="T24" fmla="*/ 37 w 133"/>
              <a:gd name="T25" fmla="*/ 1 h 125"/>
              <a:gd name="T26" fmla="*/ 32 w 133"/>
              <a:gd name="T27" fmla="*/ 1 h 125"/>
              <a:gd name="T28" fmla="*/ 10 w 133"/>
              <a:gd name="T29" fmla="*/ 22 h 125"/>
              <a:gd name="T30" fmla="*/ 0 w 133"/>
              <a:gd name="T31" fmla="*/ 58 h 125"/>
              <a:gd name="T32" fmla="*/ 19 w 133"/>
              <a:gd name="T33" fmla="*/ 105 h 125"/>
              <a:gd name="T34" fmla="*/ 66 w 133"/>
              <a:gd name="T35" fmla="*/ 125 h 125"/>
              <a:gd name="T36" fmla="*/ 113 w 133"/>
              <a:gd name="T37" fmla="*/ 105 h 125"/>
              <a:gd name="T38" fmla="*/ 133 w 133"/>
              <a:gd name="T39" fmla="*/ 58 h 125"/>
              <a:gd name="T40" fmla="*/ 122 w 133"/>
              <a:gd name="T41" fmla="*/ 22 h 125"/>
              <a:gd name="T42" fmla="*/ 122 w 133"/>
              <a:gd name="T43" fmla="*/ 22 h 125"/>
              <a:gd name="T44" fmla="*/ 122 w 133"/>
              <a:gd name="T45" fmla="*/ 22 h 1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133" h="125">
                <a:moveTo>
                  <a:pt x="122" y="22"/>
                </a:moveTo>
                <a:cubicBezTo>
                  <a:pt x="117" y="13"/>
                  <a:pt x="109" y="6"/>
                  <a:pt x="101" y="1"/>
                </a:cubicBezTo>
                <a:cubicBezTo>
                  <a:pt x="99" y="0"/>
                  <a:pt x="97" y="0"/>
                  <a:pt x="95" y="1"/>
                </a:cubicBezTo>
                <a:cubicBezTo>
                  <a:pt x="94" y="2"/>
                  <a:pt x="93" y="4"/>
                  <a:pt x="93" y="5"/>
                </a:cubicBezTo>
                <a:cubicBezTo>
                  <a:pt x="93" y="16"/>
                  <a:pt x="93" y="16"/>
                  <a:pt x="93" y="16"/>
                </a:cubicBezTo>
                <a:cubicBezTo>
                  <a:pt x="93" y="18"/>
                  <a:pt x="93" y="19"/>
                  <a:pt x="95" y="20"/>
                </a:cubicBezTo>
                <a:cubicBezTo>
                  <a:pt x="106" y="29"/>
                  <a:pt x="113" y="43"/>
                  <a:pt x="113" y="58"/>
                </a:cubicBezTo>
                <a:cubicBezTo>
                  <a:pt x="113" y="84"/>
                  <a:pt x="92" y="105"/>
                  <a:pt x="66" y="105"/>
                </a:cubicBezTo>
                <a:cubicBezTo>
                  <a:pt x="40" y="105"/>
                  <a:pt x="19" y="84"/>
                  <a:pt x="19" y="58"/>
                </a:cubicBezTo>
                <a:cubicBezTo>
                  <a:pt x="19" y="43"/>
                  <a:pt x="26" y="29"/>
                  <a:pt x="38" y="20"/>
                </a:cubicBezTo>
                <a:cubicBezTo>
                  <a:pt x="39" y="19"/>
                  <a:pt x="40" y="18"/>
                  <a:pt x="40" y="16"/>
                </a:cubicBezTo>
                <a:cubicBezTo>
                  <a:pt x="40" y="5"/>
                  <a:pt x="40" y="5"/>
                  <a:pt x="40" y="5"/>
                </a:cubicBezTo>
                <a:cubicBezTo>
                  <a:pt x="40" y="4"/>
                  <a:pt x="39" y="2"/>
                  <a:pt x="37" y="1"/>
                </a:cubicBezTo>
                <a:cubicBezTo>
                  <a:pt x="36" y="0"/>
                  <a:pt x="34" y="0"/>
                  <a:pt x="32" y="1"/>
                </a:cubicBezTo>
                <a:cubicBezTo>
                  <a:pt x="23" y="6"/>
                  <a:pt x="16" y="13"/>
                  <a:pt x="10" y="22"/>
                </a:cubicBezTo>
                <a:cubicBezTo>
                  <a:pt x="3" y="33"/>
                  <a:pt x="0" y="45"/>
                  <a:pt x="0" y="58"/>
                </a:cubicBezTo>
                <a:cubicBezTo>
                  <a:pt x="0" y="76"/>
                  <a:pt x="7" y="92"/>
                  <a:pt x="19" y="105"/>
                </a:cubicBezTo>
                <a:cubicBezTo>
                  <a:pt x="32" y="118"/>
                  <a:pt x="49" y="125"/>
                  <a:pt x="66" y="125"/>
                </a:cubicBezTo>
                <a:cubicBezTo>
                  <a:pt x="84" y="125"/>
                  <a:pt x="101" y="118"/>
                  <a:pt x="113" y="105"/>
                </a:cubicBezTo>
                <a:cubicBezTo>
                  <a:pt x="126" y="92"/>
                  <a:pt x="133" y="76"/>
                  <a:pt x="133" y="58"/>
                </a:cubicBezTo>
                <a:cubicBezTo>
                  <a:pt x="133" y="45"/>
                  <a:pt x="129" y="33"/>
                  <a:pt x="122" y="22"/>
                </a:cubicBezTo>
                <a:close/>
                <a:moveTo>
                  <a:pt x="122" y="22"/>
                </a:moveTo>
                <a:cubicBezTo>
                  <a:pt x="122" y="22"/>
                  <a:pt x="122" y="22"/>
                  <a:pt x="122" y="22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72" name="iṩľídé">
            <a:extLst>
              <a:ext uri="{FF2B5EF4-FFF2-40B4-BE49-F238E27FC236}">
                <a16:creationId xmlns:a16="http://schemas.microsoft.com/office/drawing/2014/main" id="{84548194-22B7-4C97-B756-C3BDE7487FC1}"/>
              </a:ext>
            </a:extLst>
          </p:cNvPr>
          <p:cNvSpPr>
            <a:spLocks/>
          </p:cNvSpPr>
          <p:nvPr/>
        </p:nvSpPr>
        <p:spPr bwMode="auto">
          <a:xfrm>
            <a:off x="9525440" y="1976687"/>
            <a:ext cx="30532" cy="112733"/>
          </a:xfrm>
          <a:custGeom>
            <a:avLst/>
            <a:gdLst>
              <a:gd name="T0" fmla="*/ 5 w 22"/>
              <a:gd name="T1" fmla="*/ 81 h 81"/>
              <a:gd name="T2" fmla="*/ 18 w 22"/>
              <a:gd name="T3" fmla="*/ 81 h 81"/>
              <a:gd name="T4" fmla="*/ 22 w 22"/>
              <a:gd name="T5" fmla="*/ 76 h 81"/>
              <a:gd name="T6" fmla="*/ 22 w 22"/>
              <a:gd name="T7" fmla="*/ 5 h 81"/>
              <a:gd name="T8" fmla="*/ 18 w 22"/>
              <a:gd name="T9" fmla="*/ 0 h 81"/>
              <a:gd name="T10" fmla="*/ 5 w 22"/>
              <a:gd name="T11" fmla="*/ 0 h 81"/>
              <a:gd name="T12" fmla="*/ 0 w 22"/>
              <a:gd name="T13" fmla="*/ 5 h 81"/>
              <a:gd name="T14" fmla="*/ 0 w 22"/>
              <a:gd name="T15" fmla="*/ 76 h 81"/>
              <a:gd name="T16" fmla="*/ 5 w 22"/>
              <a:gd name="T17" fmla="*/ 81 h 81"/>
              <a:gd name="T18" fmla="*/ 5 w 22"/>
              <a:gd name="T19" fmla="*/ 81 h 81"/>
              <a:gd name="T20" fmla="*/ 5 w 22"/>
              <a:gd name="T21" fmla="*/ 81 h 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2" h="81">
                <a:moveTo>
                  <a:pt x="5" y="81"/>
                </a:moveTo>
                <a:cubicBezTo>
                  <a:pt x="18" y="81"/>
                  <a:pt x="18" y="81"/>
                  <a:pt x="18" y="81"/>
                </a:cubicBezTo>
                <a:cubicBezTo>
                  <a:pt x="20" y="81"/>
                  <a:pt x="22" y="79"/>
                  <a:pt x="22" y="76"/>
                </a:cubicBezTo>
                <a:cubicBezTo>
                  <a:pt x="22" y="5"/>
                  <a:pt x="22" y="5"/>
                  <a:pt x="22" y="5"/>
                </a:cubicBezTo>
                <a:cubicBezTo>
                  <a:pt x="22" y="2"/>
                  <a:pt x="20" y="0"/>
                  <a:pt x="18" y="0"/>
                </a:cubicBezTo>
                <a:cubicBezTo>
                  <a:pt x="5" y="0"/>
                  <a:pt x="5" y="0"/>
                  <a:pt x="5" y="0"/>
                </a:cubicBezTo>
                <a:cubicBezTo>
                  <a:pt x="3" y="0"/>
                  <a:pt x="0" y="2"/>
                  <a:pt x="0" y="5"/>
                </a:cubicBezTo>
                <a:cubicBezTo>
                  <a:pt x="0" y="76"/>
                  <a:pt x="0" y="76"/>
                  <a:pt x="0" y="76"/>
                </a:cubicBezTo>
                <a:cubicBezTo>
                  <a:pt x="0" y="79"/>
                  <a:pt x="3" y="81"/>
                  <a:pt x="5" y="81"/>
                </a:cubicBezTo>
                <a:close/>
                <a:moveTo>
                  <a:pt x="5" y="81"/>
                </a:moveTo>
                <a:cubicBezTo>
                  <a:pt x="5" y="81"/>
                  <a:pt x="5" y="81"/>
                  <a:pt x="5" y="81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73" name="íSḻîdê">
            <a:extLst>
              <a:ext uri="{FF2B5EF4-FFF2-40B4-BE49-F238E27FC236}">
                <a16:creationId xmlns:a16="http://schemas.microsoft.com/office/drawing/2014/main" id="{29D1A54F-549D-4031-987D-D5E7999EB54D}"/>
              </a:ext>
            </a:extLst>
          </p:cNvPr>
          <p:cNvSpPr>
            <a:spLocks/>
          </p:cNvSpPr>
          <p:nvPr/>
        </p:nvSpPr>
        <p:spPr bwMode="auto">
          <a:xfrm>
            <a:off x="9191936" y="2673638"/>
            <a:ext cx="184954" cy="173798"/>
          </a:xfrm>
          <a:custGeom>
            <a:avLst/>
            <a:gdLst>
              <a:gd name="T0" fmla="*/ 122 w 133"/>
              <a:gd name="T1" fmla="*/ 22 h 125"/>
              <a:gd name="T2" fmla="*/ 101 w 133"/>
              <a:gd name="T3" fmla="*/ 1 h 125"/>
              <a:gd name="T4" fmla="*/ 95 w 133"/>
              <a:gd name="T5" fmla="*/ 1 h 125"/>
              <a:gd name="T6" fmla="*/ 93 w 133"/>
              <a:gd name="T7" fmla="*/ 6 h 125"/>
              <a:gd name="T8" fmla="*/ 93 w 133"/>
              <a:gd name="T9" fmla="*/ 17 h 125"/>
              <a:gd name="T10" fmla="*/ 95 w 133"/>
              <a:gd name="T11" fmla="*/ 21 h 125"/>
              <a:gd name="T12" fmla="*/ 113 w 133"/>
              <a:gd name="T13" fmla="*/ 59 h 125"/>
              <a:gd name="T14" fmla="*/ 66 w 133"/>
              <a:gd name="T15" fmla="*/ 106 h 125"/>
              <a:gd name="T16" fmla="*/ 19 w 133"/>
              <a:gd name="T17" fmla="*/ 59 h 125"/>
              <a:gd name="T18" fmla="*/ 38 w 133"/>
              <a:gd name="T19" fmla="*/ 21 h 125"/>
              <a:gd name="T20" fmla="*/ 40 w 133"/>
              <a:gd name="T21" fmla="*/ 17 h 125"/>
              <a:gd name="T22" fmla="*/ 40 w 133"/>
              <a:gd name="T23" fmla="*/ 6 h 125"/>
              <a:gd name="T24" fmla="*/ 37 w 133"/>
              <a:gd name="T25" fmla="*/ 1 h 125"/>
              <a:gd name="T26" fmla="*/ 32 w 133"/>
              <a:gd name="T27" fmla="*/ 1 h 125"/>
              <a:gd name="T28" fmla="*/ 10 w 133"/>
              <a:gd name="T29" fmla="*/ 22 h 125"/>
              <a:gd name="T30" fmla="*/ 0 w 133"/>
              <a:gd name="T31" fmla="*/ 59 h 125"/>
              <a:gd name="T32" fmla="*/ 19 w 133"/>
              <a:gd name="T33" fmla="*/ 106 h 125"/>
              <a:gd name="T34" fmla="*/ 66 w 133"/>
              <a:gd name="T35" fmla="*/ 125 h 125"/>
              <a:gd name="T36" fmla="*/ 113 w 133"/>
              <a:gd name="T37" fmla="*/ 106 h 125"/>
              <a:gd name="T38" fmla="*/ 133 w 133"/>
              <a:gd name="T39" fmla="*/ 59 h 125"/>
              <a:gd name="T40" fmla="*/ 122 w 133"/>
              <a:gd name="T41" fmla="*/ 22 h 125"/>
              <a:gd name="T42" fmla="*/ 122 w 133"/>
              <a:gd name="T43" fmla="*/ 22 h 125"/>
              <a:gd name="T44" fmla="*/ 122 w 133"/>
              <a:gd name="T45" fmla="*/ 22 h 1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133" h="125">
                <a:moveTo>
                  <a:pt x="122" y="22"/>
                </a:moveTo>
                <a:cubicBezTo>
                  <a:pt x="117" y="14"/>
                  <a:pt x="109" y="7"/>
                  <a:pt x="101" y="1"/>
                </a:cubicBezTo>
                <a:cubicBezTo>
                  <a:pt x="99" y="0"/>
                  <a:pt x="97" y="0"/>
                  <a:pt x="95" y="1"/>
                </a:cubicBezTo>
                <a:cubicBezTo>
                  <a:pt x="94" y="2"/>
                  <a:pt x="93" y="4"/>
                  <a:pt x="93" y="6"/>
                </a:cubicBezTo>
                <a:cubicBezTo>
                  <a:pt x="93" y="17"/>
                  <a:pt x="93" y="17"/>
                  <a:pt x="93" y="17"/>
                </a:cubicBezTo>
                <a:cubicBezTo>
                  <a:pt x="93" y="19"/>
                  <a:pt x="93" y="20"/>
                  <a:pt x="95" y="21"/>
                </a:cubicBezTo>
                <a:cubicBezTo>
                  <a:pt x="106" y="30"/>
                  <a:pt x="113" y="44"/>
                  <a:pt x="113" y="59"/>
                </a:cubicBezTo>
                <a:cubicBezTo>
                  <a:pt x="113" y="84"/>
                  <a:pt x="92" y="106"/>
                  <a:pt x="66" y="106"/>
                </a:cubicBezTo>
                <a:cubicBezTo>
                  <a:pt x="40" y="106"/>
                  <a:pt x="19" y="84"/>
                  <a:pt x="19" y="59"/>
                </a:cubicBezTo>
                <a:cubicBezTo>
                  <a:pt x="19" y="44"/>
                  <a:pt x="26" y="30"/>
                  <a:pt x="38" y="21"/>
                </a:cubicBezTo>
                <a:cubicBezTo>
                  <a:pt x="39" y="20"/>
                  <a:pt x="40" y="19"/>
                  <a:pt x="40" y="17"/>
                </a:cubicBezTo>
                <a:cubicBezTo>
                  <a:pt x="40" y="6"/>
                  <a:pt x="40" y="6"/>
                  <a:pt x="40" y="6"/>
                </a:cubicBezTo>
                <a:cubicBezTo>
                  <a:pt x="40" y="4"/>
                  <a:pt x="39" y="2"/>
                  <a:pt x="37" y="1"/>
                </a:cubicBezTo>
                <a:cubicBezTo>
                  <a:pt x="36" y="0"/>
                  <a:pt x="34" y="0"/>
                  <a:pt x="32" y="1"/>
                </a:cubicBezTo>
                <a:cubicBezTo>
                  <a:pt x="23" y="7"/>
                  <a:pt x="16" y="14"/>
                  <a:pt x="10" y="22"/>
                </a:cubicBezTo>
                <a:cubicBezTo>
                  <a:pt x="3" y="33"/>
                  <a:pt x="0" y="46"/>
                  <a:pt x="0" y="59"/>
                </a:cubicBezTo>
                <a:cubicBezTo>
                  <a:pt x="0" y="76"/>
                  <a:pt x="7" y="93"/>
                  <a:pt x="19" y="106"/>
                </a:cubicBezTo>
                <a:cubicBezTo>
                  <a:pt x="32" y="118"/>
                  <a:pt x="48" y="125"/>
                  <a:pt x="66" y="125"/>
                </a:cubicBezTo>
                <a:cubicBezTo>
                  <a:pt x="84" y="125"/>
                  <a:pt x="101" y="118"/>
                  <a:pt x="113" y="106"/>
                </a:cubicBezTo>
                <a:cubicBezTo>
                  <a:pt x="126" y="93"/>
                  <a:pt x="133" y="76"/>
                  <a:pt x="133" y="59"/>
                </a:cubicBezTo>
                <a:cubicBezTo>
                  <a:pt x="133" y="46"/>
                  <a:pt x="129" y="33"/>
                  <a:pt x="122" y="22"/>
                </a:cubicBezTo>
                <a:close/>
                <a:moveTo>
                  <a:pt x="122" y="22"/>
                </a:moveTo>
                <a:cubicBezTo>
                  <a:pt x="122" y="22"/>
                  <a:pt x="122" y="22"/>
                  <a:pt x="122" y="22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74" name="îşļïḑè">
            <a:extLst>
              <a:ext uri="{FF2B5EF4-FFF2-40B4-BE49-F238E27FC236}">
                <a16:creationId xmlns:a16="http://schemas.microsoft.com/office/drawing/2014/main" id="{48A635F8-426A-40C1-9268-4214B3AEB585}"/>
              </a:ext>
            </a:extLst>
          </p:cNvPr>
          <p:cNvSpPr>
            <a:spLocks/>
          </p:cNvSpPr>
          <p:nvPr/>
        </p:nvSpPr>
        <p:spPr bwMode="auto">
          <a:xfrm>
            <a:off x="9268266" y="2651327"/>
            <a:ext cx="30532" cy="112733"/>
          </a:xfrm>
          <a:custGeom>
            <a:avLst/>
            <a:gdLst>
              <a:gd name="T0" fmla="*/ 5 w 22"/>
              <a:gd name="T1" fmla="*/ 81 h 81"/>
              <a:gd name="T2" fmla="*/ 17 w 22"/>
              <a:gd name="T3" fmla="*/ 81 h 81"/>
              <a:gd name="T4" fmla="*/ 22 w 22"/>
              <a:gd name="T5" fmla="*/ 76 h 81"/>
              <a:gd name="T6" fmla="*/ 22 w 22"/>
              <a:gd name="T7" fmla="*/ 5 h 81"/>
              <a:gd name="T8" fmla="*/ 17 w 22"/>
              <a:gd name="T9" fmla="*/ 0 h 81"/>
              <a:gd name="T10" fmla="*/ 5 w 22"/>
              <a:gd name="T11" fmla="*/ 0 h 81"/>
              <a:gd name="T12" fmla="*/ 0 w 22"/>
              <a:gd name="T13" fmla="*/ 5 h 81"/>
              <a:gd name="T14" fmla="*/ 0 w 22"/>
              <a:gd name="T15" fmla="*/ 76 h 81"/>
              <a:gd name="T16" fmla="*/ 5 w 22"/>
              <a:gd name="T17" fmla="*/ 81 h 81"/>
              <a:gd name="T18" fmla="*/ 5 w 22"/>
              <a:gd name="T19" fmla="*/ 81 h 81"/>
              <a:gd name="T20" fmla="*/ 5 w 22"/>
              <a:gd name="T21" fmla="*/ 81 h 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2" h="81">
                <a:moveTo>
                  <a:pt x="5" y="81"/>
                </a:moveTo>
                <a:cubicBezTo>
                  <a:pt x="17" y="81"/>
                  <a:pt x="17" y="81"/>
                  <a:pt x="17" y="81"/>
                </a:cubicBezTo>
                <a:cubicBezTo>
                  <a:pt x="20" y="81"/>
                  <a:pt x="22" y="78"/>
                  <a:pt x="22" y="76"/>
                </a:cubicBezTo>
                <a:cubicBezTo>
                  <a:pt x="22" y="5"/>
                  <a:pt x="22" y="5"/>
                  <a:pt x="22" y="5"/>
                </a:cubicBezTo>
                <a:cubicBezTo>
                  <a:pt x="22" y="2"/>
                  <a:pt x="20" y="0"/>
                  <a:pt x="17" y="0"/>
                </a:cubicBezTo>
                <a:cubicBezTo>
                  <a:pt x="5" y="0"/>
                  <a:pt x="5" y="0"/>
                  <a:pt x="5" y="0"/>
                </a:cubicBezTo>
                <a:cubicBezTo>
                  <a:pt x="2" y="0"/>
                  <a:pt x="0" y="2"/>
                  <a:pt x="0" y="5"/>
                </a:cubicBezTo>
                <a:cubicBezTo>
                  <a:pt x="0" y="76"/>
                  <a:pt x="0" y="76"/>
                  <a:pt x="0" y="76"/>
                </a:cubicBezTo>
                <a:cubicBezTo>
                  <a:pt x="0" y="78"/>
                  <a:pt x="2" y="81"/>
                  <a:pt x="5" y="81"/>
                </a:cubicBezTo>
                <a:close/>
                <a:moveTo>
                  <a:pt x="5" y="81"/>
                </a:moveTo>
                <a:cubicBezTo>
                  <a:pt x="5" y="81"/>
                  <a:pt x="5" y="81"/>
                  <a:pt x="5" y="81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75" name="iṥľiḋê">
            <a:extLst>
              <a:ext uri="{FF2B5EF4-FFF2-40B4-BE49-F238E27FC236}">
                <a16:creationId xmlns:a16="http://schemas.microsoft.com/office/drawing/2014/main" id="{04C6E345-D5FD-415D-9404-BBABA9657F3D}"/>
              </a:ext>
            </a:extLst>
          </p:cNvPr>
          <p:cNvSpPr>
            <a:spLocks/>
          </p:cNvSpPr>
          <p:nvPr/>
        </p:nvSpPr>
        <p:spPr bwMode="auto">
          <a:xfrm>
            <a:off x="8244269" y="2341897"/>
            <a:ext cx="184366" cy="173798"/>
          </a:xfrm>
          <a:custGeom>
            <a:avLst/>
            <a:gdLst>
              <a:gd name="T0" fmla="*/ 123 w 133"/>
              <a:gd name="T1" fmla="*/ 22 h 125"/>
              <a:gd name="T2" fmla="*/ 101 w 133"/>
              <a:gd name="T3" fmla="*/ 1 h 125"/>
              <a:gd name="T4" fmla="*/ 96 w 133"/>
              <a:gd name="T5" fmla="*/ 1 h 125"/>
              <a:gd name="T6" fmla="*/ 93 w 133"/>
              <a:gd name="T7" fmla="*/ 6 h 125"/>
              <a:gd name="T8" fmla="*/ 93 w 133"/>
              <a:gd name="T9" fmla="*/ 17 h 125"/>
              <a:gd name="T10" fmla="*/ 95 w 133"/>
              <a:gd name="T11" fmla="*/ 21 h 125"/>
              <a:gd name="T12" fmla="*/ 114 w 133"/>
              <a:gd name="T13" fmla="*/ 58 h 125"/>
              <a:gd name="T14" fmla="*/ 67 w 133"/>
              <a:gd name="T15" fmla="*/ 106 h 125"/>
              <a:gd name="T16" fmla="*/ 20 w 133"/>
              <a:gd name="T17" fmla="*/ 58 h 125"/>
              <a:gd name="T18" fmla="*/ 38 w 133"/>
              <a:gd name="T19" fmla="*/ 21 h 125"/>
              <a:gd name="T20" fmla="*/ 40 w 133"/>
              <a:gd name="T21" fmla="*/ 17 h 125"/>
              <a:gd name="T22" fmla="*/ 40 w 133"/>
              <a:gd name="T23" fmla="*/ 6 h 125"/>
              <a:gd name="T24" fmla="*/ 38 w 133"/>
              <a:gd name="T25" fmla="*/ 1 h 125"/>
              <a:gd name="T26" fmla="*/ 32 w 133"/>
              <a:gd name="T27" fmla="*/ 1 h 125"/>
              <a:gd name="T28" fmla="*/ 11 w 133"/>
              <a:gd name="T29" fmla="*/ 22 h 125"/>
              <a:gd name="T30" fmla="*/ 0 w 133"/>
              <a:gd name="T31" fmla="*/ 58 h 125"/>
              <a:gd name="T32" fmla="*/ 20 w 133"/>
              <a:gd name="T33" fmla="*/ 106 h 125"/>
              <a:gd name="T34" fmla="*/ 67 w 133"/>
              <a:gd name="T35" fmla="*/ 125 h 125"/>
              <a:gd name="T36" fmla="*/ 114 w 133"/>
              <a:gd name="T37" fmla="*/ 106 h 125"/>
              <a:gd name="T38" fmla="*/ 133 w 133"/>
              <a:gd name="T39" fmla="*/ 58 h 125"/>
              <a:gd name="T40" fmla="*/ 123 w 133"/>
              <a:gd name="T41" fmla="*/ 22 h 125"/>
              <a:gd name="T42" fmla="*/ 123 w 133"/>
              <a:gd name="T43" fmla="*/ 22 h 125"/>
              <a:gd name="T44" fmla="*/ 123 w 133"/>
              <a:gd name="T45" fmla="*/ 22 h 1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133" h="125">
                <a:moveTo>
                  <a:pt x="123" y="22"/>
                </a:moveTo>
                <a:cubicBezTo>
                  <a:pt x="117" y="14"/>
                  <a:pt x="110" y="7"/>
                  <a:pt x="101" y="1"/>
                </a:cubicBezTo>
                <a:cubicBezTo>
                  <a:pt x="99" y="0"/>
                  <a:pt x="97" y="0"/>
                  <a:pt x="96" y="1"/>
                </a:cubicBezTo>
                <a:cubicBezTo>
                  <a:pt x="94" y="2"/>
                  <a:pt x="93" y="4"/>
                  <a:pt x="93" y="6"/>
                </a:cubicBezTo>
                <a:cubicBezTo>
                  <a:pt x="93" y="17"/>
                  <a:pt x="93" y="17"/>
                  <a:pt x="93" y="17"/>
                </a:cubicBezTo>
                <a:cubicBezTo>
                  <a:pt x="93" y="18"/>
                  <a:pt x="94" y="20"/>
                  <a:pt x="95" y="21"/>
                </a:cubicBezTo>
                <a:cubicBezTo>
                  <a:pt x="107" y="30"/>
                  <a:pt x="114" y="44"/>
                  <a:pt x="114" y="58"/>
                </a:cubicBezTo>
                <a:cubicBezTo>
                  <a:pt x="114" y="84"/>
                  <a:pt x="93" y="106"/>
                  <a:pt x="67" y="106"/>
                </a:cubicBezTo>
                <a:cubicBezTo>
                  <a:pt x="41" y="106"/>
                  <a:pt x="20" y="84"/>
                  <a:pt x="20" y="58"/>
                </a:cubicBezTo>
                <a:cubicBezTo>
                  <a:pt x="20" y="44"/>
                  <a:pt x="27" y="30"/>
                  <a:pt x="38" y="21"/>
                </a:cubicBezTo>
                <a:cubicBezTo>
                  <a:pt x="40" y="20"/>
                  <a:pt x="40" y="18"/>
                  <a:pt x="40" y="17"/>
                </a:cubicBezTo>
                <a:cubicBezTo>
                  <a:pt x="40" y="6"/>
                  <a:pt x="40" y="6"/>
                  <a:pt x="40" y="6"/>
                </a:cubicBezTo>
                <a:cubicBezTo>
                  <a:pt x="40" y="4"/>
                  <a:pt x="39" y="2"/>
                  <a:pt x="38" y="1"/>
                </a:cubicBezTo>
                <a:cubicBezTo>
                  <a:pt x="36" y="0"/>
                  <a:pt x="34" y="0"/>
                  <a:pt x="32" y="1"/>
                </a:cubicBezTo>
                <a:cubicBezTo>
                  <a:pt x="24" y="7"/>
                  <a:pt x="16" y="14"/>
                  <a:pt x="11" y="22"/>
                </a:cubicBezTo>
                <a:cubicBezTo>
                  <a:pt x="4" y="33"/>
                  <a:pt x="0" y="46"/>
                  <a:pt x="0" y="58"/>
                </a:cubicBezTo>
                <a:cubicBezTo>
                  <a:pt x="0" y="76"/>
                  <a:pt x="7" y="93"/>
                  <a:pt x="20" y="106"/>
                </a:cubicBezTo>
                <a:cubicBezTo>
                  <a:pt x="32" y="118"/>
                  <a:pt x="49" y="125"/>
                  <a:pt x="67" y="125"/>
                </a:cubicBezTo>
                <a:cubicBezTo>
                  <a:pt x="85" y="125"/>
                  <a:pt x="101" y="118"/>
                  <a:pt x="114" y="106"/>
                </a:cubicBezTo>
                <a:cubicBezTo>
                  <a:pt x="126" y="93"/>
                  <a:pt x="133" y="76"/>
                  <a:pt x="133" y="58"/>
                </a:cubicBezTo>
                <a:cubicBezTo>
                  <a:pt x="133" y="46"/>
                  <a:pt x="130" y="33"/>
                  <a:pt x="123" y="22"/>
                </a:cubicBezTo>
                <a:close/>
                <a:moveTo>
                  <a:pt x="123" y="22"/>
                </a:moveTo>
                <a:cubicBezTo>
                  <a:pt x="123" y="22"/>
                  <a:pt x="123" y="22"/>
                  <a:pt x="123" y="22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76" name="ïṣľíḋe">
            <a:extLst>
              <a:ext uri="{FF2B5EF4-FFF2-40B4-BE49-F238E27FC236}">
                <a16:creationId xmlns:a16="http://schemas.microsoft.com/office/drawing/2014/main" id="{D20287D5-E210-4CEF-A55C-BD6A0C50C757}"/>
              </a:ext>
            </a:extLst>
          </p:cNvPr>
          <p:cNvSpPr>
            <a:spLocks/>
          </p:cNvSpPr>
          <p:nvPr/>
        </p:nvSpPr>
        <p:spPr bwMode="auto">
          <a:xfrm>
            <a:off x="8321774" y="2319585"/>
            <a:ext cx="30532" cy="110972"/>
          </a:xfrm>
          <a:custGeom>
            <a:avLst/>
            <a:gdLst>
              <a:gd name="T0" fmla="*/ 5 w 22"/>
              <a:gd name="T1" fmla="*/ 80 h 80"/>
              <a:gd name="T2" fmla="*/ 17 w 22"/>
              <a:gd name="T3" fmla="*/ 80 h 80"/>
              <a:gd name="T4" fmla="*/ 22 w 22"/>
              <a:gd name="T5" fmla="*/ 76 h 80"/>
              <a:gd name="T6" fmla="*/ 22 w 22"/>
              <a:gd name="T7" fmla="*/ 5 h 80"/>
              <a:gd name="T8" fmla="*/ 17 w 22"/>
              <a:gd name="T9" fmla="*/ 0 h 80"/>
              <a:gd name="T10" fmla="*/ 5 w 22"/>
              <a:gd name="T11" fmla="*/ 0 h 80"/>
              <a:gd name="T12" fmla="*/ 0 w 22"/>
              <a:gd name="T13" fmla="*/ 5 h 80"/>
              <a:gd name="T14" fmla="*/ 0 w 22"/>
              <a:gd name="T15" fmla="*/ 76 h 80"/>
              <a:gd name="T16" fmla="*/ 5 w 22"/>
              <a:gd name="T17" fmla="*/ 80 h 80"/>
              <a:gd name="T18" fmla="*/ 5 w 22"/>
              <a:gd name="T19" fmla="*/ 80 h 80"/>
              <a:gd name="T20" fmla="*/ 5 w 22"/>
              <a:gd name="T21" fmla="*/ 80 h 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2" h="80">
                <a:moveTo>
                  <a:pt x="5" y="80"/>
                </a:moveTo>
                <a:cubicBezTo>
                  <a:pt x="17" y="80"/>
                  <a:pt x="17" y="80"/>
                  <a:pt x="17" y="80"/>
                </a:cubicBezTo>
                <a:cubicBezTo>
                  <a:pt x="20" y="80"/>
                  <a:pt x="22" y="78"/>
                  <a:pt x="22" y="76"/>
                </a:cubicBezTo>
                <a:cubicBezTo>
                  <a:pt x="22" y="5"/>
                  <a:pt x="22" y="5"/>
                  <a:pt x="22" y="5"/>
                </a:cubicBezTo>
                <a:cubicBezTo>
                  <a:pt x="22" y="2"/>
                  <a:pt x="20" y="0"/>
                  <a:pt x="17" y="0"/>
                </a:cubicBezTo>
                <a:cubicBezTo>
                  <a:pt x="5" y="0"/>
                  <a:pt x="5" y="0"/>
                  <a:pt x="5" y="0"/>
                </a:cubicBezTo>
                <a:cubicBezTo>
                  <a:pt x="2" y="0"/>
                  <a:pt x="0" y="2"/>
                  <a:pt x="0" y="5"/>
                </a:cubicBezTo>
                <a:cubicBezTo>
                  <a:pt x="0" y="76"/>
                  <a:pt x="0" y="76"/>
                  <a:pt x="0" y="76"/>
                </a:cubicBezTo>
                <a:cubicBezTo>
                  <a:pt x="0" y="78"/>
                  <a:pt x="2" y="80"/>
                  <a:pt x="5" y="80"/>
                </a:cubicBezTo>
                <a:close/>
                <a:moveTo>
                  <a:pt x="5" y="80"/>
                </a:moveTo>
                <a:cubicBezTo>
                  <a:pt x="5" y="80"/>
                  <a:pt x="5" y="80"/>
                  <a:pt x="5" y="8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77" name="işlíḍê">
            <a:extLst>
              <a:ext uri="{FF2B5EF4-FFF2-40B4-BE49-F238E27FC236}">
                <a16:creationId xmlns:a16="http://schemas.microsoft.com/office/drawing/2014/main" id="{A5383B32-6581-4C87-B0C3-2B21FBF6511F}"/>
              </a:ext>
            </a:extLst>
          </p:cNvPr>
          <p:cNvSpPr>
            <a:spLocks/>
          </p:cNvSpPr>
          <p:nvPr/>
        </p:nvSpPr>
        <p:spPr bwMode="auto">
          <a:xfrm>
            <a:off x="10427897" y="2226814"/>
            <a:ext cx="85725" cy="61064"/>
          </a:xfrm>
          <a:custGeom>
            <a:avLst/>
            <a:gdLst>
              <a:gd name="T0" fmla="*/ 2 w 62"/>
              <a:gd name="T1" fmla="*/ 25 h 44"/>
              <a:gd name="T2" fmla="*/ 50 w 62"/>
              <a:gd name="T3" fmla="*/ 44 h 44"/>
              <a:gd name="T4" fmla="*/ 53 w 62"/>
              <a:gd name="T5" fmla="*/ 42 h 44"/>
              <a:gd name="T6" fmla="*/ 62 w 62"/>
              <a:gd name="T7" fmla="*/ 21 h 44"/>
              <a:gd name="T8" fmla="*/ 9 w 62"/>
              <a:gd name="T9" fmla="*/ 0 h 44"/>
              <a:gd name="T10" fmla="*/ 0 w 62"/>
              <a:gd name="T11" fmla="*/ 21 h 44"/>
              <a:gd name="T12" fmla="*/ 2 w 62"/>
              <a:gd name="T13" fmla="*/ 25 h 44"/>
              <a:gd name="T14" fmla="*/ 2 w 62"/>
              <a:gd name="T15" fmla="*/ 25 h 44"/>
              <a:gd name="T16" fmla="*/ 2 w 62"/>
              <a:gd name="T17" fmla="*/ 25 h 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2" h="44">
                <a:moveTo>
                  <a:pt x="2" y="25"/>
                </a:moveTo>
                <a:cubicBezTo>
                  <a:pt x="50" y="44"/>
                  <a:pt x="50" y="44"/>
                  <a:pt x="50" y="44"/>
                </a:cubicBezTo>
                <a:cubicBezTo>
                  <a:pt x="51" y="44"/>
                  <a:pt x="53" y="44"/>
                  <a:pt x="53" y="42"/>
                </a:cubicBezTo>
                <a:cubicBezTo>
                  <a:pt x="62" y="21"/>
                  <a:pt x="62" y="21"/>
                  <a:pt x="62" y="21"/>
                </a:cubicBezTo>
                <a:cubicBezTo>
                  <a:pt x="9" y="0"/>
                  <a:pt x="9" y="0"/>
                  <a:pt x="9" y="0"/>
                </a:cubicBezTo>
                <a:cubicBezTo>
                  <a:pt x="0" y="21"/>
                  <a:pt x="0" y="21"/>
                  <a:pt x="0" y="21"/>
                </a:cubicBezTo>
                <a:cubicBezTo>
                  <a:pt x="0" y="22"/>
                  <a:pt x="0" y="24"/>
                  <a:pt x="2" y="25"/>
                </a:cubicBezTo>
                <a:close/>
                <a:moveTo>
                  <a:pt x="2" y="25"/>
                </a:moveTo>
                <a:cubicBezTo>
                  <a:pt x="2" y="25"/>
                  <a:pt x="2" y="25"/>
                  <a:pt x="2" y="25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78" name="ïṣḻïḋê">
            <a:extLst>
              <a:ext uri="{FF2B5EF4-FFF2-40B4-BE49-F238E27FC236}">
                <a16:creationId xmlns:a16="http://schemas.microsoft.com/office/drawing/2014/main" id="{B49C75F0-599E-455E-B087-49190D6EBFF7}"/>
              </a:ext>
            </a:extLst>
          </p:cNvPr>
          <p:cNvSpPr>
            <a:spLocks/>
          </p:cNvSpPr>
          <p:nvPr/>
        </p:nvSpPr>
        <p:spPr bwMode="auto">
          <a:xfrm>
            <a:off x="10319273" y="2208613"/>
            <a:ext cx="226642" cy="244256"/>
          </a:xfrm>
          <a:custGeom>
            <a:avLst/>
            <a:gdLst>
              <a:gd name="T0" fmla="*/ 162 w 163"/>
              <a:gd name="T1" fmla="*/ 81 h 176"/>
              <a:gd name="T2" fmla="*/ 146 w 163"/>
              <a:gd name="T3" fmla="*/ 43 h 176"/>
              <a:gd name="T4" fmla="*/ 140 w 163"/>
              <a:gd name="T5" fmla="*/ 59 h 176"/>
              <a:gd name="T6" fmla="*/ 124 w 163"/>
              <a:gd name="T7" fmla="*/ 65 h 176"/>
              <a:gd name="T8" fmla="*/ 76 w 163"/>
              <a:gd name="T9" fmla="*/ 46 h 176"/>
              <a:gd name="T10" fmla="*/ 70 w 163"/>
              <a:gd name="T11" fmla="*/ 30 h 176"/>
              <a:gd name="T12" fmla="*/ 78 w 163"/>
              <a:gd name="T13" fmla="*/ 9 h 176"/>
              <a:gd name="T14" fmla="*/ 61 w 163"/>
              <a:gd name="T15" fmla="*/ 2 h 176"/>
              <a:gd name="T16" fmla="*/ 44 w 163"/>
              <a:gd name="T17" fmla="*/ 9 h 176"/>
              <a:gd name="T18" fmla="*/ 2 w 163"/>
              <a:gd name="T19" fmla="*/ 114 h 176"/>
              <a:gd name="T20" fmla="*/ 9 w 163"/>
              <a:gd name="T21" fmla="*/ 131 h 176"/>
              <a:gd name="T22" fmla="*/ 114 w 163"/>
              <a:gd name="T23" fmla="*/ 173 h 176"/>
              <a:gd name="T24" fmla="*/ 130 w 163"/>
              <a:gd name="T25" fmla="*/ 166 h 176"/>
              <a:gd name="T26" fmla="*/ 162 w 163"/>
              <a:gd name="T27" fmla="*/ 87 h 176"/>
              <a:gd name="T28" fmla="*/ 162 w 163"/>
              <a:gd name="T29" fmla="*/ 81 h 176"/>
              <a:gd name="T30" fmla="*/ 117 w 163"/>
              <a:gd name="T31" fmla="*/ 143 h 176"/>
              <a:gd name="T32" fmla="*/ 107 w 163"/>
              <a:gd name="T33" fmla="*/ 147 h 176"/>
              <a:gd name="T34" fmla="*/ 32 w 163"/>
              <a:gd name="T35" fmla="*/ 117 h 176"/>
              <a:gd name="T36" fmla="*/ 28 w 163"/>
              <a:gd name="T37" fmla="*/ 107 h 176"/>
              <a:gd name="T38" fmla="*/ 43 w 163"/>
              <a:gd name="T39" fmla="*/ 71 h 176"/>
              <a:gd name="T40" fmla="*/ 52 w 163"/>
              <a:gd name="T41" fmla="*/ 67 h 176"/>
              <a:gd name="T42" fmla="*/ 127 w 163"/>
              <a:gd name="T43" fmla="*/ 97 h 176"/>
              <a:gd name="T44" fmla="*/ 131 w 163"/>
              <a:gd name="T45" fmla="*/ 107 h 176"/>
              <a:gd name="T46" fmla="*/ 117 w 163"/>
              <a:gd name="T47" fmla="*/ 143 h 176"/>
              <a:gd name="T48" fmla="*/ 117 w 163"/>
              <a:gd name="T49" fmla="*/ 143 h 176"/>
              <a:gd name="T50" fmla="*/ 117 w 163"/>
              <a:gd name="T51" fmla="*/ 143 h 1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63" h="176">
                <a:moveTo>
                  <a:pt x="162" y="81"/>
                </a:moveTo>
                <a:cubicBezTo>
                  <a:pt x="146" y="43"/>
                  <a:pt x="146" y="43"/>
                  <a:pt x="146" y="43"/>
                </a:cubicBezTo>
                <a:cubicBezTo>
                  <a:pt x="140" y="59"/>
                  <a:pt x="140" y="59"/>
                  <a:pt x="140" y="59"/>
                </a:cubicBezTo>
                <a:cubicBezTo>
                  <a:pt x="137" y="65"/>
                  <a:pt x="130" y="68"/>
                  <a:pt x="124" y="65"/>
                </a:cubicBezTo>
                <a:cubicBezTo>
                  <a:pt x="76" y="46"/>
                  <a:pt x="76" y="46"/>
                  <a:pt x="76" y="46"/>
                </a:cubicBezTo>
                <a:cubicBezTo>
                  <a:pt x="70" y="44"/>
                  <a:pt x="67" y="37"/>
                  <a:pt x="70" y="30"/>
                </a:cubicBezTo>
                <a:cubicBezTo>
                  <a:pt x="78" y="9"/>
                  <a:pt x="78" y="9"/>
                  <a:pt x="78" y="9"/>
                </a:cubicBezTo>
                <a:cubicBezTo>
                  <a:pt x="61" y="2"/>
                  <a:pt x="61" y="2"/>
                  <a:pt x="61" y="2"/>
                </a:cubicBezTo>
                <a:cubicBezTo>
                  <a:pt x="54" y="0"/>
                  <a:pt x="47" y="3"/>
                  <a:pt x="44" y="9"/>
                </a:cubicBezTo>
                <a:cubicBezTo>
                  <a:pt x="2" y="114"/>
                  <a:pt x="2" y="114"/>
                  <a:pt x="2" y="114"/>
                </a:cubicBezTo>
                <a:cubicBezTo>
                  <a:pt x="0" y="121"/>
                  <a:pt x="3" y="128"/>
                  <a:pt x="9" y="131"/>
                </a:cubicBezTo>
                <a:cubicBezTo>
                  <a:pt x="114" y="173"/>
                  <a:pt x="114" y="173"/>
                  <a:pt x="114" y="173"/>
                </a:cubicBezTo>
                <a:cubicBezTo>
                  <a:pt x="120" y="176"/>
                  <a:pt x="128" y="172"/>
                  <a:pt x="130" y="166"/>
                </a:cubicBezTo>
                <a:cubicBezTo>
                  <a:pt x="162" y="87"/>
                  <a:pt x="162" y="87"/>
                  <a:pt x="162" y="87"/>
                </a:cubicBezTo>
                <a:cubicBezTo>
                  <a:pt x="163" y="85"/>
                  <a:pt x="163" y="83"/>
                  <a:pt x="162" y="81"/>
                </a:cubicBezTo>
                <a:close/>
                <a:moveTo>
                  <a:pt x="117" y="143"/>
                </a:moveTo>
                <a:cubicBezTo>
                  <a:pt x="115" y="146"/>
                  <a:pt x="111" y="148"/>
                  <a:pt x="107" y="147"/>
                </a:cubicBezTo>
                <a:cubicBezTo>
                  <a:pt x="32" y="117"/>
                  <a:pt x="32" y="117"/>
                  <a:pt x="32" y="117"/>
                </a:cubicBezTo>
                <a:cubicBezTo>
                  <a:pt x="29" y="115"/>
                  <a:pt x="27" y="111"/>
                  <a:pt x="28" y="107"/>
                </a:cubicBezTo>
                <a:cubicBezTo>
                  <a:pt x="43" y="71"/>
                  <a:pt x="43" y="71"/>
                  <a:pt x="43" y="71"/>
                </a:cubicBezTo>
                <a:cubicBezTo>
                  <a:pt x="44" y="67"/>
                  <a:pt x="49" y="66"/>
                  <a:pt x="52" y="67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31" y="99"/>
                  <a:pt x="133" y="103"/>
                  <a:pt x="131" y="107"/>
                </a:cubicBezTo>
                <a:lnTo>
                  <a:pt x="117" y="143"/>
                </a:lnTo>
                <a:close/>
                <a:moveTo>
                  <a:pt x="117" y="143"/>
                </a:moveTo>
                <a:cubicBezTo>
                  <a:pt x="117" y="143"/>
                  <a:pt x="117" y="143"/>
                  <a:pt x="117" y="143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79" name="íś1ïḑê">
            <a:extLst>
              <a:ext uri="{FF2B5EF4-FFF2-40B4-BE49-F238E27FC236}">
                <a16:creationId xmlns:a16="http://schemas.microsoft.com/office/drawing/2014/main" id="{F04FDBD8-E899-4714-9A9E-8B0C05364206}"/>
              </a:ext>
            </a:extLst>
          </p:cNvPr>
          <p:cNvSpPr>
            <a:spLocks/>
          </p:cNvSpPr>
          <p:nvPr/>
        </p:nvSpPr>
        <p:spPr bwMode="auto">
          <a:xfrm>
            <a:off x="10387383" y="2319585"/>
            <a:ext cx="95706" cy="48734"/>
          </a:xfrm>
          <a:custGeom>
            <a:avLst/>
            <a:gdLst>
              <a:gd name="T0" fmla="*/ 66 w 69"/>
              <a:gd name="T1" fmla="*/ 25 h 35"/>
              <a:gd name="T2" fmla="*/ 7 w 69"/>
              <a:gd name="T3" fmla="*/ 1 h 35"/>
              <a:gd name="T4" fmla="*/ 1 w 69"/>
              <a:gd name="T5" fmla="*/ 4 h 35"/>
              <a:gd name="T6" fmla="*/ 3 w 69"/>
              <a:gd name="T7" fmla="*/ 10 h 35"/>
              <a:gd name="T8" fmla="*/ 62 w 69"/>
              <a:gd name="T9" fmla="*/ 34 h 35"/>
              <a:gd name="T10" fmla="*/ 68 w 69"/>
              <a:gd name="T11" fmla="*/ 31 h 35"/>
              <a:gd name="T12" fmla="*/ 66 w 69"/>
              <a:gd name="T13" fmla="*/ 25 h 35"/>
              <a:gd name="T14" fmla="*/ 66 w 69"/>
              <a:gd name="T15" fmla="*/ 25 h 35"/>
              <a:gd name="T16" fmla="*/ 66 w 69"/>
              <a:gd name="T17" fmla="*/ 25 h 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9" h="35">
                <a:moveTo>
                  <a:pt x="66" y="25"/>
                </a:moveTo>
                <a:cubicBezTo>
                  <a:pt x="7" y="1"/>
                  <a:pt x="7" y="1"/>
                  <a:pt x="7" y="1"/>
                </a:cubicBezTo>
                <a:cubicBezTo>
                  <a:pt x="4" y="0"/>
                  <a:pt x="2" y="1"/>
                  <a:pt x="1" y="4"/>
                </a:cubicBezTo>
                <a:cubicBezTo>
                  <a:pt x="0" y="6"/>
                  <a:pt x="1" y="9"/>
                  <a:pt x="3" y="10"/>
                </a:cubicBezTo>
                <a:cubicBezTo>
                  <a:pt x="62" y="34"/>
                  <a:pt x="62" y="34"/>
                  <a:pt x="62" y="34"/>
                </a:cubicBezTo>
                <a:cubicBezTo>
                  <a:pt x="65" y="35"/>
                  <a:pt x="67" y="33"/>
                  <a:pt x="68" y="31"/>
                </a:cubicBezTo>
                <a:cubicBezTo>
                  <a:pt x="69" y="29"/>
                  <a:pt x="68" y="26"/>
                  <a:pt x="66" y="25"/>
                </a:cubicBezTo>
                <a:close/>
                <a:moveTo>
                  <a:pt x="66" y="25"/>
                </a:moveTo>
                <a:cubicBezTo>
                  <a:pt x="66" y="25"/>
                  <a:pt x="66" y="25"/>
                  <a:pt x="66" y="25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80" name="iṥľíḋé">
            <a:extLst>
              <a:ext uri="{FF2B5EF4-FFF2-40B4-BE49-F238E27FC236}">
                <a16:creationId xmlns:a16="http://schemas.microsoft.com/office/drawing/2014/main" id="{A8C0CA64-2576-46D8-8272-272848B4CA15}"/>
              </a:ext>
            </a:extLst>
          </p:cNvPr>
          <p:cNvSpPr>
            <a:spLocks/>
          </p:cNvSpPr>
          <p:nvPr/>
        </p:nvSpPr>
        <p:spPr bwMode="auto">
          <a:xfrm>
            <a:off x="10388557" y="2348943"/>
            <a:ext cx="73981" cy="37578"/>
          </a:xfrm>
          <a:custGeom>
            <a:avLst/>
            <a:gdLst>
              <a:gd name="T0" fmla="*/ 49 w 53"/>
              <a:gd name="T1" fmla="*/ 18 h 27"/>
              <a:gd name="T2" fmla="*/ 7 w 53"/>
              <a:gd name="T3" fmla="*/ 1 h 27"/>
              <a:gd name="T4" fmla="*/ 1 w 53"/>
              <a:gd name="T5" fmla="*/ 3 h 27"/>
              <a:gd name="T6" fmla="*/ 4 w 53"/>
              <a:gd name="T7" fmla="*/ 9 h 27"/>
              <a:gd name="T8" fmla="*/ 46 w 53"/>
              <a:gd name="T9" fmla="*/ 26 h 27"/>
              <a:gd name="T10" fmla="*/ 52 w 53"/>
              <a:gd name="T11" fmla="*/ 24 h 27"/>
              <a:gd name="T12" fmla="*/ 49 w 53"/>
              <a:gd name="T13" fmla="*/ 18 h 27"/>
              <a:gd name="T14" fmla="*/ 49 w 53"/>
              <a:gd name="T15" fmla="*/ 18 h 27"/>
              <a:gd name="T16" fmla="*/ 49 w 53"/>
              <a:gd name="T17" fmla="*/ 18 h 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3" h="27">
                <a:moveTo>
                  <a:pt x="49" y="18"/>
                </a:moveTo>
                <a:cubicBezTo>
                  <a:pt x="7" y="1"/>
                  <a:pt x="7" y="1"/>
                  <a:pt x="7" y="1"/>
                </a:cubicBezTo>
                <a:cubicBezTo>
                  <a:pt x="5" y="0"/>
                  <a:pt x="2" y="1"/>
                  <a:pt x="1" y="3"/>
                </a:cubicBezTo>
                <a:cubicBezTo>
                  <a:pt x="0" y="6"/>
                  <a:pt x="2" y="8"/>
                  <a:pt x="4" y="9"/>
                </a:cubicBezTo>
                <a:cubicBezTo>
                  <a:pt x="46" y="26"/>
                  <a:pt x="46" y="26"/>
                  <a:pt x="46" y="26"/>
                </a:cubicBezTo>
                <a:cubicBezTo>
                  <a:pt x="48" y="27"/>
                  <a:pt x="51" y="26"/>
                  <a:pt x="52" y="24"/>
                </a:cubicBezTo>
                <a:cubicBezTo>
                  <a:pt x="53" y="21"/>
                  <a:pt x="52" y="19"/>
                  <a:pt x="49" y="18"/>
                </a:cubicBezTo>
                <a:close/>
                <a:moveTo>
                  <a:pt x="49" y="18"/>
                </a:moveTo>
                <a:cubicBezTo>
                  <a:pt x="49" y="18"/>
                  <a:pt x="49" y="18"/>
                  <a:pt x="49" y="18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81" name="îşlíḍé">
            <a:extLst>
              <a:ext uri="{FF2B5EF4-FFF2-40B4-BE49-F238E27FC236}">
                <a16:creationId xmlns:a16="http://schemas.microsoft.com/office/drawing/2014/main" id="{85455B92-AFAA-4C41-ADCA-107FB8854FD9}"/>
              </a:ext>
            </a:extLst>
          </p:cNvPr>
          <p:cNvSpPr>
            <a:spLocks/>
          </p:cNvSpPr>
          <p:nvPr/>
        </p:nvSpPr>
        <p:spPr bwMode="auto">
          <a:xfrm>
            <a:off x="8429810" y="2498667"/>
            <a:ext cx="87486" cy="62825"/>
          </a:xfrm>
          <a:custGeom>
            <a:avLst/>
            <a:gdLst>
              <a:gd name="T0" fmla="*/ 60 w 63"/>
              <a:gd name="T1" fmla="*/ 25 h 45"/>
              <a:gd name="T2" fmla="*/ 62 w 63"/>
              <a:gd name="T3" fmla="*/ 21 h 45"/>
              <a:gd name="T4" fmla="*/ 53 w 63"/>
              <a:gd name="T5" fmla="*/ 0 h 45"/>
              <a:gd name="T6" fmla="*/ 0 w 63"/>
              <a:gd name="T7" fmla="*/ 22 h 45"/>
              <a:gd name="T8" fmla="*/ 9 w 63"/>
              <a:gd name="T9" fmla="*/ 43 h 45"/>
              <a:gd name="T10" fmla="*/ 13 w 63"/>
              <a:gd name="T11" fmla="*/ 44 h 45"/>
              <a:gd name="T12" fmla="*/ 60 w 63"/>
              <a:gd name="T13" fmla="*/ 25 h 45"/>
              <a:gd name="T14" fmla="*/ 60 w 63"/>
              <a:gd name="T15" fmla="*/ 25 h 45"/>
              <a:gd name="T16" fmla="*/ 60 w 63"/>
              <a:gd name="T17" fmla="*/ 25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3" h="45">
                <a:moveTo>
                  <a:pt x="60" y="25"/>
                </a:moveTo>
                <a:cubicBezTo>
                  <a:pt x="62" y="24"/>
                  <a:pt x="63" y="23"/>
                  <a:pt x="62" y="21"/>
                </a:cubicBezTo>
                <a:cubicBezTo>
                  <a:pt x="53" y="0"/>
                  <a:pt x="53" y="0"/>
                  <a:pt x="53" y="0"/>
                </a:cubicBezTo>
                <a:cubicBezTo>
                  <a:pt x="0" y="22"/>
                  <a:pt x="0" y="22"/>
                  <a:pt x="0" y="22"/>
                </a:cubicBezTo>
                <a:cubicBezTo>
                  <a:pt x="9" y="43"/>
                  <a:pt x="9" y="43"/>
                  <a:pt x="9" y="43"/>
                </a:cubicBezTo>
                <a:cubicBezTo>
                  <a:pt x="9" y="44"/>
                  <a:pt x="11" y="45"/>
                  <a:pt x="13" y="44"/>
                </a:cubicBezTo>
                <a:cubicBezTo>
                  <a:pt x="60" y="25"/>
                  <a:pt x="60" y="25"/>
                  <a:pt x="60" y="25"/>
                </a:cubicBezTo>
                <a:close/>
                <a:moveTo>
                  <a:pt x="60" y="25"/>
                </a:moveTo>
                <a:cubicBezTo>
                  <a:pt x="60" y="25"/>
                  <a:pt x="60" y="25"/>
                  <a:pt x="60" y="25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82" name="iṧḻîḑe">
            <a:extLst>
              <a:ext uri="{FF2B5EF4-FFF2-40B4-BE49-F238E27FC236}">
                <a16:creationId xmlns:a16="http://schemas.microsoft.com/office/drawing/2014/main" id="{2ADCAC2F-C9B6-4095-BDBC-2772CBFEEDB8}"/>
              </a:ext>
            </a:extLst>
          </p:cNvPr>
          <p:cNvSpPr>
            <a:spLocks/>
          </p:cNvSpPr>
          <p:nvPr/>
        </p:nvSpPr>
        <p:spPr bwMode="auto">
          <a:xfrm>
            <a:off x="8398104" y="2480465"/>
            <a:ext cx="227816" cy="244843"/>
          </a:xfrm>
          <a:custGeom>
            <a:avLst/>
            <a:gdLst>
              <a:gd name="T0" fmla="*/ 1 w 164"/>
              <a:gd name="T1" fmla="*/ 81 h 176"/>
              <a:gd name="T2" fmla="*/ 1 w 164"/>
              <a:gd name="T3" fmla="*/ 87 h 176"/>
              <a:gd name="T4" fmla="*/ 33 w 164"/>
              <a:gd name="T5" fmla="*/ 166 h 176"/>
              <a:gd name="T6" fmla="*/ 49 w 164"/>
              <a:gd name="T7" fmla="*/ 173 h 176"/>
              <a:gd name="T8" fmla="*/ 154 w 164"/>
              <a:gd name="T9" fmla="*/ 131 h 176"/>
              <a:gd name="T10" fmla="*/ 161 w 164"/>
              <a:gd name="T11" fmla="*/ 114 h 176"/>
              <a:gd name="T12" fmla="*/ 119 w 164"/>
              <a:gd name="T13" fmla="*/ 10 h 176"/>
              <a:gd name="T14" fmla="*/ 102 w 164"/>
              <a:gd name="T15" fmla="*/ 3 h 176"/>
              <a:gd name="T16" fmla="*/ 85 w 164"/>
              <a:gd name="T17" fmla="*/ 10 h 176"/>
              <a:gd name="T18" fmla="*/ 94 w 164"/>
              <a:gd name="T19" fmla="*/ 31 h 176"/>
              <a:gd name="T20" fmla="*/ 87 w 164"/>
              <a:gd name="T21" fmla="*/ 46 h 176"/>
              <a:gd name="T22" fmla="*/ 39 w 164"/>
              <a:gd name="T23" fmla="*/ 66 h 176"/>
              <a:gd name="T24" fmla="*/ 23 w 164"/>
              <a:gd name="T25" fmla="*/ 59 h 176"/>
              <a:gd name="T26" fmla="*/ 17 w 164"/>
              <a:gd name="T27" fmla="*/ 43 h 176"/>
              <a:gd name="T28" fmla="*/ 1 w 164"/>
              <a:gd name="T29" fmla="*/ 81 h 176"/>
              <a:gd name="T30" fmla="*/ 32 w 164"/>
              <a:gd name="T31" fmla="*/ 107 h 176"/>
              <a:gd name="T32" fmla="*/ 36 w 164"/>
              <a:gd name="T33" fmla="*/ 98 h 176"/>
              <a:gd name="T34" fmla="*/ 111 w 164"/>
              <a:gd name="T35" fmla="*/ 67 h 176"/>
              <a:gd name="T36" fmla="*/ 121 w 164"/>
              <a:gd name="T37" fmla="*/ 71 h 176"/>
              <a:gd name="T38" fmla="*/ 135 w 164"/>
              <a:gd name="T39" fmla="*/ 107 h 176"/>
              <a:gd name="T40" fmla="*/ 131 w 164"/>
              <a:gd name="T41" fmla="*/ 117 h 176"/>
              <a:gd name="T42" fmla="*/ 56 w 164"/>
              <a:gd name="T43" fmla="*/ 147 h 176"/>
              <a:gd name="T44" fmla="*/ 47 w 164"/>
              <a:gd name="T45" fmla="*/ 143 h 176"/>
              <a:gd name="T46" fmla="*/ 32 w 164"/>
              <a:gd name="T47" fmla="*/ 107 h 176"/>
              <a:gd name="T48" fmla="*/ 47 w 164"/>
              <a:gd name="T49" fmla="*/ 143 h 176"/>
              <a:gd name="T50" fmla="*/ 47 w 164"/>
              <a:gd name="T51" fmla="*/ 143 h 1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64" h="176">
                <a:moveTo>
                  <a:pt x="1" y="81"/>
                </a:moveTo>
                <a:cubicBezTo>
                  <a:pt x="0" y="83"/>
                  <a:pt x="0" y="85"/>
                  <a:pt x="1" y="87"/>
                </a:cubicBezTo>
                <a:cubicBezTo>
                  <a:pt x="33" y="166"/>
                  <a:pt x="33" y="166"/>
                  <a:pt x="33" y="166"/>
                </a:cubicBezTo>
                <a:cubicBezTo>
                  <a:pt x="35" y="173"/>
                  <a:pt x="43" y="176"/>
                  <a:pt x="49" y="173"/>
                </a:cubicBezTo>
                <a:cubicBezTo>
                  <a:pt x="154" y="131"/>
                  <a:pt x="154" y="131"/>
                  <a:pt x="154" y="131"/>
                </a:cubicBezTo>
                <a:cubicBezTo>
                  <a:pt x="161" y="128"/>
                  <a:pt x="164" y="121"/>
                  <a:pt x="161" y="114"/>
                </a:cubicBezTo>
                <a:cubicBezTo>
                  <a:pt x="119" y="10"/>
                  <a:pt x="119" y="10"/>
                  <a:pt x="119" y="10"/>
                </a:cubicBezTo>
                <a:cubicBezTo>
                  <a:pt x="116" y="3"/>
                  <a:pt x="109" y="0"/>
                  <a:pt x="102" y="3"/>
                </a:cubicBezTo>
                <a:cubicBezTo>
                  <a:pt x="85" y="10"/>
                  <a:pt x="85" y="10"/>
                  <a:pt x="85" y="10"/>
                </a:cubicBezTo>
                <a:cubicBezTo>
                  <a:pt x="94" y="31"/>
                  <a:pt x="94" y="31"/>
                  <a:pt x="94" y="31"/>
                </a:cubicBezTo>
                <a:cubicBezTo>
                  <a:pt x="96" y="37"/>
                  <a:pt x="93" y="44"/>
                  <a:pt x="87" y="46"/>
                </a:cubicBezTo>
                <a:cubicBezTo>
                  <a:pt x="39" y="66"/>
                  <a:pt x="39" y="66"/>
                  <a:pt x="39" y="66"/>
                </a:cubicBezTo>
                <a:cubicBezTo>
                  <a:pt x="33" y="68"/>
                  <a:pt x="26" y="65"/>
                  <a:pt x="23" y="59"/>
                </a:cubicBezTo>
                <a:cubicBezTo>
                  <a:pt x="17" y="43"/>
                  <a:pt x="17" y="43"/>
                  <a:pt x="17" y="43"/>
                </a:cubicBezTo>
                <a:cubicBezTo>
                  <a:pt x="1" y="81"/>
                  <a:pt x="1" y="81"/>
                  <a:pt x="1" y="81"/>
                </a:cubicBezTo>
                <a:close/>
                <a:moveTo>
                  <a:pt x="32" y="107"/>
                </a:moveTo>
                <a:cubicBezTo>
                  <a:pt x="31" y="103"/>
                  <a:pt x="32" y="99"/>
                  <a:pt x="36" y="98"/>
                </a:cubicBezTo>
                <a:cubicBezTo>
                  <a:pt x="111" y="67"/>
                  <a:pt x="111" y="67"/>
                  <a:pt x="111" y="67"/>
                </a:cubicBezTo>
                <a:cubicBezTo>
                  <a:pt x="115" y="66"/>
                  <a:pt x="119" y="68"/>
                  <a:pt x="121" y="71"/>
                </a:cubicBezTo>
                <a:cubicBezTo>
                  <a:pt x="135" y="107"/>
                  <a:pt x="135" y="107"/>
                  <a:pt x="135" y="107"/>
                </a:cubicBezTo>
                <a:cubicBezTo>
                  <a:pt x="137" y="111"/>
                  <a:pt x="135" y="115"/>
                  <a:pt x="131" y="117"/>
                </a:cubicBezTo>
                <a:cubicBezTo>
                  <a:pt x="56" y="147"/>
                  <a:pt x="56" y="147"/>
                  <a:pt x="56" y="147"/>
                </a:cubicBezTo>
                <a:cubicBezTo>
                  <a:pt x="53" y="149"/>
                  <a:pt x="48" y="147"/>
                  <a:pt x="47" y="143"/>
                </a:cubicBezTo>
                <a:lnTo>
                  <a:pt x="32" y="107"/>
                </a:lnTo>
                <a:close/>
                <a:moveTo>
                  <a:pt x="47" y="143"/>
                </a:moveTo>
                <a:cubicBezTo>
                  <a:pt x="47" y="143"/>
                  <a:pt x="47" y="143"/>
                  <a:pt x="47" y="143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83" name="îśļïḋe">
            <a:extLst>
              <a:ext uri="{FF2B5EF4-FFF2-40B4-BE49-F238E27FC236}">
                <a16:creationId xmlns:a16="http://schemas.microsoft.com/office/drawing/2014/main" id="{381D1DE5-6AAD-4C3F-9998-088C7A64336A}"/>
              </a:ext>
            </a:extLst>
          </p:cNvPr>
          <p:cNvSpPr>
            <a:spLocks/>
          </p:cNvSpPr>
          <p:nvPr/>
        </p:nvSpPr>
        <p:spPr bwMode="auto">
          <a:xfrm>
            <a:off x="8460342" y="2593199"/>
            <a:ext cx="96293" cy="46972"/>
          </a:xfrm>
          <a:custGeom>
            <a:avLst/>
            <a:gdLst>
              <a:gd name="T0" fmla="*/ 4 w 69"/>
              <a:gd name="T1" fmla="*/ 24 h 34"/>
              <a:gd name="T2" fmla="*/ 1 w 69"/>
              <a:gd name="T3" fmla="*/ 30 h 34"/>
              <a:gd name="T4" fmla="*/ 7 w 69"/>
              <a:gd name="T5" fmla="*/ 33 h 34"/>
              <a:gd name="T6" fmla="*/ 66 w 69"/>
              <a:gd name="T7" fmla="*/ 9 h 34"/>
              <a:gd name="T8" fmla="*/ 69 w 69"/>
              <a:gd name="T9" fmla="*/ 3 h 34"/>
              <a:gd name="T10" fmla="*/ 63 w 69"/>
              <a:gd name="T11" fmla="*/ 1 h 34"/>
              <a:gd name="T12" fmla="*/ 4 w 69"/>
              <a:gd name="T13" fmla="*/ 24 h 34"/>
              <a:gd name="T14" fmla="*/ 4 w 69"/>
              <a:gd name="T15" fmla="*/ 24 h 34"/>
              <a:gd name="T16" fmla="*/ 4 w 69"/>
              <a:gd name="T17" fmla="*/ 24 h 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9" h="34">
                <a:moveTo>
                  <a:pt x="4" y="24"/>
                </a:moveTo>
                <a:cubicBezTo>
                  <a:pt x="1" y="25"/>
                  <a:pt x="0" y="28"/>
                  <a:pt x="1" y="30"/>
                </a:cubicBezTo>
                <a:cubicBezTo>
                  <a:pt x="2" y="33"/>
                  <a:pt x="5" y="34"/>
                  <a:pt x="7" y="33"/>
                </a:cubicBezTo>
                <a:cubicBezTo>
                  <a:pt x="66" y="9"/>
                  <a:pt x="66" y="9"/>
                  <a:pt x="66" y="9"/>
                </a:cubicBezTo>
                <a:cubicBezTo>
                  <a:pt x="68" y="8"/>
                  <a:pt x="69" y="5"/>
                  <a:pt x="69" y="3"/>
                </a:cubicBezTo>
                <a:cubicBezTo>
                  <a:pt x="68" y="1"/>
                  <a:pt x="65" y="0"/>
                  <a:pt x="63" y="1"/>
                </a:cubicBezTo>
                <a:cubicBezTo>
                  <a:pt x="4" y="24"/>
                  <a:pt x="4" y="24"/>
                  <a:pt x="4" y="24"/>
                </a:cubicBezTo>
                <a:close/>
                <a:moveTo>
                  <a:pt x="4" y="24"/>
                </a:moveTo>
                <a:cubicBezTo>
                  <a:pt x="4" y="24"/>
                  <a:pt x="4" y="24"/>
                  <a:pt x="4" y="24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84" name="íṡlîḓê">
            <a:extLst>
              <a:ext uri="{FF2B5EF4-FFF2-40B4-BE49-F238E27FC236}">
                <a16:creationId xmlns:a16="http://schemas.microsoft.com/office/drawing/2014/main" id="{EEB17076-9129-4E63-AE2A-0E62DFADF38C}"/>
              </a:ext>
            </a:extLst>
          </p:cNvPr>
          <p:cNvSpPr>
            <a:spLocks/>
          </p:cNvSpPr>
          <p:nvPr/>
        </p:nvSpPr>
        <p:spPr bwMode="auto">
          <a:xfrm>
            <a:off x="8482654" y="2620795"/>
            <a:ext cx="72220" cy="38752"/>
          </a:xfrm>
          <a:custGeom>
            <a:avLst/>
            <a:gdLst>
              <a:gd name="T0" fmla="*/ 3 w 52"/>
              <a:gd name="T1" fmla="*/ 18 h 28"/>
              <a:gd name="T2" fmla="*/ 0 w 52"/>
              <a:gd name="T3" fmla="*/ 24 h 28"/>
              <a:gd name="T4" fmla="*/ 6 w 52"/>
              <a:gd name="T5" fmla="*/ 27 h 28"/>
              <a:gd name="T6" fmla="*/ 48 w 52"/>
              <a:gd name="T7" fmla="*/ 10 h 28"/>
              <a:gd name="T8" fmla="*/ 51 w 52"/>
              <a:gd name="T9" fmla="*/ 4 h 28"/>
              <a:gd name="T10" fmla="*/ 45 w 52"/>
              <a:gd name="T11" fmla="*/ 1 h 28"/>
              <a:gd name="T12" fmla="*/ 3 w 52"/>
              <a:gd name="T13" fmla="*/ 18 h 28"/>
              <a:gd name="T14" fmla="*/ 3 w 52"/>
              <a:gd name="T15" fmla="*/ 18 h 28"/>
              <a:gd name="T16" fmla="*/ 3 w 52"/>
              <a:gd name="T17" fmla="*/ 18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2" h="28">
                <a:moveTo>
                  <a:pt x="3" y="18"/>
                </a:moveTo>
                <a:cubicBezTo>
                  <a:pt x="1" y="19"/>
                  <a:pt x="0" y="22"/>
                  <a:pt x="0" y="24"/>
                </a:cubicBezTo>
                <a:cubicBezTo>
                  <a:pt x="1" y="26"/>
                  <a:pt x="4" y="28"/>
                  <a:pt x="6" y="27"/>
                </a:cubicBezTo>
                <a:cubicBezTo>
                  <a:pt x="48" y="10"/>
                  <a:pt x="48" y="10"/>
                  <a:pt x="48" y="10"/>
                </a:cubicBezTo>
                <a:cubicBezTo>
                  <a:pt x="51" y="9"/>
                  <a:pt x="52" y="6"/>
                  <a:pt x="51" y="4"/>
                </a:cubicBezTo>
                <a:cubicBezTo>
                  <a:pt x="50" y="1"/>
                  <a:pt x="47" y="0"/>
                  <a:pt x="45" y="1"/>
                </a:cubicBezTo>
                <a:cubicBezTo>
                  <a:pt x="3" y="18"/>
                  <a:pt x="3" y="18"/>
                  <a:pt x="3" y="18"/>
                </a:cubicBezTo>
                <a:close/>
                <a:moveTo>
                  <a:pt x="3" y="18"/>
                </a:moveTo>
                <a:cubicBezTo>
                  <a:pt x="3" y="18"/>
                  <a:pt x="3" y="18"/>
                  <a:pt x="3" y="18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85" name="ïS1îḍé">
            <a:extLst>
              <a:ext uri="{FF2B5EF4-FFF2-40B4-BE49-F238E27FC236}">
                <a16:creationId xmlns:a16="http://schemas.microsoft.com/office/drawing/2014/main" id="{E75277DC-54A9-406D-B20E-3F3BBD7E6AAE}"/>
              </a:ext>
            </a:extLst>
          </p:cNvPr>
          <p:cNvSpPr>
            <a:spLocks/>
          </p:cNvSpPr>
          <p:nvPr/>
        </p:nvSpPr>
        <p:spPr bwMode="auto">
          <a:xfrm>
            <a:off x="9041038" y="3131619"/>
            <a:ext cx="85725" cy="62825"/>
          </a:xfrm>
          <a:custGeom>
            <a:avLst/>
            <a:gdLst>
              <a:gd name="T0" fmla="*/ 2 w 62"/>
              <a:gd name="T1" fmla="*/ 25 h 45"/>
              <a:gd name="T2" fmla="*/ 50 w 62"/>
              <a:gd name="T3" fmla="*/ 44 h 45"/>
              <a:gd name="T4" fmla="*/ 54 w 62"/>
              <a:gd name="T5" fmla="*/ 43 h 45"/>
              <a:gd name="T6" fmla="*/ 62 w 62"/>
              <a:gd name="T7" fmla="*/ 21 h 45"/>
              <a:gd name="T8" fmla="*/ 9 w 62"/>
              <a:gd name="T9" fmla="*/ 0 h 45"/>
              <a:gd name="T10" fmla="*/ 1 w 62"/>
              <a:gd name="T11" fmla="*/ 21 h 45"/>
              <a:gd name="T12" fmla="*/ 2 w 62"/>
              <a:gd name="T13" fmla="*/ 25 h 45"/>
              <a:gd name="T14" fmla="*/ 2 w 62"/>
              <a:gd name="T15" fmla="*/ 25 h 45"/>
              <a:gd name="T16" fmla="*/ 2 w 62"/>
              <a:gd name="T17" fmla="*/ 25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2" h="45">
                <a:moveTo>
                  <a:pt x="2" y="25"/>
                </a:moveTo>
                <a:cubicBezTo>
                  <a:pt x="50" y="44"/>
                  <a:pt x="50" y="44"/>
                  <a:pt x="50" y="44"/>
                </a:cubicBezTo>
                <a:cubicBezTo>
                  <a:pt x="52" y="45"/>
                  <a:pt x="53" y="44"/>
                  <a:pt x="54" y="43"/>
                </a:cubicBezTo>
                <a:cubicBezTo>
                  <a:pt x="62" y="21"/>
                  <a:pt x="62" y="21"/>
                  <a:pt x="62" y="21"/>
                </a:cubicBezTo>
                <a:cubicBezTo>
                  <a:pt x="9" y="0"/>
                  <a:pt x="9" y="0"/>
                  <a:pt x="9" y="0"/>
                </a:cubicBezTo>
                <a:cubicBezTo>
                  <a:pt x="1" y="21"/>
                  <a:pt x="1" y="21"/>
                  <a:pt x="1" y="21"/>
                </a:cubicBezTo>
                <a:cubicBezTo>
                  <a:pt x="0" y="23"/>
                  <a:pt x="1" y="24"/>
                  <a:pt x="2" y="25"/>
                </a:cubicBezTo>
                <a:close/>
                <a:moveTo>
                  <a:pt x="2" y="25"/>
                </a:moveTo>
                <a:cubicBezTo>
                  <a:pt x="2" y="25"/>
                  <a:pt x="2" y="25"/>
                  <a:pt x="2" y="25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86" name="ïṣḷîďè">
            <a:extLst>
              <a:ext uri="{FF2B5EF4-FFF2-40B4-BE49-F238E27FC236}">
                <a16:creationId xmlns:a16="http://schemas.microsoft.com/office/drawing/2014/main" id="{C5B8B2F1-2256-4B4A-A060-99D657E4C9F0}"/>
              </a:ext>
            </a:extLst>
          </p:cNvPr>
          <p:cNvSpPr>
            <a:spLocks/>
          </p:cNvSpPr>
          <p:nvPr/>
        </p:nvSpPr>
        <p:spPr bwMode="auto">
          <a:xfrm>
            <a:off x="8932414" y="3114005"/>
            <a:ext cx="227816" cy="244256"/>
          </a:xfrm>
          <a:custGeom>
            <a:avLst/>
            <a:gdLst>
              <a:gd name="T0" fmla="*/ 163 w 164"/>
              <a:gd name="T1" fmla="*/ 81 h 176"/>
              <a:gd name="T2" fmla="*/ 147 w 164"/>
              <a:gd name="T3" fmla="*/ 43 h 176"/>
              <a:gd name="T4" fmla="*/ 140 w 164"/>
              <a:gd name="T5" fmla="*/ 59 h 176"/>
              <a:gd name="T6" fmla="*/ 125 w 164"/>
              <a:gd name="T7" fmla="*/ 66 h 176"/>
              <a:gd name="T8" fmla="*/ 77 w 164"/>
              <a:gd name="T9" fmla="*/ 46 h 176"/>
              <a:gd name="T10" fmla="*/ 70 w 164"/>
              <a:gd name="T11" fmla="*/ 31 h 176"/>
              <a:gd name="T12" fmla="*/ 79 w 164"/>
              <a:gd name="T13" fmla="*/ 10 h 176"/>
              <a:gd name="T14" fmla="*/ 61 w 164"/>
              <a:gd name="T15" fmla="*/ 3 h 176"/>
              <a:gd name="T16" fmla="*/ 45 w 164"/>
              <a:gd name="T17" fmla="*/ 10 h 176"/>
              <a:gd name="T18" fmla="*/ 3 w 164"/>
              <a:gd name="T19" fmla="*/ 114 h 176"/>
              <a:gd name="T20" fmla="*/ 10 w 164"/>
              <a:gd name="T21" fmla="*/ 131 h 176"/>
              <a:gd name="T22" fmla="*/ 114 w 164"/>
              <a:gd name="T23" fmla="*/ 173 h 176"/>
              <a:gd name="T24" fmla="*/ 131 w 164"/>
              <a:gd name="T25" fmla="*/ 166 h 176"/>
              <a:gd name="T26" fmla="*/ 163 w 164"/>
              <a:gd name="T27" fmla="*/ 87 h 176"/>
              <a:gd name="T28" fmla="*/ 163 w 164"/>
              <a:gd name="T29" fmla="*/ 81 h 176"/>
              <a:gd name="T30" fmla="*/ 117 w 164"/>
              <a:gd name="T31" fmla="*/ 143 h 176"/>
              <a:gd name="T32" fmla="*/ 107 w 164"/>
              <a:gd name="T33" fmla="*/ 147 h 176"/>
              <a:gd name="T34" fmla="*/ 33 w 164"/>
              <a:gd name="T35" fmla="*/ 117 h 176"/>
              <a:gd name="T36" fmla="*/ 29 w 164"/>
              <a:gd name="T37" fmla="*/ 107 h 176"/>
              <a:gd name="T38" fmla="*/ 43 w 164"/>
              <a:gd name="T39" fmla="*/ 71 h 176"/>
              <a:gd name="T40" fmla="*/ 53 w 164"/>
              <a:gd name="T41" fmla="*/ 67 h 176"/>
              <a:gd name="T42" fmla="*/ 127 w 164"/>
              <a:gd name="T43" fmla="*/ 97 h 176"/>
              <a:gd name="T44" fmla="*/ 132 w 164"/>
              <a:gd name="T45" fmla="*/ 107 h 176"/>
              <a:gd name="T46" fmla="*/ 117 w 164"/>
              <a:gd name="T47" fmla="*/ 143 h 176"/>
              <a:gd name="T48" fmla="*/ 117 w 164"/>
              <a:gd name="T49" fmla="*/ 143 h 176"/>
              <a:gd name="T50" fmla="*/ 117 w 164"/>
              <a:gd name="T51" fmla="*/ 143 h 1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64" h="176">
                <a:moveTo>
                  <a:pt x="163" y="81"/>
                </a:moveTo>
                <a:cubicBezTo>
                  <a:pt x="147" y="43"/>
                  <a:pt x="147" y="43"/>
                  <a:pt x="147" y="43"/>
                </a:cubicBezTo>
                <a:cubicBezTo>
                  <a:pt x="140" y="59"/>
                  <a:pt x="140" y="59"/>
                  <a:pt x="140" y="59"/>
                </a:cubicBezTo>
                <a:cubicBezTo>
                  <a:pt x="138" y="65"/>
                  <a:pt x="131" y="68"/>
                  <a:pt x="125" y="66"/>
                </a:cubicBezTo>
                <a:cubicBezTo>
                  <a:pt x="77" y="46"/>
                  <a:pt x="77" y="46"/>
                  <a:pt x="77" y="46"/>
                </a:cubicBezTo>
                <a:cubicBezTo>
                  <a:pt x="71" y="44"/>
                  <a:pt x="68" y="37"/>
                  <a:pt x="70" y="31"/>
                </a:cubicBezTo>
                <a:cubicBezTo>
                  <a:pt x="79" y="10"/>
                  <a:pt x="79" y="10"/>
                  <a:pt x="79" y="10"/>
                </a:cubicBezTo>
                <a:cubicBezTo>
                  <a:pt x="61" y="3"/>
                  <a:pt x="61" y="3"/>
                  <a:pt x="61" y="3"/>
                </a:cubicBezTo>
                <a:cubicBezTo>
                  <a:pt x="55" y="0"/>
                  <a:pt x="48" y="3"/>
                  <a:pt x="45" y="10"/>
                </a:cubicBezTo>
                <a:cubicBezTo>
                  <a:pt x="3" y="114"/>
                  <a:pt x="3" y="114"/>
                  <a:pt x="3" y="114"/>
                </a:cubicBezTo>
                <a:cubicBezTo>
                  <a:pt x="0" y="121"/>
                  <a:pt x="3" y="128"/>
                  <a:pt x="10" y="131"/>
                </a:cubicBezTo>
                <a:cubicBezTo>
                  <a:pt x="114" y="173"/>
                  <a:pt x="114" y="173"/>
                  <a:pt x="114" y="173"/>
                </a:cubicBezTo>
                <a:cubicBezTo>
                  <a:pt x="121" y="176"/>
                  <a:pt x="128" y="173"/>
                  <a:pt x="131" y="166"/>
                </a:cubicBezTo>
                <a:cubicBezTo>
                  <a:pt x="163" y="87"/>
                  <a:pt x="163" y="87"/>
                  <a:pt x="163" y="87"/>
                </a:cubicBezTo>
                <a:cubicBezTo>
                  <a:pt x="164" y="85"/>
                  <a:pt x="164" y="83"/>
                  <a:pt x="163" y="81"/>
                </a:cubicBezTo>
                <a:close/>
                <a:moveTo>
                  <a:pt x="117" y="143"/>
                </a:moveTo>
                <a:cubicBezTo>
                  <a:pt x="116" y="147"/>
                  <a:pt x="111" y="148"/>
                  <a:pt x="107" y="147"/>
                </a:cubicBezTo>
                <a:cubicBezTo>
                  <a:pt x="33" y="117"/>
                  <a:pt x="33" y="117"/>
                  <a:pt x="33" y="117"/>
                </a:cubicBezTo>
                <a:cubicBezTo>
                  <a:pt x="29" y="115"/>
                  <a:pt x="27" y="111"/>
                  <a:pt x="29" y="107"/>
                </a:cubicBezTo>
                <a:cubicBezTo>
                  <a:pt x="43" y="71"/>
                  <a:pt x="43" y="71"/>
                  <a:pt x="43" y="71"/>
                </a:cubicBezTo>
                <a:cubicBezTo>
                  <a:pt x="45" y="68"/>
                  <a:pt x="49" y="66"/>
                  <a:pt x="53" y="67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31" y="99"/>
                  <a:pt x="133" y="103"/>
                  <a:pt x="132" y="107"/>
                </a:cubicBezTo>
                <a:lnTo>
                  <a:pt x="117" y="143"/>
                </a:lnTo>
                <a:close/>
                <a:moveTo>
                  <a:pt x="117" y="143"/>
                </a:moveTo>
                <a:cubicBezTo>
                  <a:pt x="117" y="143"/>
                  <a:pt x="117" y="143"/>
                  <a:pt x="117" y="143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87" name="îṡ1íḑè">
            <a:extLst>
              <a:ext uri="{FF2B5EF4-FFF2-40B4-BE49-F238E27FC236}">
                <a16:creationId xmlns:a16="http://schemas.microsoft.com/office/drawing/2014/main" id="{1CC4AAE2-6B43-4C59-AF1B-8CB74247797A}"/>
              </a:ext>
            </a:extLst>
          </p:cNvPr>
          <p:cNvSpPr>
            <a:spLocks/>
          </p:cNvSpPr>
          <p:nvPr/>
        </p:nvSpPr>
        <p:spPr bwMode="auto">
          <a:xfrm>
            <a:off x="9000524" y="3224976"/>
            <a:ext cx="97467" cy="48734"/>
          </a:xfrm>
          <a:custGeom>
            <a:avLst/>
            <a:gdLst>
              <a:gd name="T0" fmla="*/ 66 w 70"/>
              <a:gd name="T1" fmla="*/ 25 h 35"/>
              <a:gd name="T2" fmla="*/ 7 w 70"/>
              <a:gd name="T3" fmla="*/ 1 h 35"/>
              <a:gd name="T4" fmla="*/ 1 w 70"/>
              <a:gd name="T5" fmla="*/ 4 h 35"/>
              <a:gd name="T6" fmla="*/ 4 w 70"/>
              <a:gd name="T7" fmla="*/ 10 h 35"/>
              <a:gd name="T8" fmla="*/ 63 w 70"/>
              <a:gd name="T9" fmla="*/ 34 h 35"/>
              <a:gd name="T10" fmla="*/ 69 w 70"/>
              <a:gd name="T11" fmla="*/ 31 h 35"/>
              <a:gd name="T12" fmla="*/ 66 w 70"/>
              <a:gd name="T13" fmla="*/ 25 h 35"/>
              <a:gd name="T14" fmla="*/ 66 w 70"/>
              <a:gd name="T15" fmla="*/ 25 h 35"/>
              <a:gd name="T16" fmla="*/ 66 w 70"/>
              <a:gd name="T17" fmla="*/ 25 h 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0" h="35">
                <a:moveTo>
                  <a:pt x="66" y="25"/>
                </a:moveTo>
                <a:cubicBezTo>
                  <a:pt x="7" y="1"/>
                  <a:pt x="7" y="1"/>
                  <a:pt x="7" y="1"/>
                </a:cubicBezTo>
                <a:cubicBezTo>
                  <a:pt x="5" y="0"/>
                  <a:pt x="2" y="2"/>
                  <a:pt x="1" y="4"/>
                </a:cubicBezTo>
                <a:cubicBezTo>
                  <a:pt x="0" y="6"/>
                  <a:pt x="1" y="9"/>
                  <a:pt x="4" y="10"/>
                </a:cubicBezTo>
                <a:cubicBezTo>
                  <a:pt x="63" y="34"/>
                  <a:pt x="63" y="34"/>
                  <a:pt x="63" y="34"/>
                </a:cubicBezTo>
                <a:cubicBezTo>
                  <a:pt x="65" y="35"/>
                  <a:pt x="68" y="34"/>
                  <a:pt x="69" y="31"/>
                </a:cubicBezTo>
                <a:cubicBezTo>
                  <a:pt x="70" y="29"/>
                  <a:pt x="69" y="26"/>
                  <a:pt x="66" y="25"/>
                </a:cubicBezTo>
                <a:close/>
                <a:moveTo>
                  <a:pt x="66" y="25"/>
                </a:moveTo>
                <a:cubicBezTo>
                  <a:pt x="66" y="25"/>
                  <a:pt x="66" y="25"/>
                  <a:pt x="66" y="25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88" name="ïṧḷïḋe">
            <a:extLst>
              <a:ext uri="{FF2B5EF4-FFF2-40B4-BE49-F238E27FC236}">
                <a16:creationId xmlns:a16="http://schemas.microsoft.com/office/drawing/2014/main" id="{1A015F8B-F1D2-46D7-95CE-EA29747EA014}"/>
              </a:ext>
            </a:extLst>
          </p:cNvPr>
          <p:cNvSpPr>
            <a:spLocks/>
          </p:cNvSpPr>
          <p:nvPr/>
        </p:nvSpPr>
        <p:spPr bwMode="auto">
          <a:xfrm>
            <a:off x="9003459" y="3254335"/>
            <a:ext cx="72220" cy="36991"/>
          </a:xfrm>
          <a:custGeom>
            <a:avLst/>
            <a:gdLst>
              <a:gd name="T0" fmla="*/ 49 w 52"/>
              <a:gd name="T1" fmla="*/ 18 h 27"/>
              <a:gd name="T2" fmla="*/ 7 w 52"/>
              <a:gd name="T3" fmla="*/ 1 h 27"/>
              <a:gd name="T4" fmla="*/ 1 w 52"/>
              <a:gd name="T5" fmla="*/ 4 h 27"/>
              <a:gd name="T6" fmla="*/ 3 w 52"/>
              <a:gd name="T7" fmla="*/ 10 h 27"/>
              <a:gd name="T8" fmla="*/ 45 w 52"/>
              <a:gd name="T9" fmla="*/ 26 h 27"/>
              <a:gd name="T10" fmla="*/ 51 w 52"/>
              <a:gd name="T11" fmla="*/ 24 h 27"/>
              <a:gd name="T12" fmla="*/ 49 w 52"/>
              <a:gd name="T13" fmla="*/ 18 h 27"/>
              <a:gd name="T14" fmla="*/ 49 w 52"/>
              <a:gd name="T15" fmla="*/ 18 h 27"/>
              <a:gd name="T16" fmla="*/ 49 w 52"/>
              <a:gd name="T17" fmla="*/ 18 h 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2" h="27">
                <a:moveTo>
                  <a:pt x="49" y="18"/>
                </a:moveTo>
                <a:cubicBezTo>
                  <a:pt x="7" y="1"/>
                  <a:pt x="7" y="1"/>
                  <a:pt x="7" y="1"/>
                </a:cubicBezTo>
                <a:cubicBezTo>
                  <a:pt x="5" y="0"/>
                  <a:pt x="2" y="1"/>
                  <a:pt x="1" y="4"/>
                </a:cubicBezTo>
                <a:cubicBezTo>
                  <a:pt x="0" y="6"/>
                  <a:pt x="1" y="9"/>
                  <a:pt x="3" y="10"/>
                </a:cubicBezTo>
                <a:cubicBezTo>
                  <a:pt x="45" y="26"/>
                  <a:pt x="45" y="26"/>
                  <a:pt x="45" y="26"/>
                </a:cubicBezTo>
                <a:cubicBezTo>
                  <a:pt x="48" y="27"/>
                  <a:pt x="50" y="26"/>
                  <a:pt x="51" y="24"/>
                </a:cubicBezTo>
                <a:cubicBezTo>
                  <a:pt x="52" y="22"/>
                  <a:pt x="51" y="19"/>
                  <a:pt x="49" y="18"/>
                </a:cubicBezTo>
                <a:close/>
                <a:moveTo>
                  <a:pt x="49" y="18"/>
                </a:moveTo>
                <a:cubicBezTo>
                  <a:pt x="49" y="18"/>
                  <a:pt x="49" y="18"/>
                  <a:pt x="49" y="18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89" name="íṡľídê">
            <a:extLst>
              <a:ext uri="{FF2B5EF4-FFF2-40B4-BE49-F238E27FC236}">
                <a16:creationId xmlns:a16="http://schemas.microsoft.com/office/drawing/2014/main" id="{1445DC22-3D6E-43EB-99FC-67590B0891B4}"/>
              </a:ext>
            </a:extLst>
          </p:cNvPr>
          <p:cNvSpPr>
            <a:spLocks/>
          </p:cNvSpPr>
          <p:nvPr/>
        </p:nvSpPr>
        <p:spPr bwMode="auto">
          <a:xfrm>
            <a:off x="10673327" y="2776391"/>
            <a:ext cx="151486" cy="144440"/>
          </a:xfrm>
          <a:custGeom>
            <a:avLst/>
            <a:gdLst>
              <a:gd name="T0" fmla="*/ 29 w 109"/>
              <a:gd name="T1" fmla="*/ 8 h 104"/>
              <a:gd name="T2" fmla="*/ 22 w 109"/>
              <a:gd name="T3" fmla="*/ 1 h 104"/>
              <a:gd name="T4" fmla="*/ 0 w 109"/>
              <a:gd name="T5" fmla="*/ 41 h 104"/>
              <a:gd name="T6" fmla="*/ 10 w 109"/>
              <a:gd name="T7" fmla="*/ 41 h 104"/>
              <a:gd name="T8" fmla="*/ 29 w 109"/>
              <a:gd name="T9" fmla="*/ 8 h 104"/>
              <a:gd name="T10" fmla="*/ 99 w 109"/>
              <a:gd name="T11" fmla="*/ 41 h 104"/>
              <a:gd name="T12" fmla="*/ 109 w 109"/>
              <a:gd name="T13" fmla="*/ 41 h 104"/>
              <a:gd name="T14" fmla="*/ 88 w 109"/>
              <a:gd name="T15" fmla="*/ 1 h 104"/>
              <a:gd name="T16" fmla="*/ 81 w 109"/>
              <a:gd name="T17" fmla="*/ 8 h 104"/>
              <a:gd name="T18" fmla="*/ 99 w 109"/>
              <a:gd name="T19" fmla="*/ 41 h 104"/>
              <a:gd name="T20" fmla="*/ 88 w 109"/>
              <a:gd name="T21" fmla="*/ 44 h 104"/>
              <a:gd name="T22" fmla="*/ 62 w 109"/>
              <a:gd name="T23" fmla="*/ 11 h 104"/>
              <a:gd name="T24" fmla="*/ 62 w 109"/>
              <a:gd name="T25" fmla="*/ 7 h 104"/>
              <a:gd name="T26" fmla="*/ 55 w 109"/>
              <a:gd name="T27" fmla="*/ 0 h 104"/>
              <a:gd name="T28" fmla="*/ 47 w 109"/>
              <a:gd name="T29" fmla="*/ 7 h 104"/>
              <a:gd name="T30" fmla="*/ 47 w 109"/>
              <a:gd name="T31" fmla="*/ 11 h 104"/>
              <a:gd name="T32" fmla="*/ 21 w 109"/>
              <a:gd name="T33" fmla="*/ 44 h 104"/>
              <a:gd name="T34" fmla="*/ 21 w 109"/>
              <a:gd name="T35" fmla="*/ 73 h 104"/>
              <a:gd name="T36" fmla="*/ 10 w 109"/>
              <a:gd name="T37" fmla="*/ 83 h 104"/>
              <a:gd name="T38" fmla="*/ 10 w 109"/>
              <a:gd name="T39" fmla="*/ 88 h 104"/>
              <a:gd name="T40" fmla="*/ 99 w 109"/>
              <a:gd name="T41" fmla="*/ 88 h 104"/>
              <a:gd name="T42" fmla="*/ 99 w 109"/>
              <a:gd name="T43" fmla="*/ 83 h 104"/>
              <a:gd name="T44" fmla="*/ 88 w 109"/>
              <a:gd name="T45" fmla="*/ 73 h 104"/>
              <a:gd name="T46" fmla="*/ 88 w 109"/>
              <a:gd name="T47" fmla="*/ 44 h 104"/>
              <a:gd name="T48" fmla="*/ 55 w 109"/>
              <a:gd name="T49" fmla="*/ 104 h 104"/>
              <a:gd name="T50" fmla="*/ 57 w 109"/>
              <a:gd name="T51" fmla="*/ 104 h 104"/>
              <a:gd name="T52" fmla="*/ 64 w 109"/>
              <a:gd name="T53" fmla="*/ 98 h 104"/>
              <a:gd name="T54" fmla="*/ 65 w 109"/>
              <a:gd name="T55" fmla="*/ 93 h 104"/>
              <a:gd name="T56" fmla="*/ 44 w 109"/>
              <a:gd name="T57" fmla="*/ 93 h 104"/>
              <a:gd name="T58" fmla="*/ 55 w 109"/>
              <a:gd name="T59" fmla="*/ 104 h 104"/>
              <a:gd name="T60" fmla="*/ 55 w 109"/>
              <a:gd name="T61" fmla="*/ 104 h 104"/>
              <a:gd name="T62" fmla="*/ 55 w 109"/>
              <a:gd name="T63" fmla="*/ 104 h 1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09" h="104">
                <a:moveTo>
                  <a:pt x="29" y="8"/>
                </a:moveTo>
                <a:cubicBezTo>
                  <a:pt x="22" y="1"/>
                  <a:pt x="22" y="1"/>
                  <a:pt x="22" y="1"/>
                </a:cubicBezTo>
                <a:cubicBezTo>
                  <a:pt x="9" y="10"/>
                  <a:pt x="1" y="25"/>
                  <a:pt x="0" y="41"/>
                </a:cubicBezTo>
                <a:cubicBezTo>
                  <a:pt x="10" y="41"/>
                  <a:pt x="10" y="41"/>
                  <a:pt x="10" y="41"/>
                </a:cubicBezTo>
                <a:cubicBezTo>
                  <a:pt x="11" y="27"/>
                  <a:pt x="18" y="15"/>
                  <a:pt x="29" y="8"/>
                </a:cubicBezTo>
                <a:close/>
                <a:moveTo>
                  <a:pt x="99" y="41"/>
                </a:moveTo>
                <a:cubicBezTo>
                  <a:pt x="109" y="41"/>
                  <a:pt x="109" y="41"/>
                  <a:pt x="109" y="41"/>
                </a:cubicBezTo>
                <a:cubicBezTo>
                  <a:pt x="108" y="25"/>
                  <a:pt x="100" y="10"/>
                  <a:pt x="88" y="1"/>
                </a:cubicBezTo>
                <a:cubicBezTo>
                  <a:pt x="81" y="8"/>
                  <a:pt x="81" y="8"/>
                  <a:pt x="81" y="8"/>
                </a:cubicBezTo>
                <a:cubicBezTo>
                  <a:pt x="91" y="15"/>
                  <a:pt x="98" y="27"/>
                  <a:pt x="99" y="41"/>
                </a:cubicBezTo>
                <a:close/>
                <a:moveTo>
                  <a:pt x="88" y="44"/>
                </a:moveTo>
                <a:cubicBezTo>
                  <a:pt x="88" y="28"/>
                  <a:pt x="78" y="15"/>
                  <a:pt x="62" y="11"/>
                </a:cubicBezTo>
                <a:cubicBezTo>
                  <a:pt x="62" y="7"/>
                  <a:pt x="62" y="7"/>
                  <a:pt x="62" y="7"/>
                </a:cubicBezTo>
                <a:cubicBezTo>
                  <a:pt x="62" y="3"/>
                  <a:pt x="59" y="0"/>
                  <a:pt x="55" y="0"/>
                </a:cubicBezTo>
                <a:cubicBezTo>
                  <a:pt x="50" y="0"/>
                  <a:pt x="47" y="3"/>
                  <a:pt x="47" y="7"/>
                </a:cubicBezTo>
                <a:cubicBezTo>
                  <a:pt x="47" y="11"/>
                  <a:pt x="47" y="11"/>
                  <a:pt x="47" y="11"/>
                </a:cubicBezTo>
                <a:cubicBezTo>
                  <a:pt x="32" y="15"/>
                  <a:pt x="21" y="28"/>
                  <a:pt x="21" y="44"/>
                </a:cubicBezTo>
                <a:cubicBezTo>
                  <a:pt x="21" y="73"/>
                  <a:pt x="21" y="73"/>
                  <a:pt x="21" y="73"/>
                </a:cubicBezTo>
                <a:cubicBezTo>
                  <a:pt x="10" y="83"/>
                  <a:pt x="10" y="83"/>
                  <a:pt x="10" y="83"/>
                </a:cubicBezTo>
                <a:cubicBezTo>
                  <a:pt x="10" y="88"/>
                  <a:pt x="10" y="88"/>
                  <a:pt x="10" y="88"/>
                </a:cubicBezTo>
                <a:cubicBezTo>
                  <a:pt x="99" y="88"/>
                  <a:pt x="99" y="88"/>
                  <a:pt x="99" y="88"/>
                </a:cubicBezTo>
                <a:cubicBezTo>
                  <a:pt x="99" y="83"/>
                  <a:pt x="99" y="83"/>
                  <a:pt x="99" y="83"/>
                </a:cubicBezTo>
                <a:cubicBezTo>
                  <a:pt x="88" y="73"/>
                  <a:pt x="88" y="73"/>
                  <a:pt x="88" y="73"/>
                </a:cubicBezTo>
                <a:lnTo>
                  <a:pt x="88" y="44"/>
                </a:lnTo>
                <a:close/>
                <a:moveTo>
                  <a:pt x="55" y="104"/>
                </a:moveTo>
                <a:cubicBezTo>
                  <a:pt x="57" y="104"/>
                  <a:pt x="57" y="104"/>
                  <a:pt x="57" y="104"/>
                </a:cubicBezTo>
                <a:cubicBezTo>
                  <a:pt x="60" y="103"/>
                  <a:pt x="63" y="101"/>
                  <a:pt x="64" y="98"/>
                </a:cubicBezTo>
                <a:cubicBezTo>
                  <a:pt x="64" y="96"/>
                  <a:pt x="65" y="95"/>
                  <a:pt x="65" y="93"/>
                </a:cubicBezTo>
                <a:cubicBezTo>
                  <a:pt x="44" y="93"/>
                  <a:pt x="44" y="93"/>
                  <a:pt x="44" y="93"/>
                </a:cubicBezTo>
                <a:cubicBezTo>
                  <a:pt x="44" y="99"/>
                  <a:pt x="49" y="104"/>
                  <a:pt x="55" y="104"/>
                </a:cubicBezTo>
                <a:close/>
                <a:moveTo>
                  <a:pt x="55" y="104"/>
                </a:moveTo>
                <a:cubicBezTo>
                  <a:pt x="55" y="104"/>
                  <a:pt x="55" y="104"/>
                  <a:pt x="55" y="104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90" name="íşlíḑè">
            <a:extLst>
              <a:ext uri="{FF2B5EF4-FFF2-40B4-BE49-F238E27FC236}">
                <a16:creationId xmlns:a16="http://schemas.microsoft.com/office/drawing/2014/main" id="{619B3CD2-1C96-4D09-82E1-84B993E72EB9}"/>
              </a:ext>
            </a:extLst>
          </p:cNvPr>
          <p:cNvSpPr>
            <a:spLocks/>
          </p:cNvSpPr>
          <p:nvPr/>
        </p:nvSpPr>
        <p:spPr bwMode="auto">
          <a:xfrm>
            <a:off x="8713406" y="1960246"/>
            <a:ext cx="152660" cy="144440"/>
          </a:xfrm>
          <a:custGeom>
            <a:avLst/>
            <a:gdLst>
              <a:gd name="T0" fmla="*/ 29 w 110"/>
              <a:gd name="T1" fmla="*/ 8 h 104"/>
              <a:gd name="T2" fmla="*/ 22 w 110"/>
              <a:gd name="T3" fmla="*/ 1 h 104"/>
              <a:gd name="T4" fmla="*/ 0 w 110"/>
              <a:gd name="T5" fmla="*/ 42 h 104"/>
              <a:gd name="T6" fmla="*/ 11 w 110"/>
              <a:gd name="T7" fmla="*/ 42 h 104"/>
              <a:gd name="T8" fmla="*/ 29 w 110"/>
              <a:gd name="T9" fmla="*/ 8 h 104"/>
              <a:gd name="T10" fmla="*/ 99 w 110"/>
              <a:gd name="T11" fmla="*/ 42 h 104"/>
              <a:gd name="T12" fmla="*/ 110 w 110"/>
              <a:gd name="T13" fmla="*/ 42 h 104"/>
              <a:gd name="T14" fmla="*/ 88 w 110"/>
              <a:gd name="T15" fmla="*/ 1 h 104"/>
              <a:gd name="T16" fmla="*/ 81 w 110"/>
              <a:gd name="T17" fmla="*/ 8 h 104"/>
              <a:gd name="T18" fmla="*/ 99 w 110"/>
              <a:gd name="T19" fmla="*/ 42 h 104"/>
              <a:gd name="T20" fmla="*/ 89 w 110"/>
              <a:gd name="T21" fmla="*/ 44 h 104"/>
              <a:gd name="T22" fmla="*/ 63 w 110"/>
              <a:gd name="T23" fmla="*/ 12 h 104"/>
              <a:gd name="T24" fmla="*/ 63 w 110"/>
              <a:gd name="T25" fmla="*/ 8 h 104"/>
              <a:gd name="T26" fmla="*/ 55 w 110"/>
              <a:gd name="T27" fmla="*/ 0 h 104"/>
              <a:gd name="T28" fmla="*/ 47 w 110"/>
              <a:gd name="T29" fmla="*/ 8 h 104"/>
              <a:gd name="T30" fmla="*/ 47 w 110"/>
              <a:gd name="T31" fmla="*/ 12 h 104"/>
              <a:gd name="T32" fmla="*/ 21 w 110"/>
              <a:gd name="T33" fmla="*/ 44 h 104"/>
              <a:gd name="T34" fmla="*/ 21 w 110"/>
              <a:gd name="T35" fmla="*/ 73 h 104"/>
              <a:gd name="T36" fmla="*/ 11 w 110"/>
              <a:gd name="T37" fmla="*/ 84 h 104"/>
              <a:gd name="T38" fmla="*/ 11 w 110"/>
              <a:gd name="T39" fmla="*/ 89 h 104"/>
              <a:gd name="T40" fmla="*/ 99 w 110"/>
              <a:gd name="T41" fmla="*/ 89 h 104"/>
              <a:gd name="T42" fmla="*/ 99 w 110"/>
              <a:gd name="T43" fmla="*/ 84 h 104"/>
              <a:gd name="T44" fmla="*/ 89 w 110"/>
              <a:gd name="T45" fmla="*/ 73 h 104"/>
              <a:gd name="T46" fmla="*/ 89 w 110"/>
              <a:gd name="T47" fmla="*/ 44 h 104"/>
              <a:gd name="T48" fmla="*/ 55 w 110"/>
              <a:gd name="T49" fmla="*/ 104 h 104"/>
              <a:gd name="T50" fmla="*/ 57 w 110"/>
              <a:gd name="T51" fmla="*/ 104 h 104"/>
              <a:gd name="T52" fmla="*/ 64 w 110"/>
              <a:gd name="T53" fmla="*/ 98 h 104"/>
              <a:gd name="T54" fmla="*/ 65 w 110"/>
              <a:gd name="T55" fmla="*/ 94 h 104"/>
              <a:gd name="T56" fmla="*/ 45 w 110"/>
              <a:gd name="T57" fmla="*/ 94 h 104"/>
              <a:gd name="T58" fmla="*/ 55 w 110"/>
              <a:gd name="T59" fmla="*/ 104 h 104"/>
              <a:gd name="T60" fmla="*/ 55 w 110"/>
              <a:gd name="T61" fmla="*/ 104 h 104"/>
              <a:gd name="T62" fmla="*/ 55 w 110"/>
              <a:gd name="T63" fmla="*/ 104 h 1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10" h="104">
                <a:moveTo>
                  <a:pt x="29" y="8"/>
                </a:moveTo>
                <a:cubicBezTo>
                  <a:pt x="22" y="1"/>
                  <a:pt x="22" y="1"/>
                  <a:pt x="22" y="1"/>
                </a:cubicBezTo>
                <a:cubicBezTo>
                  <a:pt x="10" y="11"/>
                  <a:pt x="1" y="25"/>
                  <a:pt x="0" y="42"/>
                </a:cubicBezTo>
                <a:cubicBezTo>
                  <a:pt x="11" y="42"/>
                  <a:pt x="11" y="42"/>
                  <a:pt x="11" y="42"/>
                </a:cubicBezTo>
                <a:cubicBezTo>
                  <a:pt x="12" y="28"/>
                  <a:pt x="18" y="16"/>
                  <a:pt x="29" y="8"/>
                </a:cubicBezTo>
                <a:close/>
                <a:moveTo>
                  <a:pt x="99" y="42"/>
                </a:moveTo>
                <a:cubicBezTo>
                  <a:pt x="110" y="42"/>
                  <a:pt x="110" y="42"/>
                  <a:pt x="110" y="42"/>
                </a:cubicBezTo>
                <a:cubicBezTo>
                  <a:pt x="109" y="25"/>
                  <a:pt x="101" y="11"/>
                  <a:pt x="88" y="1"/>
                </a:cubicBezTo>
                <a:cubicBezTo>
                  <a:pt x="81" y="8"/>
                  <a:pt x="81" y="8"/>
                  <a:pt x="81" y="8"/>
                </a:cubicBezTo>
                <a:cubicBezTo>
                  <a:pt x="91" y="16"/>
                  <a:pt x="98" y="28"/>
                  <a:pt x="99" y="42"/>
                </a:cubicBezTo>
                <a:close/>
                <a:moveTo>
                  <a:pt x="89" y="44"/>
                </a:moveTo>
                <a:cubicBezTo>
                  <a:pt x="89" y="28"/>
                  <a:pt x="78" y="15"/>
                  <a:pt x="63" y="12"/>
                </a:cubicBezTo>
                <a:cubicBezTo>
                  <a:pt x="63" y="8"/>
                  <a:pt x="63" y="8"/>
                  <a:pt x="63" y="8"/>
                </a:cubicBezTo>
                <a:cubicBezTo>
                  <a:pt x="63" y="4"/>
                  <a:pt x="59" y="0"/>
                  <a:pt x="55" y="0"/>
                </a:cubicBezTo>
                <a:cubicBezTo>
                  <a:pt x="51" y="0"/>
                  <a:pt x="47" y="4"/>
                  <a:pt x="47" y="8"/>
                </a:cubicBezTo>
                <a:cubicBezTo>
                  <a:pt x="47" y="12"/>
                  <a:pt x="47" y="12"/>
                  <a:pt x="47" y="12"/>
                </a:cubicBezTo>
                <a:cubicBezTo>
                  <a:pt x="32" y="15"/>
                  <a:pt x="21" y="28"/>
                  <a:pt x="21" y="44"/>
                </a:cubicBezTo>
                <a:cubicBezTo>
                  <a:pt x="21" y="73"/>
                  <a:pt x="21" y="73"/>
                  <a:pt x="21" y="73"/>
                </a:cubicBezTo>
                <a:cubicBezTo>
                  <a:pt x="11" y="84"/>
                  <a:pt x="11" y="84"/>
                  <a:pt x="11" y="84"/>
                </a:cubicBezTo>
                <a:cubicBezTo>
                  <a:pt x="11" y="89"/>
                  <a:pt x="11" y="89"/>
                  <a:pt x="11" y="89"/>
                </a:cubicBezTo>
                <a:cubicBezTo>
                  <a:pt x="99" y="89"/>
                  <a:pt x="99" y="89"/>
                  <a:pt x="99" y="89"/>
                </a:cubicBezTo>
                <a:cubicBezTo>
                  <a:pt x="99" y="84"/>
                  <a:pt x="99" y="84"/>
                  <a:pt x="99" y="84"/>
                </a:cubicBezTo>
                <a:cubicBezTo>
                  <a:pt x="89" y="73"/>
                  <a:pt x="89" y="73"/>
                  <a:pt x="89" y="73"/>
                </a:cubicBezTo>
                <a:lnTo>
                  <a:pt x="89" y="44"/>
                </a:lnTo>
                <a:close/>
                <a:moveTo>
                  <a:pt x="55" y="104"/>
                </a:moveTo>
                <a:cubicBezTo>
                  <a:pt x="57" y="104"/>
                  <a:pt x="57" y="104"/>
                  <a:pt x="57" y="104"/>
                </a:cubicBezTo>
                <a:cubicBezTo>
                  <a:pt x="61" y="104"/>
                  <a:pt x="63" y="101"/>
                  <a:pt x="64" y="98"/>
                </a:cubicBezTo>
                <a:cubicBezTo>
                  <a:pt x="65" y="97"/>
                  <a:pt x="65" y="96"/>
                  <a:pt x="65" y="94"/>
                </a:cubicBezTo>
                <a:cubicBezTo>
                  <a:pt x="45" y="94"/>
                  <a:pt x="45" y="94"/>
                  <a:pt x="45" y="94"/>
                </a:cubicBezTo>
                <a:cubicBezTo>
                  <a:pt x="45" y="100"/>
                  <a:pt x="49" y="104"/>
                  <a:pt x="55" y="104"/>
                </a:cubicBezTo>
                <a:close/>
                <a:moveTo>
                  <a:pt x="55" y="104"/>
                </a:moveTo>
                <a:cubicBezTo>
                  <a:pt x="55" y="104"/>
                  <a:pt x="55" y="104"/>
                  <a:pt x="55" y="104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91" name="íṣľiḓê">
            <a:extLst>
              <a:ext uri="{FF2B5EF4-FFF2-40B4-BE49-F238E27FC236}">
                <a16:creationId xmlns:a16="http://schemas.microsoft.com/office/drawing/2014/main" id="{8DC8DC41-E922-440D-BC89-BDEE93AF5269}"/>
              </a:ext>
            </a:extLst>
          </p:cNvPr>
          <p:cNvSpPr>
            <a:spLocks/>
          </p:cNvSpPr>
          <p:nvPr/>
        </p:nvSpPr>
        <p:spPr bwMode="auto">
          <a:xfrm>
            <a:off x="9609990" y="3111069"/>
            <a:ext cx="152660" cy="144440"/>
          </a:xfrm>
          <a:custGeom>
            <a:avLst/>
            <a:gdLst>
              <a:gd name="T0" fmla="*/ 29 w 110"/>
              <a:gd name="T1" fmla="*/ 8 h 104"/>
              <a:gd name="T2" fmla="*/ 22 w 110"/>
              <a:gd name="T3" fmla="*/ 1 h 104"/>
              <a:gd name="T4" fmla="*/ 0 w 110"/>
              <a:gd name="T5" fmla="*/ 42 h 104"/>
              <a:gd name="T6" fmla="*/ 11 w 110"/>
              <a:gd name="T7" fmla="*/ 42 h 104"/>
              <a:gd name="T8" fmla="*/ 29 w 110"/>
              <a:gd name="T9" fmla="*/ 8 h 104"/>
              <a:gd name="T10" fmla="*/ 99 w 110"/>
              <a:gd name="T11" fmla="*/ 42 h 104"/>
              <a:gd name="T12" fmla="*/ 110 w 110"/>
              <a:gd name="T13" fmla="*/ 42 h 104"/>
              <a:gd name="T14" fmla="*/ 88 w 110"/>
              <a:gd name="T15" fmla="*/ 1 h 104"/>
              <a:gd name="T16" fmla="*/ 81 w 110"/>
              <a:gd name="T17" fmla="*/ 8 h 104"/>
              <a:gd name="T18" fmla="*/ 99 w 110"/>
              <a:gd name="T19" fmla="*/ 42 h 104"/>
              <a:gd name="T20" fmla="*/ 89 w 110"/>
              <a:gd name="T21" fmla="*/ 44 h 104"/>
              <a:gd name="T22" fmla="*/ 63 w 110"/>
              <a:gd name="T23" fmla="*/ 12 h 104"/>
              <a:gd name="T24" fmla="*/ 63 w 110"/>
              <a:gd name="T25" fmla="*/ 8 h 104"/>
              <a:gd name="T26" fmla="*/ 55 w 110"/>
              <a:gd name="T27" fmla="*/ 0 h 104"/>
              <a:gd name="T28" fmla="*/ 47 w 110"/>
              <a:gd name="T29" fmla="*/ 8 h 104"/>
              <a:gd name="T30" fmla="*/ 47 w 110"/>
              <a:gd name="T31" fmla="*/ 12 h 104"/>
              <a:gd name="T32" fmla="*/ 21 w 110"/>
              <a:gd name="T33" fmla="*/ 44 h 104"/>
              <a:gd name="T34" fmla="*/ 21 w 110"/>
              <a:gd name="T35" fmla="*/ 73 h 104"/>
              <a:gd name="T36" fmla="*/ 11 w 110"/>
              <a:gd name="T37" fmla="*/ 84 h 104"/>
              <a:gd name="T38" fmla="*/ 11 w 110"/>
              <a:gd name="T39" fmla="*/ 89 h 104"/>
              <a:gd name="T40" fmla="*/ 99 w 110"/>
              <a:gd name="T41" fmla="*/ 89 h 104"/>
              <a:gd name="T42" fmla="*/ 99 w 110"/>
              <a:gd name="T43" fmla="*/ 84 h 104"/>
              <a:gd name="T44" fmla="*/ 89 w 110"/>
              <a:gd name="T45" fmla="*/ 73 h 104"/>
              <a:gd name="T46" fmla="*/ 89 w 110"/>
              <a:gd name="T47" fmla="*/ 44 h 104"/>
              <a:gd name="T48" fmla="*/ 55 w 110"/>
              <a:gd name="T49" fmla="*/ 104 h 104"/>
              <a:gd name="T50" fmla="*/ 57 w 110"/>
              <a:gd name="T51" fmla="*/ 104 h 104"/>
              <a:gd name="T52" fmla="*/ 64 w 110"/>
              <a:gd name="T53" fmla="*/ 98 h 104"/>
              <a:gd name="T54" fmla="*/ 65 w 110"/>
              <a:gd name="T55" fmla="*/ 94 h 104"/>
              <a:gd name="T56" fmla="*/ 45 w 110"/>
              <a:gd name="T57" fmla="*/ 94 h 104"/>
              <a:gd name="T58" fmla="*/ 55 w 110"/>
              <a:gd name="T59" fmla="*/ 104 h 104"/>
              <a:gd name="T60" fmla="*/ 55 w 110"/>
              <a:gd name="T61" fmla="*/ 104 h 104"/>
              <a:gd name="T62" fmla="*/ 55 w 110"/>
              <a:gd name="T63" fmla="*/ 104 h 1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10" h="104">
                <a:moveTo>
                  <a:pt x="29" y="8"/>
                </a:moveTo>
                <a:cubicBezTo>
                  <a:pt x="22" y="1"/>
                  <a:pt x="22" y="1"/>
                  <a:pt x="22" y="1"/>
                </a:cubicBezTo>
                <a:cubicBezTo>
                  <a:pt x="10" y="11"/>
                  <a:pt x="1" y="25"/>
                  <a:pt x="0" y="42"/>
                </a:cubicBezTo>
                <a:cubicBezTo>
                  <a:pt x="11" y="42"/>
                  <a:pt x="11" y="42"/>
                  <a:pt x="11" y="42"/>
                </a:cubicBezTo>
                <a:cubicBezTo>
                  <a:pt x="12" y="28"/>
                  <a:pt x="18" y="16"/>
                  <a:pt x="29" y="8"/>
                </a:cubicBezTo>
                <a:close/>
                <a:moveTo>
                  <a:pt x="99" y="42"/>
                </a:moveTo>
                <a:cubicBezTo>
                  <a:pt x="110" y="42"/>
                  <a:pt x="110" y="42"/>
                  <a:pt x="110" y="42"/>
                </a:cubicBezTo>
                <a:cubicBezTo>
                  <a:pt x="109" y="25"/>
                  <a:pt x="101" y="11"/>
                  <a:pt x="88" y="1"/>
                </a:cubicBezTo>
                <a:cubicBezTo>
                  <a:pt x="81" y="8"/>
                  <a:pt x="81" y="8"/>
                  <a:pt x="81" y="8"/>
                </a:cubicBezTo>
                <a:cubicBezTo>
                  <a:pt x="91" y="16"/>
                  <a:pt x="98" y="28"/>
                  <a:pt x="99" y="42"/>
                </a:cubicBezTo>
                <a:close/>
                <a:moveTo>
                  <a:pt x="89" y="44"/>
                </a:moveTo>
                <a:cubicBezTo>
                  <a:pt x="89" y="28"/>
                  <a:pt x="78" y="15"/>
                  <a:pt x="63" y="12"/>
                </a:cubicBezTo>
                <a:cubicBezTo>
                  <a:pt x="63" y="8"/>
                  <a:pt x="63" y="8"/>
                  <a:pt x="63" y="8"/>
                </a:cubicBezTo>
                <a:cubicBezTo>
                  <a:pt x="63" y="4"/>
                  <a:pt x="59" y="0"/>
                  <a:pt x="55" y="0"/>
                </a:cubicBezTo>
                <a:cubicBezTo>
                  <a:pt x="51" y="0"/>
                  <a:pt x="47" y="4"/>
                  <a:pt x="47" y="8"/>
                </a:cubicBezTo>
                <a:cubicBezTo>
                  <a:pt x="47" y="12"/>
                  <a:pt x="47" y="12"/>
                  <a:pt x="47" y="12"/>
                </a:cubicBezTo>
                <a:cubicBezTo>
                  <a:pt x="32" y="15"/>
                  <a:pt x="21" y="28"/>
                  <a:pt x="21" y="44"/>
                </a:cubicBezTo>
                <a:cubicBezTo>
                  <a:pt x="21" y="73"/>
                  <a:pt x="21" y="73"/>
                  <a:pt x="21" y="73"/>
                </a:cubicBezTo>
                <a:cubicBezTo>
                  <a:pt x="11" y="84"/>
                  <a:pt x="11" y="84"/>
                  <a:pt x="11" y="84"/>
                </a:cubicBezTo>
                <a:cubicBezTo>
                  <a:pt x="11" y="89"/>
                  <a:pt x="11" y="89"/>
                  <a:pt x="11" y="89"/>
                </a:cubicBezTo>
                <a:cubicBezTo>
                  <a:pt x="99" y="89"/>
                  <a:pt x="99" y="89"/>
                  <a:pt x="99" y="89"/>
                </a:cubicBezTo>
                <a:cubicBezTo>
                  <a:pt x="99" y="84"/>
                  <a:pt x="99" y="84"/>
                  <a:pt x="99" y="84"/>
                </a:cubicBezTo>
                <a:cubicBezTo>
                  <a:pt x="89" y="73"/>
                  <a:pt x="89" y="73"/>
                  <a:pt x="89" y="73"/>
                </a:cubicBezTo>
                <a:lnTo>
                  <a:pt x="89" y="44"/>
                </a:lnTo>
                <a:close/>
                <a:moveTo>
                  <a:pt x="55" y="104"/>
                </a:moveTo>
                <a:cubicBezTo>
                  <a:pt x="57" y="104"/>
                  <a:pt x="57" y="104"/>
                  <a:pt x="57" y="104"/>
                </a:cubicBezTo>
                <a:cubicBezTo>
                  <a:pt x="61" y="104"/>
                  <a:pt x="63" y="101"/>
                  <a:pt x="64" y="98"/>
                </a:cubicBezTo>
                <a:cubicBezTo>
                  <a:pt x="65" y="97"/>
                  <a:pt x="65" y="96"/>
                  <a:pt x="65" y="94"/>
                </a:cubicBezTo>
                <a:cubicBezTo>
                  <a:pt x="45" y="94"/>
                  <a:pt x="45" y="94"/>
                  <a:pt x="45" y="94"/>
                </a:cubicBezTo>
                <a:cubicBezTo>
                  <a:pt x="45" y="100"/>
                  <a:pt x="49" y="104"/>
                  <a:pt x="55" y="104"/>
                </a:cubicBezTo>
                <a:close/>
                <a:moveTo>
                  <a:pt x="55" y="104"/>
                </a:moveTo>
                <a:cubicBezTo>
                  <a:pt x="55" y="104"/>
                  <a:pt x="55" y="104"/>
                  <a:pt x="55" y="104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92" name="ísľidê">
            <a:extLst>
              <a:ext uri="{FF2B5EF4-FFF2-40B4-BE49-F238E27FC236}">
                <a16:creationId xmlns:a16="http://schemas.microsoft.com/office/drawing/2014/main" id="{DFF07E3F-6523-483A-96CF-5B356B48A401}"/>
              </a:ext>
            </a:extLst>
          </p:cNvPr>
          <p:cNvSpPr>
            <a:spLocks/>
          </p:cNvSpPr>
          <p:nvPr/>
        </p:nvSpPr>
        <p:spPr bwMode="auto">
          <a:xfrm>
            <a:off x="9712743" y="1888026"/>
            <a:ext cx="151486" cy="144440"/>
          </a:xfrm>
          <a:custGeom>
            <a:avLst/>
            <a:gdLst>
              <a:gd name="T0" fmla="*/ 29 w 109"/>
              <a:gd name="T1" fmla="*/ 8 h 104"/>
              <a:gd name="T2" fmla="*/ 22 w 109"/>
              <a:gd name="T3" fmla="*/ 1 h 104"/>
              <a:gd name="T4" fmla="*/ 0 w 109"/>
              <a:gd name="T5" fmla="*/ 42 h 104"/>
              <a:gd name="T6" fmla="*/ 10 w 109"/>
              <a:gd name="T7" fmla="*/ 42 h 104"/>
              <a:gd name="T8" fmla="*/ 29 w 109"/>
              <a:gd name="T9" fmla="*/ 8 h 104"/>
              <a:gd name="T10" fmla="*/ 99 w 109"/>
              <a:gd name="T11" fmla="*/ 42 h 104"/>
              <a:gd name="T12" fmla="*/ 109 w 109"/>
              <a:gd name="T13" fmla="*/ 42 h 104"/>
              <a:gd name="T14" fmla="*/ 88 w 109"/>
              <a:gd name="T15" fmla="*/ 1 h 104"/>
              <a:gd name="T16" fmla="*/ 80 w 109"/>
              <a:gd name="T17" fmla="*/ 8 h 104"/>
              <a:gd name="T18" fmla="*/ 99 w 109"/>
              <a:gd name="T19" fmla="*/ 42 h 104"/>
              <a:gd name="T20" fmla="*/ 88 w 109"/>
              <a:gd name="T21" fmla="*/ 44 h 104"/>
              <a:gd name="T22" fmla="*/ 62 w 109"/>
              <a:gd name="T23" fmla="*/ 11 h 104"/>
              <a:gd name="T24" fmla="*/ 62 w 109"/>
              <a:gd name="T25" fmla="*/ 8 h 104"/>
              <a:gd name="T26" fmla="*/ 54 w 109"/>
              <a:gd name="T27" fmla="*/ 0 h 104"/>
              <a:gd name="T28" fmla="*/ 47 w 109"/>
              <a:gd name="T29" fmla="*/ 8 h 104"/>
              <a:gd name="T30" fmla="*/ 47 w 109"/>
              <a:gd name="T31" fmla="*/ 11 h 104"/>
              <a:gd name="T32" fmla="*/ 21 w 109"/>
              <a:gd name="T33" fmla="*/ 44 h 104"/>
              <a:gd name="T34" fmla="*/ 21 w 109"/>
              <a:gd name="T35" fmla="*/ 73 h 104"/>
              <a:gd name="T36" fmla="*/ 10 w 109"/>
              <a:gd name="T37" fmla="*/ 83 h 104"/>
              <a:gd name="T38" fmla="*/ 10 w 109"/>
              <a:gd name="T39" fmla="*/ 89 h 104"/>
              <a:gd name="T40" fmla="*/ 99 w 109"/>
              <a:gd name="T41" fmla="*/ 89 h 104"/>
              <a:gd name="T42" fmla="*/ 99 w 109"/>
              <a:gd name="T43" fmla="*/ 83 h 104"/>
              <a:gd name="T44" fmla="*/ 88 w 109"/>
              <a:gd name="T45" fmla="*/ 73 h 104"/>
              <a:gd name="T46" fmla="*/ 88 w 109"/>
              <a:gd name="T47" fmla="*/ 44 h 104"/>
              <a:gd name="T48" fmla="*/ 54 w 109"/>
              <a:gd name="T49" fmla="*/ 104 h 104"/>
              <a:gd name="T50" fmla="*/ 57 w 109"/>
              <a:gd name="T51" fmla="*/ 104 h 104"/>
              <a:gd name="T52" fmla="*/ 64 w 109"/>
              <a:gd name="T53" fmla="*/ 98 h 104"/>
              <a:gd name="T54" fmla="*/ 65 w 109"/>
              <a:gd name="T55" fmla="*/ 94 h 104"/>
              <a:gd name="T56" fmla="*/ 44 w 109"/>
              <a:gd name="T57" fmla="*/ 94 h 104"/>
              <a:gd name="T58" fmla="*/ 54 w 109"/>
              <a:gd name="T59" fmla="*/ 104 h 104"/>
              <a:gd name="T60" fmla="*/ 54 w 109"/>
              <a:gd name="T61" fmla="*/ 104 h 104"/>
              <a:gd name="T62" fmla="*/ 54 w 109"/>
              <a:gd name="T63" fmla="*/ 104 h 1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09" h="104">
                <a:moveTo>
                  <a:pt x="29" y="8"/>
                </a:moveTo>
                <a:cubicBezTo>
                  <a:pt x="22" y="1"/>
                  <a:pt x="22" y="1"/>
                  <a:pt x="22" y="1"/>
                </a:cubicBezTo>
                <a:cubicBezTo>
                  <a:pt x="9" y="10"/>
                  <a:pt x="1" y="25"/>
                  <a:pt x="0" y="42"/>
                </a:cubicBezTo>
                <a:cubicBezTo>
                  <a:pt x="10" y="42"/>
                  <a:pt x="10" y="42"/>
                  <a:pt x="10" y="42"/>
                </a:cubicBezTo>
                <a:cubicBezTo>
                  <a:pt x="11" y="28"/>
                  <a:pt x="18" y="16"/>
                  <a:pt x="29" y="8"/>
                </a:cubicBezTo>
                <a:close/>
                <a:moveTo>
                  <a:pt x="99" y="42"/>
                </a:moveTo>
                <a:cubicBezTo>
                  <a:pt x="109" y="42"/>
                  <a:pt x="109" y="42"/>
                  <a:pt x="109" y="42"/>
                </a:cubicBezTo>
                <a:cubicBezTo>
                  <a:pt x="108" y="25"/>
                  <a:pt x="100" y="10"/>
                  <a:pt x="88" y="1"/>
                </a:cubicBezTo>
                <a:cubicBezTo>
                  <a:pt x="80" y="8"/>
                  <a:pt x="80" y="8"/>
                  <a:pt x="80" y="8"/>
                </a:cubicBezTo>
                <a:cubicBezTo>
                  <a:pt x="91" y="16"/>
                  <a:pt x="98" y="28"/>
                  <a:pt x="99" y="42"/>
                </a:cubicBezTo>
                <a:close/>
                <a:moveTo>
                  <a:pt x="88" y="44"/>
                </a:moveTo>
                <a:cubicBezTo>
                  <a:pt x="88" y="28"/>
                  <a:pt x="77" y="15"/>
                  <a:pt x="62" y="11"/>
                </a:cubicBezTo>
                <a:cubicBezTo>
                  <a:pt x="62" y="8"/>
                  <a:pt x="62" y="8"/>
                  <a:pt x="62" y="8"/>
                </a:cubicBezTo>
                <a:cubicBezTo>
                  <a:pt x="62" y="4"/>
                  <a:pt x="59" y="0"/>
                  <a:pt x="54" y="0"/>
                </a:cubicBezTo>
                <a:cubicBezTo>
                  <a:pt x="50" y="0"/>
                  <a:pt x="47" y="4"/>
                  <a:pt x="47" y="8"/>
                </a:cubicBezTo>
                <a:cubicBezTo>
                  <a:pt x="47" y="11"/>
                  <a:pt x="47" y="11"/>
                  <a:pt x="47" y="11"/>
                </a:cubicBezTo>
                <a:cubicBezTo>
                  <a:pt x="31" y="15"/>
                  <a:pt x="21" y="28"/>
                  <a:pt x="21" y="44"/>
                </a:cubicBezTo>
                <a:cubicBezTo>
                  <a:pt x="21" y="73"/>
                  <a:pt x="21" y="73"/>
                  <a:pt x="21" y="73"/>
                </a:cubicBezTo>
                <a:cubicBezTo>
                  <a:pt x="10" y="83"/>
                  <a:pt x="10" y="83"/>
                  <a:pt x="10" y="83"/>
                </a:cubicBezTo>
                <a:cubicBezTo>
                  <a:pt x="10" y="89"/>
                  <a:pt x="10" y="89"/>
                  <a:pt x="10" y="89"/>
                </a:cubicBezTo>
                <a:cubicBezTo>
                  <a:pt x="99" y="89"/>
                  <a:pt x="99" y="89"/>
                  <a:pt x="99" y="89"/>
                </a:cubicBezTo>
                <a:cubicBezTo>
                  <a:pt x="99" y="83"/>
                  <a:pt x="99" y="83"/>
                  <a:pt x="99" y="83"/>
                </a:cubicBezTo>
                <a:cubicBezTo>
                  <a:pt x="88" y="73"/>
                  <a:pt x="88" y="73"/>
                  <a:pt x="88" y="73"/>
                </a:cubicBezTo>
                <a:lnTo>
                  <a:pt x="88" y="44"/>
                </a:lnTo>
                <a:close/>
                <a:moveTo>
                  <a:pt x="54" y="104"/>
                </a:moveTo>
                <a:cubicBezTo>
                  <a:pt x="57" y="104"/>
                  <a:pt x="57" y="104"/>
                  <a:pt x="57" y="104"/>
                </a:cubicBezTo>
                <a:cubicBezTo>
                  <a:pt x="60" y="104"/>
                  <a:pt x="63" y="101"/>
                  <a:pt x="64" y="98"/>
                </a:cubicBezTo>
                <a:cubicBezTo>
                  <a:pt x="64" y="97"/>
                  <a:pt x="65" y="95"/>
                  <a:pt x="65" y="94"/>
                </a:cubicBezTo>
                <a:cubicBezTo>
                  <a:pt x="44" y="94"/>
                  <a:pt x="44" y="94"/>
                  <a:pt x="44" y="94"/>
                </a:cubicBezTo>
                <a:cubicBezTo>
                  <a:pt x="44" y="100"/>
                  <a:pt x="49" y="104"/>
                  <a:pt x="54" y="104"/>
                </a:cubicBezTo>
                <a:close/>
                <a:moveTo>
                  <a:pt x="54" y="104"/>
                </a:moveTo>
                <a:cubicBezTo>
                  <a:pt x="54" y="104"/>
                  <a:pt x="54" y="104"/>
                  <a:pt x="54" y="104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93" name="ïşḷïḑê">
            <a:extLst>
              <a:ext uri="{FF2B5EF4-FFF2-40B4-BE49-F238E27FC236}">
                <a16:creationId xmlns:a16="http://schemas.microsoft.com/office/drawing/2014/main" id="{4CCD480F-7597-42BD-87C4-5605B2A96E14}"/>
              </a:ext>
            </a:extLst>
          </p:cNvPr>
          <p:cNvSpPr>
            <a:spLocks/>
          </p:cNvSpPr>
          <p:nvPr/>
        </p:nvSpPr>
        <p:spPr bwMode="auto">
          <a:xfrm>
            <a:off x="10572336" y="2426447"/>
            <a:ext cx="219009" cy="240146"/>
          </a:xfrm>
          <a:custGeom>
            <a:avLst/>
            <a:gdLst>
              <a:gd name="T0" fmla="*/ 120 w 158"/>
              <a:gd name="T1" fmla="*/ 24 h 173"/>
              <a:gd name="T2" fmla="*/ 108 w 158"/>
              <a:gd name="T3" fmla="*/ 23 h 173"/>
              <a:gd name="T4" fmla="*/ 111 w 158"/>
              <a:gd name="T5" fmla="*/ 28 h 173"/>
              <a:gd name="T6" fmla="*/ 102 w 158"/>
              <a:gd name="T7" fmla="*/ 26 h 173"/>
              <a:gd name="T8" fmla="*/ 92 w 158"/>
              <a:gd name="T9" fmla="*/ 39 h 173"/>
              <a:gd name="T10" fmla="*/ 93 w 158"/>
              <a:gd name="T11" fmla="*/ 28 h 173"/>
              <a:gd name="T12" fmla="*/ 101 w 158"/>
              <a:gd name="T13" fmla="*/ 13 h 173"/>
              <a:gd name="T14" fmla="*/ 91 w 158"/>
              <a:gd name="T15" fmla="*/ 8 h 173"/>
              <a:gd name="T16" fmla="*/ 9 w 158"/>
              <a:gd name="T17" fmla="*/ 48 h 173"/>
              <a:gd name="T18" fmla="*/ 14 w 158"/>
              <a:gd name="T19" fmla="*/ 47 h 173"/>
              <a:gd name="T20" fmla="*/ 19 w 158"/>
              <a:gd name="T21" fmla="*/ 40 h 173"/>
              <a:gd name="T22" fmla="*/ 22 w 158"/>
              <a:gd name="T23" fmla="*/ 44 h 173"/>
              <a:gd name="T24" fmla="*/ 26 w 158"/>
              <a:gd name="T25" fmla="*/ 35 h 173"/>
              <a:gd name="T26" fmla="*/ 33 w 158"/>
              <a:gd name="T27" fmla="*/ 32 h 173"/>
              <a:gd name="T28" fmla="*/ 51 w 158"/>
              <a:gd name="T29" fmla="*/ 27 h 173"/>
              <a:gd name="T30" fmla="*/ 45 w 158"/>
              <a:gd name="T31" fmla="*/ 31 h 173"/>
              <a:gd name="T32" fmla="*/ 37 w 158"/>
              <a:gd name="T33" fmla="*/ 36 h 173"/>
              <a:gd name="T34" fmla="*/ 35 w 158"/>
              <a:gd name="T35" fmla="*/ 41 h 173"/>
              <a:gd name="T36" fmla="*/ 30 w 158"/>
              <a:gd name="T37" fmla="*/ 53 h 173"/>
              <a:gd name="T38" fmla="*/ 38 w 158"/>
              <a:gd name="T39" fmla="*/ 42 h 173"/>
              <a:gd name="T40" fmla="*/ 52 w 158"/>
              <a:gd name="T41" fmla="*/ 40 h 173"/>
              <a:gd name="T42" fmla="*/ 56 w 158"/>
              <a:gd name="T43" fmla="*/ 45 h 173"/>
              <a:gd name="T44" fmla="*/ 59 w 158"/>
              <a:gd name="T45" fmla="*/ 48 h 173"/>
              <a:gd name="T46" fmla="*/ 53 w 158"/>
              <a:gd name="T47" fmla="*/ 45 h 173"/>
              <a:gd name="T48" fmla="*/ 49 w 158"/>
              <a:gd name="T49" fmla="*/ 48 h 173"/>
              <a:gd name="T50" fmla="*/ 50 w 158"/>
              <a:gd name="T51" fmla="*/ 50 h 173"/>
              <a:gd name="T52" fmla="*/ 47 w 158"/>
              <a:gd name="T53" fmla="*/ 57 h 173"/>
              <a:gd name="T54" fmla="*/ 42 w 158"/>
              <a:gd name="T55" fmla="*/ 84 h 173"/>
              <a:gd name="T56" fmla="*/ 27 w 158"/>
              <a:gd name="T57" fmla="*/ 99 h 173"/>
              <a:gd name="T58" fmla="*/ 43 w 158"/>
              <a:gd name="T59" fmla="*/ 96 h 173"/>
              <a:gd name="T60" fmla="*/ 65 w 158"/>
              <a:gd name="T61" fmla="*/ 91 h 173"/>
              <a:gd name="T62" fmla="*/ 82 w 158"/>
              <a:gd name="T63" fmla="*/ 94 h 173"/>
              <a:gd name="T64" fmla="*/ 102 w 158"/>
              <a:gd name="T65" fmla="*/ 94 h 173"/>
              <a:gd name="T66" fmla="*/ 100 w 158"/>
              <a:gd name="T67" fmla="*/ 117 h 173"/>
              <a:gd name="T68" fmla="*/ 97 w 158"/>
              <a:gd name="T69" fmla="*/ 138 h 173"/>
              <a:gd name="T70" fmla="*/ 104 w 158"/>
              <a:gd name="T71" fmla="*/ 142 h 173"/>
              <a:gd name="T72" fmla="*/ 106 w 158"/>
              <a:gd name="T73" fmla="*/ 152 h 173"/>
              <a:gd name="T74" fmla="*/ 83 w 158"/>
              <a:gd name="T75" fmla="*/ 134 h 173"/>
              <a:gd name="T76" fmla="*/ 55 w 158"/>
              <a:gd name="T77" fmla="*/ 115 h 173"/>
              <a:gd name="T78" fmla="*/ 36 w 158"/>
              <a:gd name="T79" fmla="*/ 104 h 173"/>
              <a:gd name="T80" fmla="*/ 20 w 158"/>
              <a:gd name="T81" fmla="*/ 104 h 173"/>
              <a:gd name="T82" fmla="*/ 16 w 158"/>
              <a:gd name="T83" fmla="*/ 102 h 173"/>
              <a:gd name="T84" fmla="*/ 0 w 158"/>
              <a:gd name="T85" fmla="*/ 93 h 173"/>
              <a:gd name="T86" fmla="*/ 153 w 158"/>
              <a:gd name="T87" fmla="*/ 90 h 173"/>
              <a:gd name="T88" fmla="*/ 130 w 158"/>
              <a:gd name="T89" fmla="*/ 68 h 173"/>
              <a:gd name="T90" fmla="*/ 111 w 158"/>
              <a:gd name="T91" fmla="*/ 70 h 173"/>
              <a:gd name="T92" fmla="*/ 94 w 158"/>
              <a:gd name="T93" fmla="*/ 60 h 173"/>
              <a:gd name="T94" fmla="*/ 97 w 158"/>
              <a:gd name="T95" fmla="*/ 40 h 173"/>
              <a:gd name="T96" fmla="*/ 120 w 158"/>
              <a:gd name="T97" fmla="*/ 32 h 173"/>
              <a:gd name="T98" fmla="*/ 133 w 158"/>
              <a:gd name="T99" fmla="*/ 23 h 173"/>
              <a:gd name="T100" fmla="*/ 91 w 158"/>
              <a:gd name="T101" fmla="*/ 19 h 173"/>
              <a:gd name="T102" fmla="*/ 88 w 158"/>
              <a:gd name="T103" fmla="*/ 22 h 173"/>
              <a:gd name="T104" fmla="*/ 83 w 158"/>
              <a:gd name="T105" fmla="*/ 25 h 173"/>
              <a:gd name="T106" fmla="*/ 84 w 158"/>
              <a:gd name="T107" fmla="*/ 27 h 173"/>
              <a:gd name="T108" fmla="*/ 50 w 158"/>
              <a:gd name="T109" fmla="*/ 55 h 173"/>
              <a:gd name="T110" fmla="*/ 52 w 158"/>
              <a:gd name="T111" fmla="*/ 55 h 173"/>
              <a:gd name="T112" fmla="*/ 53 w 158"/>
              <a:gd name="T113" fmla="*/ 50 h 1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58" h="173">
                <a:moveTo>
                  <a:pt x="128" y="19"/>
                </a:moveTo>
                <a:cubicBezTo>
                  <a:pt x="125" y="21"/>
                  <a:pt x="125" y="21"/>
                  <a:pt x="125" y="21"/>
                </a:cubicBezTo>
                <a:cubicBezTo>
                  <a:pt x="122" y="20"/>
                  <a:pt x="122" y="20"/>
                  <a:pt x="122" y="20"/>
                </a:cubicBezTo>
                <a:cubicBezTo>
                  <a:pt x="119" y="17"/>
                  <a:pt x="119" y="17"/>
                  <a:pt x="119" y="17"/>
                </a:cubicBezTo>
                <a:cubicBezTo>
                  <a:pt x="118" y="19"/>
                  <a:pt x="118" y="19"/>
                  <a:pt x="118" y="19"/>
                </a:cubicBezTo>
                <a:cubicBezTo>
                  <a:pt x="120" y="24"/>
                  <a:pt x="120" y="24"/>
                  <a:pt x="120" y="24"/>
                </a:cubicBezTo>
                <a:cubicBezTo>
                  <a:pt x="115" y="22"/>
                  <a:pt x="115" y="22"/>
                  <a:pt x="115" y="22"/>
                </a:cubicBezTo>
                <a:cubicBezTo>
                  <a:pt x="113" y="20"/>
                  <a:pt x="113" y="20"/>
                  <a:pt x="113" y="20"/>
                </a:cubicBezTo>
                <a:cubicBezTo>
                  <a:pt x="110" y="19"/>
                  <a:pt x="110" y="19"/>
                  <a:pt x="110" y="19"/>
                </a:cubicBezTo>
                <a:cubicBezTo>
                  <a:pt x="108" y="19"/>
                  <a:pt x="108" y="19"/>
                  <a:pt x="108" y="19"/>
                </a:cubicBezTo>
                <a:cubicBezTo>
                  <a:pt x="105" y="21"/>
                  <a:pt x="105" y="21"/>
                  <a:pt x="105" y="21"/>
                </a:cubicBezTo>
                <a:cubicBezTo>
                  <a:pt x="108" y="23"/>
                  <a:pt x="108" y="23"/>
                  <a:pt x="108" y="23"/>
                </a:cubicBezTo>
                <a:cubicBezTo>
                  <a:pt x="112" y="23"/>
                  <a:pt x="112" y="23"/>
                  <a:pt x="112" y="23"/>
                </a:cubicBezTo>
                <a:cubicBezTo>
                  <a:pt x="113" y="23"/>
                  <a:pt x="113" y="23"/>
                  <a:pt x="113" y="23"/>
                </a:cubicBezTo>
                <a:cubicBezTo>
                  <a:pt x="113" y="24"/>
                  <a:pt x="113" y="24"/>
                  <a:pt x="113" y="24"/>
                </a:cubicBezTo>
                <a:cubicBezTo>
                  <a:pt x="114" y="26"/>
                  <a:pt x="114" y="26"/>
                  <a:pt x="114" y="26"/>
                </a:cubicBezTo>
                <a:cubicBezTo>
                  <a:pt x="113" y="28"/>
                  <a:pt x="113" y="28"/>
                  <a:pt x="113" y="28"/>
                </a:cubicBezTo>
                <a:cubicBezTo>
                  <a:pt x="111" y="28"/>
                  <a:pt x="111" y="28"/>
                  <a:pt x="111" y="28"/>
                </a:cubicBezTo>
                <a:cubicBezTo>
                  <a:pt x="109" y="27"/>
                  <a:pt x="109" y="27"/>
                  <a:pt x="109" y="27"/>
                </a:cubicBezTo>
                <a:cubicBezTo>
                  <a:pt x="112" y="26"/>
                  <a:pt x="112" y="26"/>
                  <a:pt x="112" y="26"/>
                </a:cubicBezTo>
                <a:cubicBezTo>
                  <a:pt x="112" y="25"/>
                  <a:pt x="112" y="25"/>
                  <a:pt x="112" y="25"/>
                </a:cubicBezTo>
                <a:cubicBezTo>
                  <a:pt x="105" y="24"/>
                  <a:pt x="105" y="24"/>
                  <a:pt x="105" y="24"/>
                </a:cubicBezTo>
                <a:cubicBezTo>
                  <a:pt x="103" y="23"/>
                  <a:pt x="103" y="23"/>
                  <a:pt x="103" y="23"/>
                </a:cubicBezTo>
                <a:cubicBezTo>
                  <a:pt x="102" y="26"/>
                  <a:pt x="102" y="26"/>
                  <a:pt x="102" y="26"/>
                </a:cubicBezTo>
                <a:cubicBezTo>
                  <a:pt x="100" y="27"/>
                  <a:pt x="100" y="27"/>
                  <a:pt x="100" y="27"/>
                </a:cubicBezTo>
                <a:cubicBezTo>
                  <a:pt x="99" y="34"/>
                  <a:pt x="99" y="34"/>
                  <a:pt x="99" y="34"/>
                </a:cubicBezTo>
                <a:cubicBezTo>
                  <a:pt x="99" y="36"/>
                  <a:pt x="99" y="36"/>
                  <a:pt x="99" y="36"/>
                </a:cubicBezTo>
                <a:cubicBezTo>
                  <a:pt x="97" y="37"/>
                  <a:pt x="97" y="37"/>
                  <a:pt x="97" y="37"/>
                </a:cubicBezTo>
                <a:cubicBezTo>
                  <a:pt x="94" y="39"/>
                  <a:pt x="94" y="39"/>
                  <a:pt x="94" y="39"/>
                </a:cubicBezTo>
                <a:cubicBezTo>
                  <a:pt x="92" y="39"/>
                  <a:pt x="92" y="39"/>
                  <a:pt x="92" y="39"/>
                </a:cubicBezTo>
                <a:cubicBezTo>
                  <a:pt x="89" y="36"/>
                  <a:pt x="89" y="36"/>
                  <a:pt x="89" y="36"/>
                </a:cubicBezTo>
                <a:cubicBezTo>
                  <a:pt x="88" y="34"/>
                  <a:pt x="88" y="34"/>
                  <a:pt x="88" y="34"/>
                </a:cubicBezTo>
                <a:cubicBezTo>
                  <a:pt x="91" y="31"/>
                  <a:pt x="91" y="31"/>
                  <a:pt x="91" y="31"/>
                </a:cubicBezTo>
                <a:cubicBezTo>
                  <a:pt x="95" y="30"/>
                  <a:pt x="95" y="30"/>
                  <a:pt x="95" y="30"/>
                </a:cubicBezTo>
                <a:cubicBezTo>
                  <a:pt x="95" y="27"/>
                  <a:pt x="95" y="27"/>
                  <a:pt x="95" y="27"/>
                </a:cubicBezTo>
                <a:cubicBezTo>
                  <a:pt x="93" y="28"/>
                  <a:pt x="93" y="28"/>
                  <a:pt x="93" y="28"/>
                </a:cubicBezTo>
                <a:cubicBezTo>
                  <a:pt x="91" y="25"/>
                  <a:pt x="91" y="25"/>
                  <a:pt x="91" y="25"/>
                </a:cubicBezTo>
                <a:cubicBezTo>
                  <a:pt x="95" y="22"/>
                  <a:pt x="95" y="22"/>
                  <a:pt x="95" y="22"/>
                </a:cubicBezTo>
                <a:cubicBezTo>
                  <a:pt x="95" y="17"/>
                  <a:pt x="95" y="17"/>
                  <a:pt x="95" y="17"/>
                </a:cubicBezTo>
                <a:cubicBezTo>
                  <a:pt x="97" y="15"/>
                  <a:pt x="97" y="15"/>
                  <a:pt x="97" y="15"/>
                </a:cubicBezTo>
                <a:cubicBezTo>
                  <a:pt x="100" y="14"/>
                  <a:pt x="100" y="14"/>
                  <a:pt x="100" y="14"/>
                </a:cubicBezTo>
                <a:cubicBezTo>
                  <a:pt x="101" y="13"/>
                  <a:pt x="101" y="13"/>
                  <a:pt x="101" y="13"/>
                </a:cubicBezTo>
                <a:cubicBezTo>
                  <a:pt x="98" y="10"/>
                  <a:pt x="98" y="10"/>
                  <a:pt x="98" y="10"/>
                </a:cubicBezTo>
                <a:cubicBezTo>
                  <a:pt x="96" y="13"/>
                  <a:pt x="96" y="13"/>
                  <a:pt x="96" y="13"/>
                </a:cubicBezTo>
                <a:cubicBezTo>
                  <a:pt x="94" y="11"/>
                  <a:pt x="94" y="11"/>
                  <a:pt x="94" y="11"/>
                </a:cubicBezTo>
                <a:cubicBezTo>
                  <a:pt x="92" y="12"/>
                  <a:pt x="92" y="12"/>
                  <a:pt x="92" y="12"/>
                </a:cubicBezTo>
                <a:cubicBezTo>
                  <a:pt x="91" y="11"/>
                  <a:pt x="91" y="11"/>
                  <a:pt x="91" y="11"/>
                </a:cubicBezTo>
                <a:cubicBezTo>
                  <a:pt x="91" y="8"/>
                  <a:pt x="91" y="8"/>
                  <a:pt x="91" y="8"/>
                </a:cubicBezTo>
                <a:cubicBezTo>
                  <a:pt x="94" y="5"/>
                  <a:pt x="94" y="5"/>
                  <a:pt x="94" y="5"/>
                </a:cubicBezTo>
                <a:cubicBezTo>
                  <a:pt x="94" y="3"/>
                  <a:pt x="94" y="3"/>
                  <a:pt x="94" y="3"/>
                </a:cubicBezTo>
                <a:cubicBezTo>
                  <a:pt x="75" y="0"/>
                  <a:pt x="55" y="3"/>
                  <a:pt x="38" y="13"/>
                </a:cubicBezTo>
                <a:cubicBezTo>
                  <a:pt x="38" y="13"/>
                  <a:pt x="38" y="13"/>
                  <a:pt x="38" y="13"/>
                </a:cubicBezTo>
                <a:cubicBezTo>
                  <a:pt x="23" y="22"/>
                  <a:pt x="12" y="35"/>
                  <a:pt x="5" y="50"/>
                </a:cubicBezTo>
                <a:cubicBezTo>
                  <a:pt x="9" y="48"/>
                  <a:pt x="9" y="48"/>
                  <a:pt x="9" y="48"/>
                </a:cubicBezTo>
                <a:cubicBezTo>
                  <a:pt x="11" y="48"/>
                  <a:pt x="11" y="48"/>
                  <a:pt x="11" y="48"/>
                </a:cubicBezTo>
                <a:cubicBezTo>
                  <a:pt x="14" y="47"/>
                  <a:pt x="14" y="47"/>
                  <a:pt x="14" y="47"/>
                </a:cubicBezTo>
                <a:cubicBezTo>
                  <a:pt x="15" y="48"/>
                  <a:pt x="15" y="48"/>
                  <a:pt x="15" y="48"/>
                </a:cubicBezTo>
                <a:cubicBezTo>
                  <a:pt x="20" y="46"/>
                  <a:pt x="20" y="46"/>
                  <a:pt x="20" y="46"/>
                </a:cubicBezTo>
                <a:cubicBezTo>
                  <a:pt x="18" y="44"/>
                  <a:pt x="18" y="44"/>
                  <a:pt x="18" y="44"/>
                </a:cubicBezTo>
                <a:cubicBezTo>
                  <a:pt x="14" y="47"/>
                  <a:pt x="14" y="47"/>
                  <a:pt x="14" y="47"/>
                </a:cubicBezTo>
                <a:cubicBezTo>
                  <a:pt x="14" y="45"/>
                  <a:pt x="14" y="45"/>
                  <a:pt x="14" y="45"/>
                </a:cubicBezTo>
                <a:cubicBezTo>
                  <a:pt x="13" y="44"/>
                  <a:pt x="13" y="44"/>
                  <a:pt x="13" y="44"/>
                </a:cubicBezTo>
                <a:cubicBezTo>
                  <a:pt x="10" y="47"/>
                  <a:pt x="10" y="47"/>
                  <a:pt x="10" y="47"/>
                </a:cubicBezTo>
                <a:cubicBezTo>
                  <a:pt x="12" y="41"/>
                  <a:pt x="12" y="41"/>
                  <a:pt x="12" y="41"/>
                </a:cubicBezTo>
                <a:cubicBezTo>
                  <a:pt x="16" y="39"/>
                  <a:pt x="16" y="39"/>
                  <a:pt x="16" y="39"/>
                </a:cubicBezTo>
                <a:cubicBezTo>
                  <a:pt x="19" y="40"/>
                  <a:pt x="19" y="40"/>
                  <a:pt x="19" y="40"/>
                </a:cubicBezTo>
                <a:cubicBezTo>
                  <a:pt x="22" y="39"/>
                  <a:pt x="22" y="39"/>
                  <a:pt x="22" y="39"/>
                </a:cubicBezTo>
                <a:cubicBezTo>
                  <a:pt x="23" y="36"/>
                  <a:pt x="23" y="36"/>
                  <a:pt x="23" y="36"/>
                </a:cubicBezTo>
                <a:cubicBezTo>
                  <a:pt x="25" y="36"/>
                  <a:pt x="25" y="36"/>
                  <a:pt x="25" y="36"/>
                </a:cubicBezTo>
                <a:cubicBezTo>
                  <a:pt x="24" y="40"/>
                  <a:pt x="24" y="40"/>
                  <a:pt x="24" y="40"/>
                </a:cubicBezTo>
                <a:cubicBezTo>
                  <a:pt x="24" y="40"/>
                  <a:pt x="20" y="42"/>
                  <a:pt x="21" y="42"/>
                </a:cubicBezTo>
                <a:cubicBezTo>
                  <a:pt x="21" y="42"/>
                  <a:pt x="22" y="44"/>
                  <a:pt x="22" y="44"/>
                </a:cubicBezTo>
                <a:cubicBezTo>
                  <a:pt x="26" y="41"/>
                  <a:pt x="26" y="41"/>
                  <a:pt x="26" y="41"/>
                </a:cubicBezTo>
                <a:cubicBezTo>
                  <a:pt x="26" y="40"/>
                  <a:pt x="26" y="40"/>
                  <a:pt x="26" y="40"/>
                </a:cubicBezTo>
                <a:cubicBezTo>
                  <a:pt x="29" y="38"/>
                  <a:pt x="29" y="38"/>
                  <a:pt x="29" y="38"/>
                </a:cubicBezTo>
                <a:cubicBezTo>
                  <a:pt x="28" y="36"/>
                  <a:pt x="28" y="36"/>
                  <a:pt x="28" y="36"/>
                </a:cubicBezTo>
                <a:cubicBezTo>
                  <a:pt x="26" y="37"/>
                  <a:pt x="26" y="37"/>
                  <a:pt x="26" y="37"/>
                </a:cubicBezTo>
                <a:cubicBezTo>
                  <a:pt x="26" y="35"/>
                  <a:pt x="26" y="35"/>
                  <a:pt x="26" y="35"/>
                </a:cubicBezTo>
                <a:cubicBezTo>
                  <a:pt x="27" y="34"/>
                  <a:pt x="27" y="34"/>
                  <a:pt x="27" y="34"/>
                </a:cubicBezTo>
                <a:cubicBezTo>
                  <a:pt x="32" y="31"/>
                  <a:pt x="32" y="31"/>
                  <a:pt x="32" y="31"/>
                </a:cubicBezTo>
                <a:cubicBezTo>
                  <a:pt x="31" y="35"/>
                  <a:pt x="31" y="35"/>
                  <a:pt x="31" y="35"/>
                </a:cubicBezTo>
                <a:cubicBezTo>
                  <a:pt x="32" y="36"/>
                  <a:pt x="32" y="36"/>
                  <a:pt x="32" y="36"/>
                </a:cubicBezTo>
                <a:cubicBezTo>
                  <a:pt x="35" y="35"/>
                  <a:pt x="35" y="35"/>
                  <a:pt x="35" y="35"/>
                </a:cubicBezTo>
                <a:cubicBezTo>
                  <a:pt x="33" y="32"/>
                  <a:pt x="33" y="32"/>
                  <a:pt x="33" y="32"/>
                </a:cubicBezTo>
                <a:cubicBezTo>
                  <a:pt x="35" y="29"/>
                  <a:pt x="35" y="29"/>
                  <a:pt x="35" y="29"/>
                </a:cubicBezTo>
                <a:cubicBezTo>
                  <a:pt x="39" y="26"/>
                  <a:pt x="39" y="26"/>
                  <a:pt x="39" y="26"/>
                </a:cubicBezTo>
                <a:cubicBezTo>
                  <a:pt x="45" y="25"/>
                  <a:pt x="45" y="25"/>
                  <a:pt x="45" y="25"/>
                </a:cubicBezTo>
                <a:cubicBezTo>
                  <a:pt x="47" y="25"/>
                  <a:pt x="47" y="25"/>
                  <a:pt x="47" y="25"/>
                </a:cubicBezTo>
                <a:cubicBezTo>
                  <a:pt x="49" y="28"/>
                  <a:pt x="49" y="28"/>
                  <a:pt x="49" y="28"/>
                </a:cubicBezTo>
                <a:cubicBezTo>
                  <a:pt x="51" y="27"/>
                  <a:pt x="51" y="27"/>
                  <a:pt x="51" y="27"/>
                </a:cubicBezTo>
                <a:cubicBezTo>
                  <a:pt x="51" y="30"/>
                  <a:pt x="51" y="30"/>
                  <a:pt x="51" y="30"/>
                </a:cubicBezTo>
                <a:cubicBezTo>
                  <a:pt x="49" y="31"/>
                  <a:pt x="49" y="31"/>
                  <a:pt x="49" y="31"/>
                </a:cubicBezTo>
                <a:cubicBezTo>
                  <a:pt x="48" y="31"/>
                  <a:pt x="48" y="31"/>
                  <a:pt x="48" y="31"/>
                </a:cubicBezTo>
                <a:cubicBezTo>
                  <a:pt x="49" y="34"/>
                  <a:pt x="49" y="34"/>
                  <a:pt x="49" y="34"/>
                </a:cubicBezTo>
                <a:cubicBezTo>
                  <a:pt x="41" y="36"/>
                  <a:pt x="41" y="36"/>
                  <a:pt x="41" y="36"/>
                </a:cubicBezTo>
                <a:cubicBezTo>
                  <a:pt x="45" y="31"/>
                  <a:pt x="45" y="31"/>
                  <a:pt x="45" y="31"/>
                </a:cubicBezTo>
                <a:cubicBezTo>
                  <a:pt x="42" y="30"/>
                  <a:pt x="42" y="30"/>
                  <a:pt x="42" y="30"/>
                </a:cubicBezTo>
                <a:cubicBezTo>
                  <a:pt x="37" y="33"/>
                  <a:pt x="37" y="33"/>
                  <a:pt x="37" y="33"/>
                </a:cubicBezTo>
                <a:cubicBezTo>
                  <a:pt x="37" y="34"/>
                  <a:pt x="37" y="34"/>
                  <a:pt x="37" y="34"/>
                </a:cubicBezTo>
                <a:cubicBezTo>
                  <a:pt x="37" y="34"/>
                  <a:pt x="37" y="34"/>
                  <a:pt x="37" y="34"/>
                </a:cubicBezTo>
                <a:cubicBezTo>
                  <a:pt x="37" y="34"/>
                  <a:pt x="37" y="34"/>
                  <a:pt x="37" y="34"/>
                </a:cubicBezTo>
                <a:cubicBezTo>
                  <a:pt x="37" y="36"/>
                  <a:pt x="37" y="36"/>
                  <a:pt x="37" y="36"/>
                </a:cubicBezTo>
                <a:cubicBezTo>
                  <a:pt x="35" y="38"/>
                  <a:pt x="35" y="38"/>
                  <a:pt x="35" y="38"/>
                </a:cubicBezTo>
                <a:cubicBezTo>
                  <a:pt x="35" y="39"/>
                  <a:pt x="35" y="39"/>
                  <a:pt x="35" y="39"/>
                </a:cubicBezTo>
                <a:cubicBezTo>
                  <a:pt x="36" y="38"/>
                  <a:pt x="36" y="38"/>
                  <a:pt x="36" y="38"/>
                </a:cubicBezTo>
                <a:cubicBezTo>
                  <a:pt x="37" y="39"/>
                  <a:pt x="37" y="39"/>
                  <a:pt x="37" y="39"/>
                </a:cubicBezTo>
                <a:cubicBezTo>
                  <a:pt x="35" y="40"/>
                  <a:pt x="35" y="40"/>
                  <a:pt x="35" y="40"/>
                </a:cubicBezTo>
                <a:cubicBezTo>
                  <a:pt x="35" y="41"/>
                  <a:pt x="35" y="41"/>
                  <a:pt x="35" y="41"/>
                </a:cubicBezTo>
                <a:cubicBezTo>
                  <a:pt x="34" y="42"/>
                  <a:pt x="34" y="42"/>
                  <a:pt x="34" y="42"/>
                </a:cubicBezTo>
                <a:cubicBezTo>
                  <a:pt x="32" y="40"/>
                  <a:pt x="32" y="40"/>
                  <a:pt x="32" y="40"/>
                </a:cubicBezTo>
                <a:cubicBezTo>
                  <a:pt x="30" y="43"/>
                  <a:pt x="30" y="43"/>
                  <a:pt x="30" y="43"/>
                </a:cubicBezTo>
                <a:cubicBezTo>
                  <a:pt x="26" y="50"/>
                  <a:pt x="26" y="50"/>
                  <a:pt x="26" y="50"/>
                </a:cubicBezTo>
                <a:cubicBezTo>
                  <a:pt x="28" y="53"/>
                  <a:pt x="28" y="53"/>
                  <a:pt x="28" y="53"/>
                </a:cubicBezTo>
                <a:cubicBezTo>
                  <a:pt x="30" y="53"/>
                  <a:pt x="30" y="53"/>
                  <a:pt x="30" y="53"/>
                </a:cubicBezTo>
                <a:cubicBezTo>
                  <a:pt x="34" y="51"/>
                  <a:pt x="34" y="51"/>
                  <a:pt x="34" y="51"/>
                </a:cubicBezTo>
                <a:cubicBezTo>
                  <a:pt x="36" y="55"/>
                  <a:pt x="36" y="55"/>
                  <a:pt x="36" y="55"/>
                </a:cubicBezTo>
                <a:cubicBezTo>
                  <a:pt x="38" y="54"/>
                  <a:pt x="38" y="54"/>
                  <a:pt x="38" y="54"/>
                </a:cubicBezTo>
                <a:cubicBezTo>
                  <a:pt x="38" y="50"/>
                  <a:pt x="38" y="50"/>
                  <a:pt x="38" y="50"/>
                </a:cubicBezTo>
                <a:cubicBezTo>
                  <a:pt x="41" y="47"/>
                  <a:pt x="41" y="47"/>
                  <a:pt x="41" y="47"/>
                </a:cubicBezTo>
                <a:cubicBezTo>
                  <a:pt x="38" y="42"/>
                  <a:pt x="38" y="42"/>
                  <a:pt x="38" y="42"/>
                </a:cubicBezTo>
                <a:cubicBezTo>
                  <a:pt x="39" y="39"/>
                  <a:pt x="39" y="39"/>
                  <a:pt x="39" y="39"/>
                </a:cubicBezTo>
                <a:cubicBezTo>
                  <a:pt x="44" y="37"/>
                  <a:pt x="44" y="37"/>
                  <a:pt x="44" y="37"/>
                </a:cubicBezTo>
                <a:cubicBezTo>
                  <a:pt x="46" y="41"/>
                  <a:pt x="46" y="41"/>
                  <a:pt x="46" y="41"/>
                </a:cubicBezTo>
                <a:cubicBezTo>
                  <a:pt x="47" y="40"/>
                  <a:pt x="47" y="40"/>
                  <a:pt x="47" y="40"/>
                </a:cubicBezTo>
                <a:cubicBezTo>
                  <a:pt x="50" y="36"/>
                  <a:pt x="50" y="36"/>
                  <a:pt x="50" y="36"/>
                </a:cubicBezTo>
                <a:cubicBezTo>
                  <a:pt x="52" y="40"/>
                  <a:pt x="52" y="40"/>
                  <a:pt x="52" y="40"/>
                </a:cubicBezTo>
                <a:cubicBezTo>
                  <a:pt x="54" y="40"/>
                  <a:pt x="54" y="40"/>
                  <a:pt x="54" y="40"/>
                </a:cubicBezTo>
                <a:cubicBezTo>
                  <a:pt x="56" y="40"/>
                  <a:pt x="56" y="40"/>
                  <a:pt x="56" y="40"/>
                </a:cubicBezTo>
                <a:cubicBezTo>
                  <a:pt x="57" y="42"/>
                  <a:pt x="57" y="42"/>
                  <a:pt x="57" y="42"/>
                </a:cubicBezTo>
                <a:cubicBezTo>
                  <a:pt x="56" y="44"/>
                  <a:pt x="56" y="44"/>
                  <a:pt x="56" y="44"/>
                </a:cubicBezTo>
                <a:cubicBezTo>
                  <a:pt x="55" y="45"/>
                  <a:pt x="55" y="45"/>
                  <a:pt x="55" y="45"/>
                </a:cubicBezTo>
                <a:cubicBezTo>
                  <a:pt x="56" y="45"/>
                  <a:pt x="56" y="45"/>
                  <a:pt x="56" y="45"/>
                </a:cubicBezTo>
                <a:cubicBezTo>
                  <a:pt x="57" y="45"/>
                  <a:pt x="57" y="45"/>
                  <a:pt x="57" y="45"/>
                </a:cubicBezTo>
                <a:cubicBezTo>
                  <a:pt x="60" y="45"/>
                  <a:pt x="60" y="45"/>
                  <a:pt x="60" y="45"/>
                </a:cubicBezTo>
                <a:cubicBezTo>
                  <a:pt x="61" y="47"/>
                  <a:pt x="61" y="47"/>
                  <a:pt x="61" y="47"/>
                </a:cubicBezTo>
                <a:cubicBezTo>
                  <a:pt x="60" y="47"/>
                  <a:pt x="60" y="47"/>
                  <a:pt x="60" y="47"/>
                </a:cubicBezTo>
                <a:cubicBezTo>
                  <a:pt x="60" y="47"/>
                  <a:pt x="60" y="47"/>
                  <a:pt x="60" y="47"/>
                </a:cubicBezTo>
                <a:cubicBezTo>
                  <a:pt x="59" y="48"/>
                  <a:pt x="59" y="48"/>
                  <a:pt x="59" y="48"/>
                </a:cubicBezTo>
                <a:cubicBezTo>
                  <a:pt x="55" y="48"/>
                  <a:pt x="55" y="48"/>
                  <a:pt x="55" y="48"/>
                </a:cubicBezTo>
                <a:cubicBezTo>
                  <a:pt x="54" y="47"/>
                  <a:pt x="54" y="47"/>
                  <a:pt x="54" y="47"/>
                </a:cubicBezTo>
                <a:cubicBezTo>
                  <a:pt x="54" y="47"/>
                  <a:pt x="54" y="47"/>
                  <a:pt x="54" y="47"/>
                </a:cubicBezTo>
                <a:cubicBezTo>
                  <a:pt x="55" y="46"/>
                  <a:pt x="55" y="46"/>
                  <a:pt x="55" y="46"/>
                </a:cubicBezTo>
                <a:cubicBezTo>
                  <a:pt x="54" y="45"/>
                  <a:pt x="54" y="45"/>
                  <a:pt x="54" y="45"/>
                </a:cubicBezTo>
                <a:cubicBezTo>
                  <a:pt x="53" y="45"/>
                  <a:pt x="53" y="45"/>
                  <a:pt x="53" y="45"/>
                </a:cubicBezTo>
                <a:cubicBezTo>
                  <a:pt x="53" y="46"/>
                  <a:pt x="53" y="46"/>
                  <a:pt x="53" y="46"/>
                </a:cubicBezTo>
                <a:cubicBezTo>
                  <a:pt x="51" y="48"/>
                  <a:pt x="51" y="48"/>
                  <a:pt x="51" y="48"/>
                </a:cubicBezTo>
                <a:cubicBezTo>
                  <a:pt x="51" y="48"/>
                  <a:pt x="51" y="48"/>
                  <a:pt x="51" y="48"/>
                </a:cubicBezTo>
                <a:cubicBezTo>
                  <a:pt x="51" y="48"/>
                  <a:pt x="51" y="48"/>
                  <a:pt x="51" y="48"/>
                </a:cubicBezTo>
                <a:cubicBezTo>
                  <a:pt x="51" y="49"/>
                  <a:pt x="51" y="49"/>
                  <a:pt x="51" y="49"/>
                </a:cubicBezTo>
                <a:cubicBezTo>
                  <a:pt x="49" y="48"/>
                  <a:pt x="49" y="48"/>
                  <a:pt x="49" y="48"/>
                </a:cubicBezTo>
                <a:cubicBezTo>
                  <a:pt x="48" y="48"/>
                  <a:pt x="48" y="48"/>
                  <a:pt x="48" y="48"/>
                </a:cubicBezTo>
                <a:cubicBezTo>
                  <a:pt x="47" y="49"/>
                  <a:pt x="47" y="49"/>
                  <a:pt x="47" y="49"/>
                </a:cubicBezTo>
                <a:cubicBezTo>
                  <a:pt x="47" y="50"/>
                  <a:pt x="47" y="50"/>
                  <a:pt x="47" y="50"/>
                </a:cubicBezTo>
                <a:cubicBezTo>
                  <a:pt x="47" y="51"/>
                  <a:pt x="47" y="51"/>
                  <a:pt x="47" y="51"/>
                </a:cubicBezTo>
                <a:cubicBezTo>
                  <a:pt x="49" y="51"/>
                  <a:pt x="49" y="51"/>
                  <a:pt x="49" y="51"/>
                </a:cubicBezTo>
                <a:cubicBezTo>
                  <a:pt x="50" y="50"/>
                  <a:pt x="50" y="50"/>
                  <a:pt x="50" y="50"/>
                </a:cubicBezTo>
                <a:cubicBezTo>
                  <a:pt x="50" y="50"/>
                  <a:pt x="50" y="50"/>
                  <a:pt x="50" y="50"/>
                </a:cubicBezTo>
                <a:cubicBezTo>
                  <a:pt x="50" y="52"/>
                  <a:pt x="50" y="52"/>
                  <a:pt x="50" y="52"/>
                </a:cubicBezTo>
                <a:cubicBezTo>
                  <a:pt x="49" y="52"/>
                  <a:pt x="49" y="52"/>
                  <a:pt x="49" y="52"/>
                </a:cubicBezTo>
                <a:cubicBezTo>
                  <a:pt x="47" y="52"/>
                  <a:pt x="47" y="52"/>
                  <a:pt x="47" y="52"/>
                </a:cubicBezTo>
                <a:cubicBezTo>
                  <a:pt x="46" y="57"/>
                  <a:pt x="46" y="57"/>
                  <a:pt x="46" y="57"/>
                </a:cubicBezTo>
                <a:cubicBezTo>
                  <a:pt x="47" y="57"/>
                  <a:pt x="47" y="57"/>
                  <a:pt x="47" y="57"/>
                </a:cubicBezTo>
                <a:cubicBezTo>
                  <a:pt x="44" y="62"/>
                  <a:pt x="44" y="62"/>
                  <a:pt x="44" y="62"/>
                </a:cubicBezTo>
                <a:cubicBezTo>
                  <a:pt x="42" y="69"/>
                  <a:pt x="42" y="69"/>
                  <a:pt x="42" y="69"/>
                </a:cubicBezTo>
                <a:cubicBezTo>
                  <a:pt x="43" y="71"/>
                  <a:pt x="43" y="71"/>
                  <a:pt x="43" y="71"/>
                </a:cubicBezTo>
                <a:cubicBezTo>
                  <a:pt x="40" y="77"/>
                  <a:pt x="40" y="77"/>
                  <a:pt x="40" y="77"/>
                </a:cubicBezTo>
                <a:cubicBezTo>
                  <a:pt x="40" y="80"/>
                  <a:pt x="40" y="80"/>
                  <a:pt x="40" y="80"/>
                </a:cubicBezTo>
                <a:cubicBezTo>
                  <a:pt x="42" y="84"/>
                  <a:pt x="42" y="84"/>
                  <a:pt x="42" y="84"/>
                </a:cubicBezTo>
                <a:cubicBezTo>
                  <a:pt x="39" y="85"/>
                  <a:pt x="39" y="85"/>
                  <a:pt x="39" y="85"/>
                </a:cubicBezTo>
                <a:cubicBezTo>
                  <a:pt x="37" y="82"/>
                  <a:pt x="37" y="82"/>
                  <a:pt x="37" y="82"/>
                </a:cubicBezTo>
                <a:cubicBezTo>
                  <a:pt x="29" y="87"/>
                  <a:pt x="29" y="87"/>
                  <a:pt x="29" y="87"/>
                </a:cubicBezTo>
                <a:cubicBezTo>
                  <a:pt x="26" y="92"/>
                  <a:pt x="26" y="92"/>
                  <a:pt x="26" y="92"/>
                </a:cubicBezTo>
                <a:cubicBezTo>
                  <a:pt x="26" y="96"/>
                  <a:pt x="26" y="96"/>
                  <a:pt x="26" y="96"/>
                </a:cubicBezTo>
                <a:cubicBezTo>
                  <a:pt x="27" y="99"/>
                  <a:pt x="27" y="99"/>
                  <a:pt x="27" y="99"/>
                </a:cubicBezTo>
                <a:cubicBezTo>
                  <a:pt x="30" y="101"/>
                  <a:pt x="30" y="101"/>
                  <a:pt x="30" y="101"/>
                </a:cubicBezTo>
                <a:cubicBezTo>
                  <a:pt x="33" y="99"/>
                  <a:pt x="33" y="99"/>
                  <a:pt x="33" y="99"/>
                </a:cubicBezTo>
                <a:cubicBezTo>
                  <a:pt x="37" y="93"/>
                  <a:pt x="37" y="93"/>
                  <a:pt x="37" y="93"/>
                </a:cubicBezTo>
                <a:cubicBezTo>
                  <a:pt x="38" y="94"/>
                  <a:pt x="38" y="94"/>
                  <a:pt x="38" y="94"/>
                </a:cubicBezTo>
                <a:cubicBezTo>
                  <a:pt x="38" y="98"/>
                  <a:pt x="38" y="98"/>
                  <a:pt x="38" y="98"/>
                </a:cubicBezTo>
                <a:cubicBezTo>
                  <a:pt x="43" y="96"/>
                  <a:pt x="43" y="96"/>
                  <a:pt x="43" y="96"/>
                </a:cubicBezTo>
                <a:cubicBezTo>
                  <a:pt x="47" y="102"/>
                  <a:pt x="47" y="102"/>
                  <a:pt x="47" y="102"/>
                </a:cubicBezTo>
                <a:cubicBezTo>
                  <a:pt x="53" y="100"/>
                  <a:pt x="53" y="100"/>
                  <a:pt x="53" y="100"/>
                </a:cubicBezTo>
                <a:cubicBezTo>
                  <a:pt x="54" y="94"/>
                  <a:pt x="54" y="94"/>
                  <a:pt x="54" y="94"/>
                </a:cubicBezTo>
                <a:cubicBezTo>
                  <a:pt x="59" y="92"/>
                  <a:pt x="59" y="92"/>
                  <a:pt x="59" y="92"/>
                </a:cubicBezTo>
                <a:cubicBezTo>
                  <a:pt x="61" y="93"/>
                  <a:pt x="61" y="93"/>
                  <a:pt x="61" y="93"/>
                </a:cubicBezTo>
                <a:cubicBezTo>
                  <a:pt x="65" y="91"/>
                  <a:pt x="65" y="91"/>
                  <a:pt x="65" y="91"/>
                </a:cubicBezTo>
                <a:cubicBezTo>
                  <a:pt x="65" y="90"/>
                  <a:pt x="65" y="90"/>
                  <a:pt x="65" y="90"/>
                </a:cubicBezTo>
                <a:cubicBezTo>
                  <a:pt x="68" y="89"/>
                  <a:pt x="68" y="89"/>
                  <a:pt x="68" y="89"/>
                </a:cubicBezTo>
                <a:cubicBezTo>
                  <a:pt x="72" y="92"/>
                  <a:pt x="72" y="92"/>
                  <a:pt x="72" y="92"/>
                </a:cubicBezTo>
                <a:cubicBezTo>
                  <a:pt x="77" y="89"/>
                  <a:pt x="77" y="89"/>
                  <a:pt x="77" y="89"/>
                </a:cubicBezTo>
                <a:cubicBezTo>
                  <a:pt x="80" y="91"/>
                  <a:pt x="80" y="91"/>
                  <a:pt x="80" y="91"/>
                </a:cubicBezTo>
                <a:cubicBezTo>
                  <a:pt x="82" y="94"/>
                  <a:pt x="82" y="94"/>
                  <a:pt x="82" y="94"/>
                </a:cubicBezTo>
                <a:cubicBezTo>
                  <a:pt x="86" y="94"/>
                  <a:pt x="86" y="94"/>
                  <a:pt x="86" y="94"/>
                </a:cubicBezTo>
                <a:cubicBezTo>
                  <a:pt x="88" y="93"/>
                  <a:pt x="88" y="93"/>
                  <a:pt x="88" y="93"/>
                </a:cubicBezTo>
                <a:cubicBezTo>
                  <a:pt x="94" y="90"/>
                  <a:pt x="94" y="90"/>
                  <a:pt x="94" y="90"/>
                </a:cubicBezTo>
                <a:cubicBezTo>
                  <a:pt x="98" y="92"/>
                  <a:pt x="98" y="92"/>
                  <a:pt x="98" y="92"/>
                </a:cubicBezTo>
                <a:cubicBezTo>
                  <a:pt x="101" y="91"/>
                  <a:pt x="101" y="91"/>
                  <a:pt x="101" y="91"/>
                </a:cubicBezTo>
                <a:cubicBezTo>
                  <a:pt x="102" y="94"/>
                  <a:pt x="102" y="94"/>
                  <a:pt x="102" y="94"/>
                </a:cubicBezTo>
                <a:cubicBezTo>
                  <a:pt x="101" y="99"/>
                  <a:pt x="101" y="99"/>
                  <a:pt x="101" y="99"/>
                </a:cubicBezTo>
                <a:cubicBezTo>
                  <a:pt x="105" y="108"/>
                  <a:pt x="105" y="108"/>
                  <a:pt x="105" y="108"/>
                </a:cubicBezTo>
                <a:cubicBezTo>
                  <a:pt x="104" y="112"/>
                  <a:pt x="104" y="112"/>
                  <a:pt x="104" y="112"/>
                </a:cubicBezTo>
                <a:cubicBezTo>
                  <a:pt x="100" y="114"/>
                  <a:pt x="100" y="114"/>
                  <a:pt x="100" y="114"/>
                </a:cubicBezTo>
                <a:cubicBezTo>
                  <a:pt x="100" y="117"/>
                  <a:pt x="100" y="117"/>
                  <a:pt x="100" y="117"/>
                </a:cubicBezTo>
                <a:cubicBezTo>
                  <a:pt x="100" y="117"/>
                  <a:pt x="100" y="117"/>
                  <a:pt x="100" y="117"/>
                </a:cubicBezTo>
                <a:cubicBezTo>
                  <a:pt x="104" y="121"/>
                  <a:pt x="104" y="121"/>
                  <a:pt x="104" y="121"/>
                </a:cubicBezTo>
                <a:cubicBezTo>
                  <a:pt x="103" y="122"/>
                  <a:pt x="103" y="122"/>
                  <a:pt x="103" y="122"/>
                </a:cubicBezTo>
                <a:cubicBezTo>
                  <a:pt x="103" y="129"/>
                  <a:pt x="103" y="129"/>
                  <a:pt x="103" y="129"/>
                </a:cubicBezTo>
                <a:cubicBezTo>
                  <a:pt x="103" y="132"/>
                  <a:pt x="103" y="132"/>
                  <a:pt x="103" y="132"/>
                </a:cubicBezTo>
                <a:cubicBezTo>
                  <a:pt x="100" y="136"/>
                  <a:pt x="100" y="136"/>
                  <a:pt x="100" y="136"/>
                </a:cubicBezTo>
                <a:cubicBezTo>
                  <a:pt x="97" y="138"/>
                  <a:pt x="97" y="138"/>
                  <a:pt x="97" y="138"/>
                </a:cubicBezTo>
                <a:cubicBezTo>
                  <a:pt x="98" y="140"/>
                  <a:pt x="98" y="140"/>
                  <a:pt x="98" y="140"/>
                </a:cubicBezTo>
                <a:cubicBezTo>
                  <a:pt x="100" y="139"/>
                  <a:pt x="100" y="139"/>
                  <a:pt x="100" y="139"/>
                </a:cubicBezTo>
                <a:cubicBezTo>
                  <a:pt x="101" y="140"/>
                  <a:pt x="101" y="140"/>
                  <a:pt x="101" y="140"/>
                </a:cubicBezTo>
                <a:cubicBezTo>
                  <a:pt x="100" y="143"/>
                  <a:pt x="100" y="143"/>
                  <a:pt x="100" y="143"/>
                </a:cubicBezTo>
                <a:cubicBezTo>
                  <a:pt x="102" y="144"/>
                  <a:pt x="102" y="144"/>
                  <a:pt x="102" y="144"/>
                </a:cubicBezTo>
                <a:cubicBezTo>
                  <a:pt x="104" y="142"/>
                  <a:pt x="104" y="142"/>
                  <a:pt x="104" y="142"/>
                </a:cubicBezTo>
                <a:cubicBezTo>
                  <a:pt x="105" y="144"/>
                  <a:pt x="105" y="144"/>
                  <a:pt x="105" y="144"/>
                </a:cubicBezTo>
                <a:cubicBezTo>
                  <a:pt x="105" y="146"/>
                  <a:pt x="105" y="146"/>
                  <a:pt x="105" y="146"/>
                </a:cubicBezTo>
                <a:cubicBezTo>
                  <a:pt x="105" y="147"/>
                  <a:pt x="105" y="147"/>
                  <a:pt x="105" y="147"/>
                </a:cubicBezTo>
                <a:cubicBezTo>
                  <a:pt x="110" y="148"/>
                  <a:pt x="110" y="148"/>
                  <a:pt x="110" y="148"/>
                </a:cubicBezTo>
                <a:cubicBezTo>
                  <a:pt x="110" y="150"/>
                  <a:pt x="110" y="150"/>
                  <a:pt x="110" y="150"/>
                </a:cubicBezTo>
                <a:cubicBezTo>
                  <a:pt x="106" y="152"/>
                  <a:pt x="106" y="152"/>
                  <a:pt x="106" y="152"/>
                </a:cubicBezTo>
                <a:cubicBezTo>
                  <a:pt x="100" y="151"/>
                  <a:pt x="100" y="151"/>
                  <a:pt x="100" y="151"/>
                </a:cubicBezTo>
                <a:cubicBezTo>
                  <a:pt x="94" y="147"/>
                  <a:pt x="94" y="147"/>
                  <a:pt x="94" y="147"/>
                </a:cubicBezTo>
                <a:cubicBezTo>
                  <a:pt x="91" y="142"/>
                  <a:pt x="91" y="142"/>
                  <a:pt x="91" y="142"/>
                </a:cubicBezTo>
                <a:cubicBezTo>
                  <a:pt x="86" y="140"/>
                  <a:pt x="86" y="140"/>
                  <a:pt x="86" y="140"/>
                </a:cubicBezTo>
                <a:cubicBezTo>
                  <a:pt x="84" y="134"/>
                  <a:pt x="84" y="134"/>
                  <a:pt x="84" y="134"/>
                </a:cubicBezTo>
                <a:cubicBezTo>
                  <a:pt x="83" y="134"/>
                  <a:pt x="83" y="134"/>
                  <a:pt x="83" y="134"/>
                </a:cubicBezTo>
                <a:cubicBezTo>
                  <a:pt x="76" y="122"/>
                  <a:pt x="76" y="122"/>
                  <a:pt x="76" y="122"/>
                </a:cubicBezTo>
                <a:cubicBezTo>
                  <a:pt x="76" y="122"/>
                  <a:pt x="70" y="122"/>
                  <a:pt x="69" y="122"/>
                </a:cubicBezTo>
                <a:cubicBezTo>
                  <a:pt x="69" y="122"/>
                  <a:pt x="67" y="123"/>
                  <a:pt x="67" y="123"/>
                </a:cubicBezTo>
                <a:cubicBezTo>
                  <a:pt x="65" y="121"/>
                  <a:pt x="65" y="121"/>
                  <a:pt x="65" y="121"/>
                </a:cubicBezTo>
                <a:cubicBezTo>
                  <a:pt x="56" y="117"/>
                  <a:pt x="56" y="117"/>
                  <a:pt x="56" y="117"/>
                </a:cubicBezTo>
                <a:cubicBezTo>
                  <a:pt x="55" y="115"/>
                  <a:pt x="55" y="115"/>
                  <a:pt x="55" y="115"/>
                </a:cubicBezTo>
                <a:cubicBezTo>
                  <a:pt x="53" y="111"/>
                  <a:pt x="53" y="111"/>
                  <a:pt x="53" y="111"/>
                </a:cubicBezTo>
                <a:cubicBezTo>
                  <a:pt x="55" y="106"/>
                  <a:pt x="55" y="106"/>
                  <a:pt x="55" y="106"/>
                </a:cubicBezTo>
                <a:cubicBezTo>
                  <a:pt x="52" y="102"/>
                  <a:pt x="52" y="102"/>
                  <a:pt x="52" y="102"/>
                </a:cubicBezTo>
                <a:cubicBezTo>
                  <a:pt x="47" y="105"/>
                  <a:pt x="47" y="105"/>
                  <a:pt x="47" y="105"/>
                </a:cubicBezTo>
                <a:cubicBezTo>
                  <a:pt x="40" y="103"/>
                  <a:pt x="40" y="103"/>
                  <a:pt x="40" y="103"/>
                </a:cubicBezTo>
                <a:cubicBezTo>
                  <a:pt x="36" y="104"/>
                  <a:pt x="36" y="104"/>
                  <a:pt x="36" y="104"/>
                </a:cubicBezTo>
                <a:cubicBezTo>
                  <a:pt x="34" y="104"/>
                  <a:pt x="34" y="104"/>
                  <a:pt x="34" y="104"/>
                </a:cubicBezTo>
                <a:cubicBezTo>
                  <a:pt x="34" y="102"/>
                  <a:pt x="34" y="102"/>
                  <a:pt x="34" y="102"/>
                </a:cubicBezTo>
                <a:cubicBezTo>
                  <a:pt x="31" y="104"/>
                  <a:pt x="31" y="104"/>
                  <a:pt x="31" y="104"/>
                </a:cubicBezTo>
                <a:cubicBezTo>
                  <a:pt x="32" y="105"/>
                  <a:pt x="32" y="105"/>
                  <a:pt x="32" y="105"/>
                </a:cubicBezTo>
                <a:cubicBezTo>
                  <a:pt x="25" y="107"/>
                  <a:pt x="25" y="107"/>
                  <a:pt x="25" y="107"/>
                </a:cubicBezTo>
                <a:cubicBezTo>
                  <a:pt x="20" y="104"/>
                  <a:pt x="20" y="104"/>
                  <a:pt x="20" y="104"/>
                </a:cubicBezTo>
                <a:cubicBezTo>
                  <a:pt x="20" y="102"/>
                  <a:pt x="20" y="102"/>
                  <a:pt x="20" y="102"/>
                </a:cubicBezTo>
                <a:cubicBezTo>
                  <a:pt x="13" y="99"/>
                  <a:pt x="13" y="99"/>
                  <a:pt x="13" y="99"/>
                </a:cubicBezTo>
                <a:cubicBezTo>
                  <a:pt x="10" y="95"/>
                  <a:pt x="10" y="95"/>
                  <a:pt x="10" y="95"/>
                </a:cubicBezTo>
                <a:cubicBezTo>
                  <a:pt x="8" y="96"/>
                  <a:pt x="8" y="96"/>
                  <a:pt x="8" y="96"/>
                </a:cubicBezTo>
                <a:cubicBezTo>
                  <a:pt x="11" y="100"/>
                  <a:pt x="11" y="100"/>
                  <a:pt x="11" y="100"/>
                </a:cubicBezTo>
                <a:cubicBezTo>
                  <a:pt x="16" y="102"/>
                  <a:pt x="16" y="102"/>
                  <a:pt x="16" y="102"/>
                </a:cubicBezTo>
                <a:cubicBezTo>
                  <a:pt x="17" y="104"/>
                  <a:pt x="17" y="104"/>
                  <a:pt x="17" y="104"/>
                </a:cubicBezTo>
                <a:cubicBezTo>
                  <a:pt x="14" y="105"/>
                  <a:pt x="14" y="105"/>
                  <a:pt x="14" y="105"/>
                </a:cubicBezTo>
                <a:cubicBezTo>
                  <a:pt x="9" y="102"/>
                  <a:pt x="9" y="102"/>
                  <a:pt x="9" y="102"/>
                </a:cubicBezTo>
                <a:cubicBezTo>
                  <a:pt x="6" y="96"/>
                  <a:pt x="6" y="96"/>
                  <a:pt x="6" y="96"/>
                </a:cubicBezTo>
                <a:cubicBezTo>
                  <a:pt x="2" y="97"/>
                  <a:pt x="2" y="97"/>
                  <a:pt x="2" y="97"/>
                </a:cubicBezTo>
                <a:cubicBezTo>
                  <a:pt x="0" y="93"/>
                  <a:pt x="0" y="93"/>
                  <a:pt x="0" y="93"/>
                </a:cubicBezTo>
                <a:cubicBezTo>
                  <a:pt x="1" y="103"/>
                  <a:pt x="4" y="113"/>
                  <a:pt x="10" y="123"/>
                </a:cubicBezTo>
                <a:cubicBezTo>
                  <a:pt x="33" y="161"/>
                  <a:pt x="82" y="173"/>
                  <a:pt x="120" y="151"/>
                </a:cubicBezTo>
                <a:cubicBezTo>
                  <a:pt x="120" y="151"/>
                  <a:pt x="120" y="151"/>
                  <a:pt x="120" y="151"/>
                </a:cubicBezTo>
                <a:cubicBezTo>
                  <a:pt x="142" y="138"/>
                  <a:pt x="155" y="116"/>
                  <a:pt x="158" y="93"/>
                </a:cubicBezTo>
                <a:cubicBezTo>
                  <a:pt x="156" y="95"/>
                  <a:pt x="156" y="95"/>
                  <a:pt x="156" y="95"/>
                </a:cubicBezTo>
                <a:cubicBezTo>
                  <a:pt x="153" y="90"/>
                  <a:pt x="153" y="90"/>
                  <a:pt x="153" y="90"/>
                </a:cubicBezTo>
                <a:cubicBezTo>
                  <a:pt x="148" y="88"/>
                  <a:pt x="148" y="88"/>
                  <a:pt x="148" y="88"/>
                </a:cubicBezTo>
                <a:cubicBezTo>
                  <a:pt x="145" y="83"/>
                  <a:pt x="145" y="83"/>
                  <a:pt x="145" y="83"/>
                </a:cubicBezTo>
                <a:cubicBezTo>
                  <a:pt x="142" y="82"/>
                  <a:pt x="142" y="82"/>
                  <a:pt x="142" y="82"/>
                </a:cubicBezTo>
                <a:cubicBezTo>
                  <a:pt x="140" y="80"/>
                  <a:pt x="140" y="80"/>
                  <a:pt x="140" y="80"/>
                </a:cubicBezTo>
                <a:cubicBezTo>
                  <a:pt x="140" y="73"/>
                  <a:pt x="140" y="73"/>
                  <a:pt x="140" y="73"/>
                </a:cubicBezTo>
                <a:cubicBezTo>
                  <a:pt x="130" y="68"/>
                  <a:pt x="130" y="68"/>
                  <a:pt x="130" y="68"/>
                </a:cubicBezTo>
                <a:cubicBezTo>
                  <a:pt x="127" y="62"/>
                  <a:pt x="127" y="62"/>
                  <a:pt x="127" y="62"/>
                </a:cubicBezTo>
                <a:cubicBezTo>
                  <a:pt x="123" y="64"/>
                  <a:pt x="123" y="64"/>
                  <a:pt x="123" y="64"/>
                </a:cubicBezTo>
                <a:cubicBezTo>
                  <a:pt x="120" y="63"/>
                  <a:pt x="120" y="63"/>
                  <a:pt x="120" y="63"/>
                </a:cubicBezTo>
                <a:cubicBezTo>
                  <a:pt x="117" y="65"/>
                  <a:pt x="117" y="65"/>
                  <a:pt x="117" y="65"/>
                </a:cubicBezTo>
                <a:cubicBezTo>
                  <a:pt x="117" y="67"/>
                  <a:pt x="117" y="67"/>
                  <a:pt x="117" y="67"/>
                </a:cubicBezTo>
                <a:cubicBezTo>
                  <a:pt x="111" y="70"/>
                  <a:pt x="111" y="70"/>
                  <a:pt x="111" y="70"/>
                </a:cubicBezTo>
                <a:cubicBezTo>
                  <a:pt x="111" y="71"/>
                  <a:pt x="111" y="71"/>
                  <a:pt x="111" y="71"/>
                </a:cubicBezTo>
                <a:cubicBezTo>
                  <a:pt x="109" y="72"/>
                  <a:pt x="109" y="72"/>
                  <a:pt x="109" y="72"/>
                </a:cubicBezTo>
                <a:cubicBezTo>
                  <a:pt x="98" y="69"/>
                  <a:pt x="98" y="69"/>
                  <a:pt x="98" y="69"/>
                </a:cubicBezTo>
                <a:cubicBezTo>
                  <a:pt x="94" y="63"/>
                  <a:pt x="94" y="63"/>
                  <a:pt x="94" y="63"/>
                </a:cubicBezTo>
                <a:cubicBezTo>
                  <a:pt x="95" y="62"/>
                  <a:pt x="95" y="62"/>
                  <a:pt x="95" y="62"/>
                </a:cubicBezTo>
                <a:cubicBezTo>
                  <a:pt x="94" y="60"/>
                  <a:pt x="94" y="60"/>
                  <a:pt x="94" y="60"/>
                </a:cubicBezTo>
                <a:cubicBezTo>
                  <a:pt x="93" y="60"/>
                  <a:pt x="93" y="60"/>
                  <a:pt x="93" y="60"/>
                </a:cubicBezTo>
                <a:cubicBezTo>
                  <a:pt x="90" y="58"/>
                  <a:pt x="90" y="58"/>
                  <a:pt x="90" y="58"/>
                </a:cubicBezTo>
                <a:cubicBezTo>
                  <a:pt x="95" y="48"/>
                  <a:pt x="95" y="48"/>
                  <a:pt x="95" y="48"/>
                </a:cubicBezTo>
                <a:cubicBezTo>
                  <a:pt x="92" y="45"/>
                  <a:pt x="92" y="45"/>
                  <a:pt x="92" y="45"/>
                </a:cubicBezTo>
                <a:cubicBezTo>
                  <a:pt x="95" y="40"/>
                  <a:pt x="95" y="40"/>
                  <a:pt x="95" y="40"/>
                </a:cubicBezTo>
                <a:cubicBezTo>
                  <a:pt x="97" y="40"/>
                  <a:pt x="97" y="40"/>
                  <a:pt x="97" y="40"/>
                </a:cubicBezTo>
                <a:cubicBezTo>
                  <a:pt x="100" y="38"/>
                  <a:pt x="100" y="38"/>
                  <a:pt x="100" y="38"/>
                </a:cubicBezTo>
                <a:cubicBezTo>
                  <a:pt x="101" y="35"/>
                  <a:pt x="101" y="35"/>
                  <a:pt x="101" y="35"/>
                </a:cubicBezTo>
                <a:cubicBezTo>
                  <a:pt x="109" y="30"/>
                  <a:pt x="109" y="30"/>
                  <a:pt x="109" y="30"/>
                </a:cubicBezTo>
                <a:cubicBezTo>
                  <a:pt x="111" y="34"/>
                  <a:pt x="111" y="34"/>
                  <a:pt x="111" y="34"/>
                </a:cubicBezTo>
                <a:cubicBezTo>
                  <a:pt x="118" y="32"/>
                  <a:pt x="118" y="32"/>
                  <a:pt x="118" y="32"/>
                </a:cubicBezTo>
                <a:cubicBezTo>
                  <a:pt x="120" y="32"/>
                  <a:pt x="120" y="32"/>
                  <a:pt x="120" y="32"/>
                </a:cubicBezTo>
                <a:cubicBezTo>
                  <a:pt x="121" y="31"/>
                  <a:pt x="121" y="31"/>
                  <a:pt x="121" y="31"/>
                </a:cubicBezTo>
                <a:cubicBezTo>
                  <a:pt x="120" y="29"/>
                  <a:pt x="120" y="29"/>
                  <a:pt x="120" y="29"/>
                </a:cubicBezTo>
                <a:cubicBezTo>
                  <a:pt x="123" y="26"/>
                  <a:pt x="123" y="26"/>
                  <a:pt x="123" y="26"/>
                </a:cubicBezTo>
                <a:cubicBezTo>
                  <a:pt x="128" y="27"/>
                  <a:pt x="128" y="27"/>
                  <a:pt x="128" y="27"/>
                </a:cubicBezTo>
                <a:cubicBezTo>
                  <a:pt x="133" y="24"/>
                  <a:pt x="133" y="24"/>
                  <a:pt x="133" y="24"/>
                </a:cubicBezTo>
                <a:cubicBezTo>
                  <a:pt x="133" y="23"/>
                  <a:pt x="133" y="23"/>
                  <a:pt x="133" y="23"/>
                </a:cubicBezTo>
                <a:cubicBezTo>
                  <a:pt x="132" y="22"/>
                  <a:pt x="130" y="20"/>
                  <a:pt x="128" y="19"/>
                </a:cubicBezTo>
                <a:close/>
                <a:moveTo>
                  <a:pt x="84" y="19"/>
                </a:moveTo>
                <a:cubicBezTo>
                  <a:pt x="84" y="17"/>
                  <a:pt x="84" y="17"/>
                  <a:pt x="84" y="17"/>
                </a:cubicBezTo>
                <a:cubicBezTo>
                  <a:pt x="86" y="15"/>
                  <a:pt x="86" y="15"/>
                  <a:pt x="86" y="15"/>
                </a:cubicBezTo>
                <a:cubicBezTo>
                  <a:pt x="88" y="18"/>
                  <a:pt x="88" y="18"/>
                  <a:pt x="88" y="18"/>
                </a:cubicBezTo>
                <a:cubicBezTo>
                  <a:pt x="91" y="19"/>
                  <a:pt x="91" y="19"/>
                  <a:pt x="91" y="19"/>
                </a:cubicBezTo>
                <a:cubicBezTo>
                  <a:pt x="92" y="20"/>
                  <a:pt x="92" y="20"/>
                  <a:pt x="92" y="20"/>
                </a:cubicBezTo>
                <a:cubicBezTo>
                  <a:pt x="94" y="19"/>
                  <a:pt x="94" y="19"/>
                  <a:pt x="94" y="19"/>
                </a:cubicBezTo>
                <a:cubicBezTo>
                  <a:pt x="93" y="22"/>
                  <a:pt x="93" y="22"/>
                  <a:pt x="93" y="22"/>
                </a:cubicBezTo>
                <a:cubicBezTo>
                  <a:pt x="91" y="24"/>
                  <a:pt x="91" y="24"/>
                  <a:pt x="91" y="24"/>
                </a:cubicBezTo>
                <a:cubicBezTo>
                  <a:pt x="89" y="25"/>
                  <a:pt x="89" y="25"/>
                  <a:pt x="89" y="25"/>
                </a:cubicBezTo>
                <a:cubicBezTo>
                  <a:pt x="88" y="22"/>
                  <a:pt x="88" y="22"/>
                  <a:pt x="88" y="22"/>
                </a:cubicBezTo>
                <a:cubicBezTo>
                  <a:pt x="89" y="21"/>
                  <a:pt x="89" y="21"/>
                  <a:pt x="89" y="21"/>
                </a:cubicBezTo>
                <a:cubicBezTo>
                  <a:pt x="88" y="20"/>
                  <a:pt x="88" y="20"/>
                  <a:pt x="88" y="20"/>
                </a:cubicBezTo>
                <a:cubicBezTo>
                  <a:pt x="86" y="20"/>
                  <a:pt x="86" y="20"/>
                  <a:pt x="86" y="20"/>
                </a:cubicBezTo>
                <a:cubicBezTo>
                  <a:pt x="85" y="20"/>
                  <a:pt x="85" y="20"/>
                  <a:pt x="85" y="20"/>
                </a:cubicBezTo>
                <a:lnTo>
                  <a:pt x="84" y="19"/>
                </a:lnTo>
                <a:close/>
                <a:moveTo>
                  <a:pt x="83" y="25"/>
                </a:moveTo>
                <a:cubicBezTo>
                  <a:pt x="83" y="22"/>
                  <a:pt x="83" y="22"/>
                  <a:pt x="83" y="22"/>
                </a:cubicBezTo>
                <a:cubicBezTo>
                  <a:pt x="85" y="21"/>
                  <a:pt x="85" y="21"/>
                  <a:pt x="85" y="21"/>
                </a:cubicBezTo>
                <a:cubicBezTo>
                  <a:pt x="86" y="20"/>
                  <a:pt x="86" y="20"/>
                  <a:pt x="86" y="20"/>
                </a:cubicBezTo>
                <a:cubicBezTo>
                  <a:pt x="87" y="22"/>
                  <a:pt x="87" y="22"/>
                  <a:pt x="87" y="22"/>
                </a:cubicBezTo>
                <a:cubicBezTo>
                  <a:pt x="85" y="26"/>
                  <a:pt x="85" y="26"/>
                  <a:pt x="85" y="26"/>
                </a:cubicBezTo>
                <a:cubicBezTo>
                  <a:pt x="84" y="27"/>
                  <a:pt x="84" y="27"/>
                  <a:pt x="84" y="27"/>
                </a:cubicBezTo>
                <a:lnTo>
                  <a:pt x="83" y="25"/>
                </a:lnTo>
                <a:close/>
                <a:moveTo>
                  <a:pt x="51" y="56"/>
                </a:moveTo>
                <a:cubicBezTo>
                  <a:pt x="49" y="57"/>
                  <a:pt x="49" y="57"/>
                  <a:pt x="49" y="57"/>
                </a:cubicBezTo>
                <a:cubicBezTo>
                  <a:pt x="49" y="56"/>
                  <a:pt x="49" y="56"/>
                  <a:pt x="49" y="56"/>
                </a:cubicBezTo>
                <a:cubicBezTo>
                  <a:pt x="49" y="55"/>
                  <a:pt x="49" y="55"/>
                  <a:pt x="49" y="55"/>
                </a:cubicBezTo>
                <a:cubicBezTo>
                  <a:pt x="50" y="55"/>
                  <a:pt x="50" y="55"/>
                  <a:pt x="50" y="55"/>
                </a:cubicBezTo>
                <a:lnTo>
                  <a:pt x="51" y="56"/>
                </a:lnTo>
                <a:close/>
                <a:moveTo>
                  <a:pt x="55" y="51"/>
                </a:moveTo>
                <a:cubicBezTo>
                  <a:pt x="54" y="52"/>
                  <a:pt x="54" y="52"/>
                  <a:pt x="54" y="52"/>
                </a:cubicBezTo>
                <a:cubicBezTo>
                  <a:pt x="54" y="53"/>
                  <a:pt x="54" y="53"/>
                  <a:pt x="54" y="53"/>
                </a:cubicBezTo>
                <a:cubicBezTo>
                  <a:pt x="54" y="54"/>
                  <a:pt x="54" y="54"/>
                  <a:pt x="54" y="54"/>
                </a:cubicBezTo>
                <a:cubicBezTo>
                  <a:pt x="52" y="55"/>
                  <a:pt x="52" y="55"/>
                  <a:pt x="52" y="55"/>
                </a:cubicBezTo>
                <a:cubicBezTo>
                  <a:pt x="52" y="54"/>
                  <a:pt x="52" y="54"/>
                  <a:pt x="52" y="54"/>
                </a:cubicBezTo>
                <a:cubicBezTo>
                  <a:pt x="52" y="54"/>
                  <a:pt x="52" y="54"/>
                  <a:pt x="52" y="54"/>
                </a:cubicBezTo>
                <a:cubicBezTo>
                  <a:pt x="51" y="53"/>
                  <a:pt x="51" y="53"/>
                  <a:pt x="51" y="53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1"/>
                  <a:pt x="53" y="51"/>
                  <a:pt x="53" y="51"/>
                </a:cubicBezTo>
                <a:cubicBezTo>
                  <a:pt x="53" y="50"/>
                  <a:pt x="53" y="50"/>
                  <a:pt x="53" y="50"/>
                </a:cubicBezTo>
                <a:cubicBezTo>
                  <a:pt x="54" y="50"/>
                  <a:pt x="54" y="50"/>
                  <a:pt x="54" y="50"/>
                </a:cubicBezTo>
                <a:lnTo>
                  <a:pt x="55" y="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94" name="işḷïḋe">
            <a:extLst>
              <a:ext uri="{FF2B5EF4-FFF2-40B4-BE49-F238E27FC236}">
                <a16:creationId xmlns:a16="http://schemas.microsoft.com/office/drawing/2014/main" id="{850D446A-F0A5-4023-A96D-4758394DAD86}"/>
              </a:ext>
            </a:extLst>
          </p:cNvPr>
          <p:cNvSpPr>
            <a:spLocks/>
          </p:cNvSpPr>
          <p:nvPr/>
        </p:nvSpPr>
        <p:spPr bwMode="auto">
          <a:xfrm>
            <a:off x="8913038" y="2432318"/>
            <a:ext cx="220770" cy="240146"/>
          </a:xfrm>
          <a:custGeom>
            <a:avLst/>
            <a:gdLst>
              <a:gd name="T0" fmla="*/ 120 w 159"/>
              <a:gd name="T1" fmla="*/ 23 h 173"/>
              <a:gd name="T2" fmla="*/ 108 w 159"/>
              <a:gd name="T3" fmla="*/ 22 h 173"/>
              <a:gd name="T4" fmla="*/ 112 w 159"/>
              <a:gd name="T5" fmla="*/ 28 h 173"/>
              <a:gd name="T6" fmla="*/ 103 w 159"/>
              <a:gd name="T7" fmla="*/ 26 h 173"/>
              <a:gd name="T8" fmla="*/ 93 w 159"/>
              <a:gd name="T9" fmla="*/ 39 h 173"/>
              <a:gd name="T10" fmla="*/ 94 w 159"/>
              <a:gd name="T11" fmla="*/ 28 h 173"/>
              <a:gd name="T12" fmla="*/ 102 w 159"/>
              <a:gd name="T13" fmla="*/ 13 h 173"/>
              <a:gd name="T14" fmla="*/ 92 w 159"/>
              <a:gd name="T15" fmla="*/ 8 h 173"/>
              <a:gd name="T16" fmla="*/ 10 w 159"/>
              <a:gd name="T17" fmla="*/ 48 h 173"/>
              <a:gd name="T18" fmla="*/ 15 w 159"/>
              <a:gd name="T19" fmla="*/ 47 h 173"/>
              <a:gd name="T20" fmla="*/ 20 w 159"/>
              <a:gd name="T21" fmla="*/ 40 h 173"/>
              <a:gd name="T22" fmla="*/ 23 w 159"/>
              <a:gd name="T23" fmla="*/ 44 h 173"/>
              <a:gd name="T24" fmla="*/ 27 w 159"/>
              <a:gd name="T25" fmla="*/ 35 h 173"/>
              <a:gd name="T26" fmla="*/ 34 w 159"/>
              <a:gd name="T27" fmla="*/ 32 h 173"/>
              <a:gd name="T28" fmla="*/ 52 w 159"/>
              <a:gd name="T29" fmla="*/ 27 h 173"/>
              <a:gd name="T30" fmla="*/ 45 w 159"/>
              <a:gd name="T31" fmla="*/ 30 h 173"/>
              <a:gd name="T32" fmla="*/ 37 w 159"/>
              <a:gd name="T33" fmla="*/ 36 h 173"/>
              <a:gd name="T34" fmla="*/ 36 w 159"/>
              <a:gd name="T35" fmla="*/ 41 h 173"/>
              <a:gd name="T36" fmla="*/ 31 w 159"/>
              <a:gd name="T37" fmla="*/ 52 h 173"/>
              <a:gd name="T38" fmla="*/ 39 w 159"/>
              <a:gd name="T39" fmla="*/ 42 h 173"/>
              <a:gd name="T40" fmla="*/ 53 w 159"/>
              <a:gd name="T41" fmla="*/ 40 h 173"/>
              <a:gd name="T42" fmla="*/ 57 w 159"/>
              <a:gd name="T43" fmla="*/ 45 h 173"/>
              <a:gd name="T44" fmla="*/ 59 w 159"/>
              <a:gd name="T45" fmla="*/ 47 h 173"/>
              <a:gd name="T46" fmla="*/ 54 w 159"/>
              <a:gd name="T47" fmla="*/ 45 h 173"/>
              <a:gd name="T48" fmla="*/ 50 w 159"/>
              <a:gd name="T49" fmla="*/ 48 h 173"/>
              <a:gd name="T50" fmla="*/ 51 w 159"/>
              <a:gd name="T51" fmla="*/ 50 h 173"/>
              <a:gd name="T52" fmla="*/ 48 w 159"/>
              <a:gd name="T53" fmla="*/ 57 h 173"/>
              <a:gd name="T54" fmla="*/ 43 w 159"/>
              <a:gd name="T55" fmla="*/ 84 h 173"/>
              <a:gd name="T56" fmla="*/ 28 w 159"/>
              <a:gd name="T57" fmla="*/ 99 h 173"/>
              <a:gd name="T58" fmla="*/ 44 w 159"/>
              <a:gd name="T59" fmla="*/ 96 h 173"/>
              <a:gd name="T60" fmla="*/ 66 w 159"/>
              <a:gd name="T61" fmla="*/ 91 h 173"/>
              <a:gd name="T62" fmla="*/ 83 w 159"/>
              <a:gd name="T63" fmla="*/ 94 h 173"/>
              <a:gd name="T64" fmla="*/ 103 w 159"/>
              <a:gd name="T65" fmla="*/ 93 h 173"/>
              <a:gd name="T66" fmla="*/ 101 w 159"/>
              <a:gd name="T67" fmla="*/ 117 h 173"/>
              <a:gd name="T68" fmla="*/ 98 w 159"/>
              <a:gd name="T69" fmla="*/ 138 h 173"/>
              <a:gd name="T70" fmla="*/ 105 w 159"/>
              <a:gd name="T71" fmla="*/ 142 h 173"/>
              <a:gd name="T72" fmla="*/ 107 w 159"/>
              <a:gd name="T73" fmla="*/ 152 h 173"/>
              <a:gd name="T74" fmla="*/ 83 w 159"/>
              <a:gd name="T75" fmla="*/ 134 h 173"/>
              <a:gd name="T76" fmla="*/ 56 w 159"/>
              <a:gd name="T77" fmla="*/ 114 h 173"/>
              <a:gd name="T78" fmla="*/ 37 w 159"/>
              <a:gd name="T79" fmla="*/ 103 h 173"/>
              <a:gd name="T80" fmla="*/ 21 w 159"/>
              <a:gd name="T81" fmla="*/ 104 h 173"/>
              <a:gd name="T82" fmla="*/ 17 w 159"/>
              <a:gd name="T83" fmla="*/ 102 h 173"/>
              <a:gd name="T84" fmla="*/ 0 w 159"/>
              <a:gd name="T85" fmla="*/ 93 h 173"/>
              <a:gd name="T86" fmla="*/ 154 w 159"/>
              <a:gd name="T87" fmla="*/ 90 h 173"/>
              <a:gd name="T88" fmla="*/ 131 w 159"/>
              <a:gd name="T89" fmla="*/ 67 h 173"/>
              <a:gd name="T90" fmla="*/ 112 w 159"/>
              <a:gd name="T91" fmla="*/ 70 h 173"/>
              <a:gd name="T92" fmla="*/ 95 w 159"/>
              <a:gd name="T93" fmla="*/ 59 h 173"/>
              <a:gd name="T94" fmla="*/ 97 w 159"/>
              <a:gd name="T95" fmla="*/ 39 h 173"/>
              <a:gd name="T96" fmla="*/ 121 w 159"/>
              <a:gd name="T97" fmla="*/ 32 h 173"/>
              <a:gd name="T98" fmla="*/ 134 w 159"/>
              <a:gd name="T99" fmla="*/ 23 h 173"/>
              <a:gd name="T100" fmla="*/ 91 w 159"/>
              <a:gd name="T101" fmla="*/ 19 h 173"/>
              <a:gd name="T102" fmla="*/ 89 w 159"/>
              <a:gd name="T103" fmla="*/ 22 h 173"/>
              <a:gd name="T104" fmla="*/ 84 w 159"/>
              <a:gd name="T105" fmla="*/ 25 h 173"/>
              <a:gd name="T106" fmla="*/ 85 w 159"/>
              <a:gd name="T107" fmla="*/ 26 h 173"/>
              <a:gd name="T108" fmla="*/ 51 w 159"/>
              <a:gd name="T109" fmla="*/ 55 h 173"/>
              <a:gd name="T110" fmla="*/ 53 w 159"/>
              <a:gd name="T111" fmla="*/ 54 h 173"/>
              <a:gd name="T112" fmla="*/ 54 w 159"/>
              <a:gd name="T113" fmla="*/ 50 h 1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59" h="173">
                <a:moveTo>
                  <a:pt x="129" y="19"/>
                </a:moveTo>
                <a:cubicBezTo>
                  <a:pt x="125" y="21"/>
                  <a:pt x="125" y="21"/>
                  <a:pt x="125" y="21"/>
                </a:cubicBezTo>
                <a:cubicBezTo>
                  <a:pt x="123" y="20"/>
                  <a:pt x="123" y="20"/>
                  <a:pt x="123" y="20"/>
                </a:cubicBezTo>
                <a:cubicBezTo>
                  <a:pt x="120" y="17"/>
                  <a:pt x="120" y="17"/>
                  <a:pt x="120" y="17"/>
                </a:cubicBezTo>
                <a:cubicBezTo>
                  <a:pt x="119" y="19"/>
                  <a:pt x="119" y="19"/>
                  <a:pt x="119" y="19"/>
                </a:cubicBezTo>
                <a:cubicBezTo>
                  <a:pt x="120" y="23"/>
                  <a:pt x="120" y="23"/>
                  <a:pt x="120" y="23"/>
                </a:cubicBezTo>
                <a:cubicBezTo>
                  <a:pt x="116" y="22"/>
                  <a:pt x="116" y="22"/>
                  <a:pt x="116" y="22"/>
                </a:cubicBezTo>
                <a:cubicBezTo>
                  <a:pt x="114" y="20"/>
                  <a:pt x="114" y="20"/>
                  <a:pt x="114" y="20"/>
                </a:cubicBezTo>
                <a:cubicBezTo>
                  <a:pt x="110" y="19"/>
                  <a:pt x="110" y="19"/>
                  <a:pt x="110" y="19"/>
                </a:cubicBezTo>
                <a:cubicBezTo>
                  <a:pt x="109" y="19"/>
                  <a:pt x="109" y="19"/>
                  <a:pt x="109" y="19"/>
                </a:cubicBezTo>
                <a:cubicBezTo>
                  <a:pt x="106" y="20"/>
                  <a:pt x="106" y="20"/>
                  <a:pt x="106" y="20"/>
                </a:cubicBezTo>
                <a:cubicBezTo>
                  <a:pt x="108" y="22"/>
                  <a:pt x="108" y="22"/>
                  <a:pt x="108" y="22"/>
                </a:cubicBezTo>
                <a:cubicBezTo>
                  <a:pt x="113" y="22"/>
                  <a:pt x="113" y="22"/>
                  <a:pt x="113" y="22"/>
                </a:cubicBezTo>
                <a:cubicBezTo>
                  <a:pt x="114" y="23"/>
                  <a:pt x="114" y="23"/>
                  <a:pt x="114" y="23"/>
                </a:cubicBezTo>
                <a:cubicBezTo>
                  <a:pt x="114" y="23"/>
                  <a:pt x="114" y="23"/>
                  <a:pt x="114" y="23"/>
                </a:cubicBezTo>
                <a:cubicBezTo>
                  <a:pt x="115" y="26"/>
                  <a:pt x="115" y="26"/>
                  <a:pt x="115" y="26"/>
                </a:cubicBezTo>
                <a:cubicBezTo>
                  <a:pt x="114" y="27"/>
                  <a:pt x="114" y="27"/>
                  <a:pt x="114" y="27"/>
                </a:cubicBezTo>
                <a:cubicBezTo>
                  <a:pt x="112" y="28"/>
                  <a:pt x="112" y="28"/>
                  <a:pt x="112" y="28"/>
                </a:cubicBezTo>
                <a:cubicBezTo>
                  <a:pt x="110" y="27"/>
                  <a:pt x="110" y="27"/>
                  <a:pt x="110" y="27"/>
                </a:cubicBezTo>
                <a:cubicBezTo>
                  <a:pt x="113" y="26"/>
                  <a:pt x="113" y="26"/>
                  <a:pt x="113" y="26"/>
                </a:cubicBezTo>
                <a:cubicBezTo>
                  <a:pt x="113" y="24"/>
                  <a:pt x="113" y="24"/>
                  <a:pt x="113" y="24"/>
                </a:cubicBezTo>
                <a:cubicBezTo>
                  <a:pt x="105" y="24"/>
                  <a:pt x="105" y="24"/>
                  <a:pt x="105" y="24"/>
                </a:cubicBezTo>
                <a:cubicBezTo>
                  <a:pt x="104" y="23"/>
                  <a:pt x="104" y="23"/>
                  <a:pt x="104" y="23"/>
                </a:cubicBezTo>
                <a:cubicBezTo>
                  <a:pt x="103" y="26"/>
                  <a:pt x="103" y="26"/>
                  <a:pt x="103" y="26"/>
                </a:cubicBezTo>
                <a:cubicBezTo>
                  <a:pt x="101" y="27"/>
                  <a:pt x="101" y="27"/>
                  <a:pt x="101" y="27"/>
                </a:cubicBezTo>
                <a:cubicBezTo>
                  <a:pt x="100" y="33"/>
                  <a:pt x="100" y="33"/>
                  <a:pt x="100" y="33"/>
                </a:cubicBezTo>
                <a:cubicBezTo>
                  <a:pt x="100" y="35"/>
                  <a:pt x="100" y="35"/>
                  <a:pt x="100" y="35"/>
                </a:cubicBezTo>
                <a:cubicBezTo>
                  <a:pt x="98" y="37"/>
                  <a:pt x="98" y="37"/>
                  <a:pt x="98" y="37"/>
                </a:cubicBezTo>
                <a:cubicBezTo>
                  <a:pt x="95" y="39"/>
                  <a:pt x="95" y="39"/>
                  <a:pt x="95" y="39"/>
                </a:cubicBezTo>
                <a:cubicBezTo>
                  <a:pt x="93" y="39"/>
                  <a:pt x="93" y="39"/>
                  <a:pt x="93" y="39"/>
                </a:cubicBezTo>
                <a:cubicBezTo>
                  <a:pt x="90" y="36"/>
                  <a:pt x="90" y="36"/>
                  <a:pt x="90" y="36"/>
                </a:cubicBezTo>
                <a:cubicBezTo>
                  <a:pt x="89" y="33"/>
                  <a:pt x="89" y="33"/>
                  <a:pt x="89" y="33"/>
                </a:cubicBezTo>
                <a:cubicBezTo>
                  <a:pt x="92" y="31"/>
                  <a:pt x="92" y="31"/>
                  <a:pt x="92" y="31"/>
                </a:cubicBezTo>
                <a:cubicBezTo>
                  <a:pt x="96" y="29"/>
                  <a:pt x="96" y="29"/>
                  <a:pt x="96" y="29"/>
                </a:cubicBezTo>
                <a:cubicBezTo>
                  <a:pt x="95" y="27"/>
                  <a:pt x="95" y="27"/>
                  <a:pt x="95" y="27"/>
                </a:cubicBezTo>
                <a:cubicBezTo>
                  <a:pt x="94" y="28"/>
                  <a:pt x="94" y="28"/>
                  <a:pt x="94" y="28"/>
                </a:cubicBezTo>
                <a:cubicBezTo>
                  <a:pt x="92" y="24"/>
                  <a:pt x="92" y="24"/>
                  <a:pt x="92" y="24"/>
                </a:cubicBezTo>
                <a:cubicBezTo>
                  <a:pt x="96" y="22"/>
                  <a:pt x="96" y="22"/>
                  <a:pt x="96" y="22"/>
                </a:cubicBezTo>
                <a:cubicBezTo>
                  <a:pt x="96" y="17"/>
                  <a:pt x="96" y="17"/>
                  <a:pt x="96" y="17"/>
                </a:cubicBezTo>
                <a:cubicBezTo>
                  <a:pt x="98" y="15"/>
                  <a:pt x="98" y="15"/>
                  <a:pt x="98" y="15"/>
                </a:cubicBezTo>
                <a:cubicBezTo>
                  <a:pt x="101" y="14"/>
                  <a:pt x="101" y="14"/>
                  <a:pt x="101" y="14"/>
                </a:cubicBezTo>
                <a:cubicBezTo>
                  <a:pt x="102" y="13"/>
                  <a:pt x="102" y="13"/>
                  <a:pt x="102" y="13"/>
                </a:cubicBezTo>
                <a:cubicBezTo>
                  <a:pt x="99" y="10"/>
                  <a:pt x="99" y="10"/>
                  <a:pt x="99" y="10"/>
                </a:cubicBezTo>
                <a:cubicBezTo>
                  <a:pt x="97" y="13"/>
                  <a:pt x="97" y="13"/>
                  <a:pt x="97" y="13"/>
                </a:cubicBezTo>
                <a:cubicBezTo>
                  <a:pt x="95" y="11"/>
                  <a:pt x="95" y="11"/>
                  <a:pt x="95" y="11"/>
                </a:cubicBezTo>
                <a:cubicBezTo>
                  <a:pt x="93" y="12"/>
                  <a:pt x="93" y="12"/>
                  <a:pt x="93" y="12"/>
                </a:cubicBezTo>
                <a:cubicBezTo>
                  <a:pt x="91" y="10"/>
                  <a:pt x="91" y="10"/>
                  <a:pt x="91" y="10"/>
                </a:cubicBezTo>
                <a:cubicBezTo>
                  <a:pt x="92" y="8"/>
                  <a:pt x="92" y="8"/>
                  <a:pt x="92" y="8"/>
                </a:cubicBezTo>
                <a:cubicBezTo>
                  <a:pt x="94" y="5"/>
                  <a:pt x="94" y="5"/>
                  <a:pt x="94" y="5"/>
                </a:cubicBezTo>
                <a:cubicBezTo>
                  <a:pt x="94" y="3"/>
                  <a:pt x="94" y="3"/>
                  <a:pt x="94" y="3"/>
                </a:cubicBezTo>
                <a:cubicBezTo>
                  <a:pt x="76" y="0"/>
                  <a:pt x="56" y="3"/>
                  <a:pt x="39" y="13"/>
                </a:cubicBezTo>
                <a:cubicBezTo>
                  <a:pt x="39" y="13"/>
                  <a:pt x="39" y="13"/>
                  <a:pt x="39" y="13"/>
                </a:cubicBezTo>
                <a:cubicBezTo>
                  <a:pt x="24" y="22"/>
                  <a:pt x="13" y="35"/>
                  <a:pt x="6" y="50"/>
                </a:cubicBezTo>
                <a:cubicBezTo>
                  <a:pt x="10" y="48"/>
                  <a:pt x="10" y="48"/>
                  <a:pt x="10" y="48"/>
                </a:cubicBezTo>
                <a:cubicBezTo>
                  <a:pt x="12" y="48"/>
                  <a:pt x="12" y="48"/>
                  <a:pt x="12" y="48"/>
                </a:cubicBezTo>
                <a:cubicBezTo>
                  <a:pt x="15" y="47"/>
                  <a:pt x="15" y="47"/>
                  <a:pt x="15" y="47"/>
                </a:cubicBezTo>
                <a:cubicBezTo>
                  <a:pt x="16" y="48"/>
                  <a:pt x="16" y="48"/>
                  <a:pt x="16" y="48"/>
                </a:cubicBezTo>
                <a:cubicBezTo>
                  <a:pt x="21" y="45"/>
                  <a:pt x="21" y="45"/>
                  <a:pt x="21" y="45"/>
                </a:cubicBezTo>
                <a:cubicBezTo>
                  <a:pt x="19" y="44"/>
                  <a:pt x="19" y="44"/>
                  <a:pt x="19" y="44"/>
                </a:cubicBezTo>
                <a:cubicBezTo>
                  <a:pt x="15" y="47"/>
                  <a:pt x="15" y="47"/>
                  <a:pt x="15" y="47"/>
                </a:cubicBezTo>
                <a:cubicBezTo>
                  <a:pt x="15" y="45"/>
                  <a:pt x="15" y="45"/>
                  <a:pt x="15" y="45"/>
                </a:cubicBezTo>
                <a:cubicBezTo>
                  <a:pt x="14" y="44"/>
                  <a:pt x="14" y="44"/>
                  <a:pt x="14" y="44"/>
                </a:cubicBezTo>
                <a:cubicBezTo>
                  <a:pt x="11" y="46"/>
                  <a:pt x="11" y="46"/>
                  <a:pt x="11" y="46"/>
                </a:cubicBezTo>
                <a:cubicBezTo>
                  <a:pt x="13" y="41"/>
                  <a:pt x="13" y="41"/>
                  <a:pt x="13" y="41"/>
                </a:cubicBezTo>
                <a:cubicBezTo>
                  <a:pt x="17" y="39"/>
                  <a:pt x="17" y="39"/>
                  <a:pt x="17" y="39"/>
                </a:cubicBezTo>
                <a:cubicBezTo>
                  <a:pt x="20" y="40"/>
                  <a:pt x="20" y="40"/>
                  <a:pt x="20" y="40"/>
                </a:cubicBezTo>
                <a:cubicBezTo>
                  <a:pt x="23" y="38"/>
                  <a:pt x="23" y="38"/>
                  <a:pt x="23" y="38"/>
                </a:cubicBezTo>
                <a:cubicBezTo>
                  <a:pt x="24" y="36"/>
                  <a:pt x="24" y="36"/>
                  <a:pt x="24" y="36"/>
                </a:cubicBezTo>
                <a:cubicBezTo>
                  <a:pt x="26" y="35"/>
                  <a:pt x="26" y="35"/>
                  <a:pt x="26" y="35"/>
                </a:cubicBezTo>
                <a:cubicBezTo>
                  <a:pt x="25" y="39"/>
                  <a:pt x="25" y="39"/>
                  <a:pt x="25" y="39"/>
                </a:cubicBezTo>
                <a:cubicBezTo>
                  <a:pt x="25" y="39"/>
                  <a:pt x="21" y="42"/>
                  <a:pt x="21" y="41"/>
                </a:cubicBezTo>
                <a:cubicBezTo>
                  <a:pt x="22" y="41"/>
                  <a:pt x="23" y="44"/>
                  <a:pt x="23" y="44"/>
                </a:cubicBezTo>
                <a:cubicBezTo>
                  <a:pt x="27" y="41"/>
                  <a:pt x="27" y="41"/>
                  <a:pt x="27" y="41"/>
                </a:cubicBezTo>
                <a:cubicBezTo>
                  <a:pt x="27" y="40"/>
                  <a:pt x="27" y="40"/>
                  <a:pt x="27" y="40"/>
                </a:cubicBezTo>
                <a:cubicBezTo>
                  <a:pt x="30" y="38"/>
                  <a:pt x="30" y="38"/>
                  <a:pt x="30" y="38"/>
                </a:cubicBezTo>
                <a:cubicBezTo>
                  <a:pt x="29" y="36"/>
                  <a:pt x="29" y="36"/>
                  <a:pt x="29" y="36"/>
                </a:cubicBezTo>
                <a:cubicBezTo>
                  <a:pt x="27" y="37"/>
                  <a:pt x="27" y="37"/>
                  <a:pt x="27" y="37"/>
                </a:cubicBezTo>
                <a:cubicBezTo>
                  <a:pt x="27" y="35"/>
                  <a:pt x="27" y="35"/>
                  <a:pt x="27" y="35"/>
                </a:cubicBezTo>
                <a:cubicBezTo>
                  <a:pt x="28" y="33"/>
                  <a:pt x="28" y="33"/>
                  <a:pt x="28" y="33"/>
                </a:cubicBezTo>
                <a:cubicBezTo>
                  <a:pt x="33" y="31"/>
                  <a:pt x="33" y="31"/>
                  <a:pt x="33" y="31"/>
                </a:cubicBezTo>
                <a:cubicBezTo>
                  <a:pt x="32" y="35"/>
                  <a:pt x="32" y="35"/>
                  <a:pt x="32" y="35"/>
                </a:cubicBezTo>
                <a:cubicBezTo>
                  <a:pt x="33" y="36"/>
                  <a:pt x="33" y="36"/>
                  <a:pt x="33" y="36"/>
                </a:cubicBezTo>
                <a:cubicBezTo>
                  <a:pt x="36" y="35"/>
                  <a:pt x="36" y="35"/>
                  <a:pt x="36" y="35"/>
                </a:cubicBezTo>
                <a:cubicBezTo>
                  <a:pt x="34" y="32"/>
                  <a:pt x="34" y="32"/>
                  <a:pt x="34" y="32"/>
                </a:cubicBezTo>
                <a:cubicBezTo>
                  <a:pt x="36" y="29"/>
                  <a:pt x="36" y="29"/>
                  <a:pt x="36" y="29"/>
                </a:cubicBezTo>
                <a:cubicBezTo>
                  <a:pt x="40" y="26"/>
                  <a:pt x="40" y="26"/>
                  <a:pt x="40" y="26"/>
                </a:cubicBezTo>
                <a:cubicBezTo>
                  <a:pt x="46" y="25"/>
                  <a:pt x="46" y="25"/>
                  <a:pt x="46" y="25"/>
                </a:cubicBezTo>
                <a:cubicBezTo>
                  <a:pt x="48" y="25"/>
                  <a:pt x="48" y="25"/>
                  <a:pt x="48" y="25"/>
                </a:cubicBezTo>
                <a:cubicBezTo>
                  <a:pt x="49" y="27"/>
                  <a:pt x="49" y="27"/>
                  <a:pt x="49" y="27"/>
                </a:cubicBezTo>
                <a:cubicBezTo>
                  <a:pt x="52" y="27"/>
                  <a:pt x="52" y="27"/>
                  <a:pt x="52" y="27"/>
                </a:cubicBezTo>
                <a:cubicBezTo>
                  <a:pt x="52" y="29"/>
                  <a:pt x="52" y="29"/>
                  <a:pt x="52" y="29"/>
                </a:cubicBezTo>
                <a:cubicBezTo>
                  <a:pt x="49" y="31"/>
                  <a:pt x="49" y="31"/>
                  <a:pt x="49" y="31"/>
                </a:cubicBezTo>
                <a:cubicBezTo>
                  <a:pt x="49" y="31"/>
                  <a:pt x="49" y="31"/>
                  <a:pt x="49" y="31"/>
                </a:cubicBezTo>
                <a:cubicBezTo>
                  <a:pt x="49" y="34"/>
                  <a:pt x="49" y="34"/>
                  <a:pt x="49" y="34"/>
                </a:cubicBezTo>
                <a:cubicBezTo>
                  <a:pt x="42" y="36"/>
                  <a:pt x="42" y="36"/>
                  <a:pt x="42" y="36"/>
                </a:cubicBezTo>
                <a:cubicBezTo>
                  <a:pt x="45" y="30"/>
                  <a:pt x="45" y="30"/>
                  <a:pt x="45" y="30"/>
                </a:cubicBezTo>
                <a:cubicBezTo>
                  <a:pt x="42" y="30"/>
                  <a:pt x="42" y="30"/>
                  <a:pt x="42" y="30"/>
                </a:cubicBezTo>
                <a:cubicBezTo>
                  <a:pt x="38" y="33"/>
                  <a:pt x="38" y="33"/>
                  <a:pt x="38" y="33"/>
                </a:cubicBezTo>
                <a:cubicBezTo>
                  <a:pt x="38" y="34"/>
                  <a:pt x="38" y="34"/>
                  <a:pt x="38" y="34"/>
                </a:cubicBezTo>
                <a:cubicBezTo>
                  <a:pt x="38" y="34"/>
                  <a:pt x="38" y="34"/>
                  <a:pt x="38" y="34"/>
                </a:cubicBezTo>
                <a:cubicBezTo>
                  <a:pt x="38" y="34"/>
                  <a:pt x="38" y="34"/>
                  <a:pt x="38" y="34"/>
                </a:cubicBezTo>
                <a:cubicBezTo>
                  <a:pt x="37" y="36"/>
                  <a:pt x="37" y="36"/>
                  <a:pt x="37" y="36"/>
                </a:cubicBezTo>
                <a:cubicBezTo>
                  <a:pt x="35" y="37"/>
                  <a:pt x="35" y="37"/>
                  <a:pt x="35" y="37"/>
                </a:cubicBezTo>
                <a:cubicBezTo>
                  <a:pt x="36" y="38"/>
                  <a:pt x="36" y="38"/>
                  <a:pt x="36" y="38"/>
                </a:cubicBezTo>
                <a:cubicBezTo>
                  <a:pt x="37" y="38"/>
                  <a:pt x="37" y="38"/>
                  <a:pt x="37" y="38"/>
                </a:cubicBezTo>
                <a:cubicBezTo>
                  <a:pt x="37" y="39"/>
                  <a:pt x="37" y="39"/>
                  <a:pt x="37" y="39"/>
                </a:cubicBezTo>
                <a:cubicBezTo>
                  <a:pt x="36" y="40"/>
                  <a:pt x="36" y="40"/>
                  <a:pt x="36" y="40"/>
                </a:cubicBezTo>
                <a:cubicBezTo>
                  <a:pt x="36" y="41"/>
                  <a:pt x="36" y="41"/>
                  <a:pt x="36" y="41"/>
                </a:cubicBezTo>
                <a:cubicBezTo>
                  <a:pt x="35" y="42"/>
                  <a:pt x="35" y="42"/>
                  <a:pt x="35" y="42"/>
                </a:cubicBezTo>
                <a:cubicBezTo>
                  <a:pt x="33" y="40"/>
                  <a:pt x="33" y="40"/>
                  <a:pt x="33" y="40"/>
                </a:cubicBezTo>
                <a:cubicBezTo>
                  <a:pt x="31" y="43"/>
                  <a:pt x="31" y="43"/>
                  <a:pt x="31" y="43"/>
                </a:cubicBezTo>
                <a:cubicBezTo>
                  <a:pt x="27" y="50"/>
                  <a:pt x="27" y="50"/>
                  <a:pt x="27" y="50"/>
                </a:cubicBezTo>
                <a:cubicBezTo>
                  <a:pt x="29" y="52"/>
                  <a:pt x="29" y="52"/>
                  <a:pt x="29" y="52"/>
                </a:cubicBezTo>
                <a:cubicBezTo>
                  <a:pt x="31" y="52"/>
                  <a:pt x="31" y="52"/>
                  <a:pt x="31" y="52"/>
                </a:cubicBezTo>
                <a:cubicBezTo>
                  <a:pt x="35" y="51"/>
                  <a:pt x="35" y="51"/>
                  <a:pt x="35" y="51"/>
                </a:cubicBezTo>
                <a:cubicBezTo>
                  <a:pt x="37" y="55"/>
                  <a:pt x="37" y="55"/>
                  <a:pt x="37" y="55"/>
                </a:cubicBezTo>
                <a:cubicBezTo>
                  <a:pt x="39" y="54"/>
                  <a:pt x="39" y="54"/>
                  <a:pt x="39" y="54"/>
                </a:cubicBezTo>
                <a:cubicBezTo>
                  <a:pt x="38" y="50"/>
                  <a:pt x="38" y="50"/>
                  <a:pt x="38" y="50"/>
                </a:cubicBezTo>
                <a:cubicBezTo>
                  <a:pt x="41" y="46"/>
                  <a:pt x="41" y="46"/>
                  <a:pt x="41" y="46"/>
                </a:cubicBezTo>
                <a:cubicBezTo>
                  <a:pt x="39" y="42"/>
                  <a:pt x="39" y="42"/>
                  <a:pt x="39" y="42"/>
                </a:cubicBezTo>
                <a:cubicBezTo>
                  <a:pt x="40" y="39"/>
                  <a:pt x="40" y="39"/>
                  <a:pt x="40" y="39"/>
                </a:cubicBezTo>
                <a:cubicBezTo>
                  <a:pt x="45" y="37"/>
                  <a:pt x="45" y="37"/>
                  <a:pt x="45" y="37"/>
                </a:cubicBezTo>
                <a:cubicBezTo>
                  <a:pt x="47" y="40"/>
                  <a:pt x="47" y="40"/>
                  <a:pt x="47" y="40"/>
                </a:cubicBezTo>
                <a:cubicBezTo>
                  <a:pt x="48" y="40"/>
                  <a:pt x="48" y="40"/>
                  <a:pt x="48" y="40"/>
                </a:cubicBezTo>
                <a:cubicBezTo>
                  <a:pt x="51" y="36"/>
                  <a:pt x="51" y="36"/>
                  <a:pt x="51" y="36"/>
                </a:cubicBezTo>
                <a:cubicBezTo>
                  <a:pt x="53" y="40"/>
                  <a:pt x="53" y="40"/>
                  <a:pt x="53" y="40"/>
                </a:cubicBezTo>
                <a:cubicBezTo>
                  <a:pt x="55" y="40"/>
                  <a:pt x="55" y="40"/>
                  <a:pt x="55" y="40"/>
                </a:cubicBezTo>
                <a:cubicBezTo>
                  <a:pt x="57" y="40"/>
                  <a:pt x="57" y="40"/>
                  <a:pt x="57" y="40"/>
                </a:cubicBezTo>
                <a:cubicBezTo>
                  <a:pt x="58" y="42"/>
                  <a:pt x="58" y="42"/>
                  <a:pt x="58" y="42"/>
                </a:cubicBezTo>
                <a:cubicBezTo>
                  <a:pt x="57" y="43"/>
                  <a:pt x="57" y="43"/>
                  <a:pt x="57" y="43"/>
                </a:cubicBezTo>
                <a:cubicBezTo>
                  <a:pt x="56" y="45"/>
                  <a:pt x="56" y="45"/>
                  <a:pt x="56" y="45"/>
                </a:cubicBezTo>
                <a:cubicBezTo>
                  <a:pt x="57" y="45"/>
                  <a:pt x="57" y="45"/>
                  <a:pt x="57" y="45"/>
                </a:cubicBezTo>
                <a:cubicBezTo>
                  <a:pt x="58" y="45"/>
                  <a:pt x="58" y="45"/>
                  <a:pt x="58" y="45"/>
                </a:cubicBezTo>
                <a:cubicBezTo>
                  <a:pt x="61" y="45"/>
                  <a:pt x="61" y="45"/>
                  <a:pt x="61" y="45"/>
                </a:cubicBezTo>
                <a:cubicBezTo>
                  <a:pt x="62" y="46"/>
                  <a:pt x="62" y="46"/>
                  <a:pt x="62" y="46"/>
                </a:cubicBezTo>
                <a:cubicBezTo>
                  <a:pt x="61" y="47"/>
                  <a:pt x="61" y="47"/>
                  <a:pt x="61" y="47"/>
                </a:cubicBezTo>
                <a:cubicBezTo>
                  <a:pt x="61" y="47"/>
                  <a:pt x="61" y="47"/>
                  <a:pt x="61" y="47"/>
                </a:cubicBezTo>
                <a:cubicBezTo>
                  <a:pt x="59" y="47"/>
                  <a:pt x="59" y="47"/>
                  <a:pt x="59" y="47"/>
                </a:cubicBezTo>
                <a:cubicBezTo>
                  <a:pt x="56" y="48"/>
                  <a:pt x="56" y="48"/>
                  <a:pt x="56" y="48"/>
                </a:cubicBezTo>
                <a:cubicBezTo>
                  <a:pt x="55" y="47"/>
                  <a:pt x="55" y="47"/>
                  <a:pt x="55" y="47"/>
                </a:cubicBezTo>
                <a:cubicBezTo>
                  <a:pt x="55" y="47"/>
                  <a:pt x="55" y="47"/>
                  <a:pt x="55" y="47"/>
                </a:cubicBezTo>
                <a:cubicBezTo>
                  <a:pt x="56" y="46"/>
                  <a:pt x="56" y="46"/>
                  <a:pt x="56" y="46"/>
                </a:cubicBezTo>
                <a:cubicBezTo>
                  <a:pt x="55" y="44"/>
                  <a:pt x="55" y="44"/>
                  <a:pt x="55" y="44"/>
                </a:cubicBezTo>
                <a:cubicBezTo>
                  <a:pt x="54" y="45"/>
                  <a:pt x="54" y="45"/>
                  <a:pt x="54" y="45"/>
                </a:cubicBezTo>
                <a:cubicBezTo>
                  <a:pt x="54" y="46"/>
                  <a:pt x="54" y="46"/>
                  <a:pt x="54" y="46"/>
                </a:cubicBezTo>
                <a:cubicBezTo>
                  <a:pt x="52" y="48"/>
                  <a:pt x="52" y="48"/>
                  <a:pt x="52" y="48"/>
                </a:cubicBezTo>
                <a:cubicBezTo>
                  <a:pt x="52" y="48"/>
                  <a:pt x="52" y="48"/>
                  <a:pt x="52" y="48"/>
                </a:cubicBezTo>
                <a:cubicBezTo>
                  <a:pt x="52" y="48"/>
                  <a:pt x="52" y="48"/>
                  <a:pt x="52" y="48"/>
                </a:cubicBezTo>
                <a:cubicBezTo>
                  <a:pt x="51" y="48"/>
                  <a:pt x="51" y="48"/>
                  <a:pt x="51" y="48"/>
                </a:cubicBezTo>
                <a:cubicBezTo>
                  <a:pt x="50" y="48"/>
                  <a:pt x="50" y="48"/>
                  <a:pt x="50" y="48"/>
                </a:cubicBezTo>
                <a:cubicBezTo>
                  <a:pt x="49" y="48"/>
                  <a:pt x="49" y="48"/>
                  <a:pt x="49" y="48"/>
                </a:cubicBezTo>
                <a:cubicBezTo>
                  <a:pt x="48" y="49"/>
                  <a:pt x="48" y="49"/>
                  <a:pt x="48" y="49"/>
                </a:cubicBezTo>
                <a:cubicBezTo>
                  <a:pt x="47" y="49"/>
                  <a:pt x="47" y="49"/>
                  <a:pt x="47" y="49"/>
                </a:cubicBezTo>
                <a:cubicBezTo>
                  <a:pt x="48" y="51"/>
                  <a:pt x="48" y="51"/>
                  <a:pt x="48" y="51"/>
                </a:cubicBezTo>
                <a:cubicBezTo>
                  <a:pt x="50" y="50"/>
                  <a:pt x="50" y="50"/>
                  <a:pt x="50" y="50"/>
                </a:cubicBezTo>
                <a:cubicBezTo>
                  <a:pt x="51" y="50"/>
                  <a:pt x="51" y="50"/>
                  <a:pt x="51" y="50"/>
                </a:cubicBezTo>
                <a:cubicBezTo>
                  <a:pt x="51" y="50"/>
                  <a:pt x="51" y="50"/>
                  <a:pt x="51" y="50"/>
                </a:cubicBezTo>
                <a:cubicBezTo>
                  <a:pt x="50" y="52"/>
                  <a:pt x="50" y="52"/>
                  <a:pt x="50" y="52"/>
                </a:cubicBezTo>
                <a:cubicBezTo>
                  <a:pt x="50" y="52"/>
                  <a:pt x="50" y="52"/>
                  <a:pt x="50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47" y="57"/>
                  <a:pt x="47" y="57"/>
                  <a:pt x="47" y="57"/>
                </a:cubicBezTo>
                <a:cubicBezTo>
                  <a:pt x="48" y="57"/>
                  <a:pt x="48" y="57"/>
                  <a:pt x="48" y="57"/>
                </a:cubicBezTo>
                <a:cubicBezTo>
                  <a:pt x="45" y="62"/>
                  <a:pt x="45" y="62"/>
                  <a:pt x="45" y="62"/>
                </a:cubicBezTo>
                <a:cubicBezTo>
                  <a:pt x="43" y="69"/>
                  <a:pt x="43" y="69"/>
                  <a:pt x="43" y="69"/>
                </a:cubicBezTo>
                <a:cubicBezTo>
                  <a:pt x="44" y="71"/>
                  <a:pt x="44" y="71"/>
                  <a:pt x="44" y="71"/>
                </a:cubicBezTo>
                <a:cubicBezTo>
                  <a:pt x="41" y="76"/>
                  <a:pt x="41" y="76"/>
                  <a:pt x="41" y="76"/>
                </a:cubicBezTo>
                <a:cubicBezTo>
                  <a:pt x="40" y="80"/>
                  <a:pt x="40" y="80"/>
                  <a:pt x="40" y="80"/>
                </a:cubicBezTo>
                <a:cubicBezTo>
                  <a:pt x="43" y="84"/>
                  <a:pt x="43" y="84"/>
                  <a:pt x="43" y="84"/>
                </a:cubicBezTo>
                <a:cubicBezTo>
                  <a:pt x="39" y="84"/>
                  <a:pt x="39" y="84"/>
                  <a:pt x="39" y="84"/>
                </a:cubicBezTo>
                <a:cubicBezTo>
                  <a:pt x="38" y="82"/>
                  <a:pt x="38" y="82"/>
                  <a:pt x="38" y="82"/>
                </a:cubicBezTo>
                <a:cubicBezTo>
                  <a:pt x="30" y="87"/>
                  <a:pt x="30" y="87"/>
                  <a:pt x="30" y="87"/>
                </a:cubicBezTo>
                <a:cubicBezTo>
                  <a:pt x="27" y="91"/>
                  <a:pt x="27" y="91"/>
                  <a:pt x="27" y="91"/>
                </a:cubicBezTo>
                <a:cubicBezTo>
                  <a:pt x="27" y="96"/>
                  <a:pt x="27" y="96"/>
                  <a:pt x="27" y="96"/>
                </a:cubicBezTo>
                <a:cubicBezTo>
                  <a:pt x="28" y="99"/>
                  <a:pt x="28" y="99"/>
                  <a:pt x="28" y="99"/>
                </a:cubicBezTo>
                <a:cubicBezTo>
                  <a:pt x="31" y="101"/>
                  <a:pt x="31" y="101"/>
                  <a:pt x="31" y="101"/>
                </a:cubicBezTo>
                <a:cubicBezTo>
                  <a:pt x="34" y="99"/>
                  <a:pt x="34" y="99"/>
                  <a:pt x="34" y="99"/>
                </a:cubicBezTo>
                <a:cubicBezTo>
                  <a:pt x="37" y="92"/>
                  <a:pt x="37" y="92"/>
                  <a:pt x="37" y="92"/>
                </a:cubicBezTo>
                <a:cubicBezTo>
                  <a:pt x="39" y="94"/>
                  <a:pt x="39" y="94"/>
                  <a:pt x="39" y="94"/>
                </a:cubicBezTo>
                <a:cubicBezTo>
                  <a:pt x="39" y="98"/>
                  <a:pt x="39" y="98"/>
                  <a:pt x="39" y="98"/>
                </a:cubicBezTo>
                <a:cubicBezTo>
                  <a:pt x="44" y="96"/>
                  <a:pt x="44" y="96"/>
                  <a:pt x="44" y="96"/>
                </a:cubicBezTo>
                <a:cubicBezTo>
                  <a:pt x="48" y="102"/>
                  <a:pt x="48" y="102"/>
                  <a:pt x="48" y="102"/>
                </a:cubicBezTo>
                <a:cubicBezTo>
                  <a:pt x="54" y="100"/>
                  <a:pt x="54" y="100"/>
                  <a:pt x="54" y="100"/>
                </a:cubicBezTo>
                <a:cubicBezTo>
                  <a:pt x="55" y="94"/>
                  <a:pt x="55" y="94"/>
                  <a:pt x="55" y="94"/>
                </a:cubicBezTo>
                <a:cubicBezTo>
                  <a:pt x="59" y="92"/>
                  <a:pt x="59" y="92"/>
                  <a:pt x="59" y="92"/>
                </a:cubicBezTo>
                <a:cubicBezTo>
                  <a:pt x="62" y="93"/>
                  <a:pt x="62" y="93"/>
                  <a:pt x="62" y="93"/>
                </a:cubicBezTo>
                <a:cubicBezTo>
                  <a:pt x="66" y="91"/>
                  <a:pt x="66" y="91"/>
                  <a:pt x="66" y="91"/>
                </a:cubicBezTo>
                <a:cubicBezTo>
                  <a:pt x="65" y="89"/>
                  <a:pt x="65" y="89"/>
                  <a:pt x="65" y="89"/>
                </a:cubicBezTo>
                <a:cubicBezTo>
                  <a:pt x="68" y="89"/>
                  <a:pt x="68" y="89"/>
                  <a:pt x="68" y="89"/>
                </a:cubicBezTo>
                <a:cubicBezTo>
                  <a:pt x="73" y="91"/>
                  <a:pt x="73" y="91"/>
                  <a:pt x="73" y="91"/>
                </a:cubicBezTo>
                <a:cubicBezTo>
                  <a:pt x="78" y="89"/>
                  <a:pt x="78" y="89"/>
                  <a:pt x="78" y="89"/>
                </a:cubicBezTo>
                <a:cubicBezTo>
                  <a:pt x="81" y="91"/>
                  <a:pt x="81" y="91"/>
                  <a:pt x="81" y="91"/>
                </a:cubicBezTo>
                <a:cubicBezTo>
                  <a:pt x="83" y="94"/>
                  <a:pt x="83" y="94"/>
                  <a:pt x="83" y="94"/>
                </a:cubicBezTo>
                <a:cubicBezTo>
                  <a:pt x="87" y="93"/>
                  <a:pt x="87" y="93"/>
                  <a:pt x="87" y="93"/>
                </a:cubicBezTo>
                <a:cubicBezTo>
                  <a:pt x="89" y="93"/>
                  <a:pt x="89" y="93"/>
                  <a:pt x="89" y="93"/>
                </a:cubicBezTo>
                <a:cubicBezTo>
                  <a:pt x="95" y="89"/>
                  <a:pt x="95" y="89"/>
                  <a:pt x="95" y="89"/>
                </a:cubicBezTo>
                <a:cubicBezTo>
                  <a:pt x="99" y="91"/>
                  <a:pt x="99" y="91"/>
                  <a:pt x="99" y="91"/>
                </a:cubicBezTo>
                <a:cubicBezTo>
                  <a:pt x="102" y="91"/>
                  <a:pt x="102" y="91"/>
                  <a:pt x="102" y="91"/>
                </a:cubicBezTo>
                <a:cubicBezTo>
                  <a:pt x="103" y="93"/>
                  <a:pt x="103" y="93"/>
                  <a:pt x="103" y="93"/>
                </a:cubicBezTo>
                <a:cubicBezTo>
                  <a:pt x="102" y="99"/>
                  <a:pt x="102" y="99"/>
                  <a:pt x="102" y="99"/>
                </a:cubicBezTo>
                <a:cubicBezTo>
                  <a:pt x="106" y="108"/>
                  <a:pt x="106" y="108"/>
                  <a:pt x="106" y="108"/>
                </a:cubicBezTo>
                <a:cubicBezTo>
                  <a:pt x="105" y="111"/>
                  <a:pt x="105" y="111"/>
                  <a:pt x="105" y="111"/>
                </a:cubicBezTo>
                <a:cubicBezTo>
                  <a:pt x="101" y="114"/>
                  <a:pt x="101" y="114"/>
                  <a:pt x="101" y="114"/>
                </a:cubicBezTo>
                <a:cubicBezTo>
                  <a:pt x="101" y="117"/>
                  <a:pt x="101" y="117"/>
                  <a:pt x="101" y="117"/>
                </a:cubicBezTo>
                <a:cubicBezTo>
                  <a:pt x="101" y="117"/>
                  <a:pt x="101" y="117"/>
                  <a:pt x="101" y="117"/>
                </a:cubicBezTo>
                <a:cubicBezTo>
                  <a:pt x="104" y="120"/>
                  <a:pt x="104" y="120"/>
                  <a:pt x="104" y="120"/>
                </a:cubicBezTo>
                <a:cubicBezTo>
                  <a:pt x="104" y="122"/>
                  <a:pt x="104" y="122"/>
                  <a:pt x="104" y="122"/>
                </a:cubicBezTo>
                <a:cubicBezTo>
                  <a:pt x="103" y="128"/>
                  <a:pt x="103" y="128"/>
                  <a:pt x="103" y="128"/>
                </a:cubicBezTo>
                <a:cubicBezTo>
                  <a:pt x="103" y="132"/>
                  <a:pt x="103" y="132"/>
                  <a:pt x="103" y="132"/>
                </a:cubicBezTo>
                <a:cubicBezTo>
                  <a:pt x="101" y="136"/>
                  <a:pt x="101" y="136"/>
                  <a:pt x="101" y="136"/>
                </a:cubicBezTo>
                <a:cubicBezTo>
                  <a:pt x="98" y="138"/>
                  <a:pt x="98" y="138"/>
                  <a:pt x="98" y="138"/>
                </a:cubicBezTo>
                <a:cubicBezTo>
                  <a:pt x="99" y="139"/>
                  <a:pt x="99" y="139"/>
                  <a:pt x="99" y="139"/>
                </a:cubicBezTo>
                <a:cubicBezTo>
                  <a:pt x="101" y="139"/>
                  <a:pt x="101" y="139"/>
                  <a:pt x="101" y="139"/>
                </a:cubicBezTo>
                <a:cubicBezTo>
                  <a:pt x="101" y="140"/>
                  <a:pt x="101" y="140"/>
                  <a:pt x="101" y="140"/>
                </a:cubicBezTo>
                <a:cubicBezTo>
                  <a:pt x="101" y="143"/>
                  <a:pt x="101" y="143"/>
                  <a:pt x="101" y="143"/>
                </a:cubicBezTo>
                <a:cubicBezTo>
                  <a:pt x="102" y="143"/>
                  <a:pt x="102" y="143"/>
                  <a:pt x="102" y="143"/>
                </a:cubicBezTo>
                <a:cubicBezTo>
                  <a:pt x="105" y="142"/>
                  <a:pt x="105" y="142"/>
                  <a:pt x="105" y="142"/>
                </a:cubicBezTo>
                <a:cubicBezTo>
                  <a:pt x="105" y="144"/>
                  <a:pt x="105" y="144"/>
                  <a:pt x="105" y="144"/>
                </a:cubicBezTo>
                <a:cubicBezTo>
                  <a:pt x="106" y="146"/>
                  <a:pt x="106" y="146"/>
                  <a:pt x="106" y="146"/>
                </a:cubicBezTo>
                <a:cubicBezTo>
                  <a:pt x="106" y="147"/>
                  <a:pt x="106" y="147"/>
                  <a:pt x="106" y="147"/>
                </a:cubicBezTo>
                <a:cubicBezTo>
                  <a:pt x="111" y="148"/>
                  <a:pt x="111" y="148"/>
                  <a:pt x="111" y="148"/>
                </a:cubicBezTo>
                <a:cubicBezTo>
                  <a:pt x="111" y="149"/>
                  <a:pt x="111" y="149"/>
                  <a:pt x="111" y="149"/>
                </a:cubicBezTo>
                <a:cubicBezTo>
                  <a:pt x="107" y="152"/>
                  <a:pt x="107" y="152"/>
                  <a:pt x="107" y="152"/>
                </a:cubicBezTo>
                <a:cubicBezTo>
                  <a:pt x="101" y="151"/>
                  <a:pt x="101" y="151"/>
                  <a:pt x="101" y="151"/>
                </a:cubicBezTo>
                <a:cubicBezTo>
                  <a:pt x="94" y="147"/>
                  <a:pt x="94" y="147"/>
                  <a:pt x="94" y="147"/>
                </a:cubicBezTo>
                <a:cubicBezTo>
                  <a:pt x="92" y="141"/>
                  <a:pt x="92" y="141"/>
                  <a:pt x="92" y="141"/>
                </a:cubicBezTo>
                <a:cubicBezTo>
                  <a:pt x="87" y="140"/>
                  <a:pt x="87" y="140"/>
                  <a:pt x="87" y="140"/>
                </a:cubicBezTo>
                <a:cubicBezTo>
                  <a:pt x="85" y="134"/>
                  <a:pt x="85" y="134"/>
                  <a:pt x="85" y="134"/>
                </a:cubicBezTo>
                <a:cubicBezTo>
                  <a:pt x="83" y="134"/>
                  <a:pt x="83" y="134"/>
                  <a:pt x="83" y="134"/>
                </a:cubicBezTo>
                <a:cubicBezTo>
                  <a:pt x="76" y="122"/>
                  <a:pt x="76" y="122"/>
                  <a:pt x="76" y="122"/>
                </a:cubicBezTo>
                <a:cubicBezTo>
                  <a:pt x="76" y="122"/>
                  <a:pt x="71" y="122"/>
                  <a:pt x="70" y="122"/>
                </a:cubicBezTo>
                <a:cubicBezTo>
                  <a:pt x="70" y="122"/>
                  <a:pt x="68" y="122"/>
                  <a:pt x="68" y="122"/>
                </a:cubicBezTo>
                <a:cubicBezTo>
                  <a:pt x="66" y="120"/>
                  <a:pt x="66" y="120"/>
                  <a:pt x="66" y="120"/>
                </a:cubicBezTo>
                <a:cubicBezTo>
                  <a:pt x="57" y="117"/>
                  <a:pt x="57" y="117"/>
                  <a:pt x="57" y="117"/>
                </a:cubicBezTo>
                <a:cubicBezTo>
                  <a:pt x="56" y="114"/>
                  <a:pt x="56" y="114"/>
                  <a:pt x="56" y="114"/>
                </a:cubicBezTo>
                <a:cubicBezTo>
                  <a:pt x="54" y="110"/>
                  <a:pt x="54" y="110"/>
                  <a:pt x="54" y="110"/>
                </a:cubicBezTo>
                <a:cubicBezTo>
                  <a:pt x="56" y="106"/>
                  <a:pt x="56" y="106"/>
                  <a:pt x="56" y="106"/>
                </a:cubicBezTo>
                <a:cubicBezTo>
                  <a:pt x="53" y="102"/>
                  <a:pt x="53" y="102"/>
                  <a:pt x="53" y="102"/>
                </a:cubicBezTo>
                <a:cubicBezTo>
                  <a:pt x="48" y="105"/>
                  <a:pt x="48" y="105"/>
                  <a:pt x="48" y="105"/>
                </a:cubicBezTo>
                <a:cubicBezTo>
                  <a:pt x="41" y="102"/>
                  <a:pt x="41" y="102"/>
                  <a:pt x="41" y="102"/>
                </a:cubicBezTo>
                <a:cubicBezTo>
                  <a:pt x="37" y="103"/>
                  <a:pt x="37" y="103"/>
                  <a:pt x="37" y="103"/>
                </a:cubicBezTo>
                <a:cubicBezTo>
                  <a:pt x="35" y="104"/>
                  <a:pt x="35" y="104"/>
                  <a:pt x="35" y="104"/>
                </a:cubicBezTo>
                <a:cubicBezTo>
                  <a:pt x="34" y="102"/>
                  <a:pt x="34" y="102"/>
                  <a:pt x="34" y="102"/>
                </a:cubicBezTo>
                <a:cubicBezTo>
                  <a:pt x="32" y="103"/>
                  <a:pt x="32" y="103"/>
                  <a:pt x="32" y="103"/>
                </a:cubicBezTo>
                <a:cubicBezTo>
                  <a:pt x="32" y="104"/>
                  <a:pt x="32" y="104"/>
                  <a:pt x="32" y="104"/>
                </a:cubicBezTo>
                <a:cubicBezTo>
                  <a:pt x="25" y="106"/>
                  <a:pt x="25" y="106"/>
                  <a:pt x="25" y="106"/>
                </a:cubicBezTo>
                <a:cubicBezTo>
                  <a:pt x="21" y="104"/>
                  <a:pt x="21" y="104"/>
                  <a:pt x="21" y="104"/>
                </a:cubicBezTo>
                <a:cubicBezTo>
                  <a:pt x="21" y="102"/>
                  <a:pt x="21" y="102"/>
                  <a:pt x="21" y="102"/>
                </a:cubicBezTo>
                <a:cubicBezTo>
                  <a:pt x="14" y="98"/>
                  <a:pt x="14" y="98"/>
                  <a:pt x="14" y="98"/>
                </a:cubicBezTo>
                <a:cubicBezTo>
                  <a:pt x="11" y="95"/>
                  <a:pt x="11" y="95"/>
                  <a:pt x="11" y="95"/>
                </a:cubicBezTo>
                <a:cubicBezTo>
                  <a:pt x="9" y="96"/>
                  <a:pt x="9" y="96"/>
                  <a:pt x="9" y="96"/>
                </a:cubicBezTo>
                <a:cubicBezTo>
                  <a:pt x="12" y="99"/>
                  <a:pt x="12" y="99"/>
                  <a:pt x="12" y="99"/>
                </a:cubicBezTo>
                <a:cubicBezTo>
                  <a:pt x="17" y="102"/>
                  <a:pt x="17" y="102"/>
                  <a:pt x="17" y="102"/>
                </a:cubicBezTo>
                <a:cubicBezTo>
                  <a:pt x="18" y="104"/>
                  <a:pt x="18" y="104"/>
                  <a:pt x="18" y="104"/>
                </a:cubicBezTo>
                <a:cubicBezTo>
                  <a:pt x="15" y="105"/>
                  <a:pt x="15" y="105"/>
                  <a:pt x="15" y="105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6" y="96"/>
                  <a:pt x="6" y="96"/>
                  <a:pt x="6" y="96"/>
                </a:cubicBezTo>
                <a:cubicBezTo>
                  <a:pt x="3" y="96"/>
                  <a:pt x="3" y="96"/>
                  <a:pt x="3" y="96"/>
                </a:cubicBezTo>
                <a:cubicBezTo>
                  <a:pt x="0" y="93"/>
                  <a:pt x="0" y="93"/>
                  <a:pt x="0" y="93"/>
                </a:cubicBezTo>
                <a:cubicBezTo>
                  <a:pt x="2" y="103"/>
                  <a:pt x="5" y="113"/>
                  <a:pt x="11" y="123"/>
                </a:cubicBezTo>
                <a:cubicBezTo>
                  <a:pt x="34" y="161"/>
                  <a:pt x="83" y="173"/>
                  <a:pt x="121" y="150"/>
                </a:cubicBezTo>
                <a:cubicBezTo>
                  <a:pt x="121" y="150"/>
                  <a:pt x="121" y="150"/>
                  <a:pt x="121" y="150"/>
                </a:cubicBezTo>
                <a:cubicBezTo>
                  <a:pt x="142" y="138"/>
                  <a:pt x="156" y="116"/>
                  <a:pt x="159" y="93"/>
                </a:cubicBezTo>
                <a:cubicBezTo>
                  <a:pt x="157" y="95"/>
                  <a:pt x="157" y="95"/>
                  <a:pt x="157" y="95"/>
                </a:cubicBezTo>
                <a:cubicBezTo>
                  <a:pt x="154" y="90"/>
                  <a:pt x="154" y="90"/>
                  <a:pt x="154" y="90"/>
                </a:cubicBezTo>
                <a:cubicBezTo>
                  <a:pt x="149" y="88"/>
                  <a:pt x="149" y="88"/>
                  <a:pt x="149" y="88"/>
                </a:cubicBezTo>
                <a:cubicBezTo>
                  <a:pt x="146" y="82"/>
                  <a:pt x="146" y="82"/>
                  <a:pt x="146" y="82"/>
                </a:cubicBezTo>
                <a:cubicBezTo>
                  <a:pt x="143" y="82"/>
                  <a:pt x="143" y="82"/>
                  <a:pt x="143" y="82"/>
                </a:cubicBezTo>
                <a:cubicBezTo>
                  <a:pt x="141" y="80"/>
                  <a:pt x="141" y="80"/>
                  <a:pt x="141" y="80"/>
                </a:cubicBezTo>
                <a:cubicBezTo>
                  <a:pt x="141" y="73"/>
                  <a:pt x="141" y="73"/>
                  <a:pt x="141" y="73"/>
                </a:cubicBezTo>
                <a:cubicBezTo>
                  <a:pt x="131" y="67"/>
                  <a:pt x="131" y="67"/>
                  <a:pt x="131" y="67"/>
                </a:cubicBezTo>
                <a:cubicBezTo>
                  <a:pt x="128" y="61"/>
                  <a:pt x="128" y="61"/>
                  <a:pt x="128" y="61"/>
                </a:cubicBezTo>
                <a:cubicBezTo>
                  <a:pt x="123" y="64"/>
                  <a:pt x="123" y="64"/>
                  <a:pt x="123" y="64"/>
                </a:cubicBezTo>
                <a:cubicBezTo>
                  <a:pt x="121" y="63"/>
                  <a:pt x="121" y="63"/>
                  <a:pt x="121" y="63"/>
                </a:cubicBezTo>
                <a:cubicBezTo>
                  <a:pt x="118" y="65"/>
                  <a:pt x="118" y="65"/>
                  <a:pt x="118" y="65"/>
                </a:cubicBezTo>
                <a:cubicBezTo>
                  <a:pt x="117" y="67"/>
                  <a:pt x="117" y="67"/>
                  <a:pt x="117" y="67"/>
                </a:cubicBezTo>
                <a:cubicBezTo>
                  <a:pt x="112" y="70"/>
                  <a:pt x="112" y="70"/>
                  <a:pt x="112" y="70"/>
                </a:cubicBezTo>
                <a:cubicBezTo>
                  <a:pt x="112" y="71"/>
                  <a:pt x="112" y="71"/>
                  <a:pt x="112" y="71"/>
                </a:cubicBezTo>
                <a:cubicBezTo>
                  <a:pt x="109" y="72"/>
                  <a:pt x="109" y="72"/>
                  <a:pt x="109" y="72"/>
                </a:cubicBezTo>
                <a:cubicBezTo>
                  <a:pt x="98" y="69"/>
                  <a:pt x="98" y="69"/>
                  <a:pt x="98" y="69"/>
                </a:cubicBezTo>
                <a:cubicBezTo>
                  <a:pt x="95" y="63"/>
                  <a:pt x="95" y="63"/>
                  <a:pt x="95" y="63"/>
                </a:cubicBezTo>
                <a:cubicBezTo>
                  <a:pt x="96" y="62"/>
                  <a:pt x="96" y="62"/>
                  <a:pt x="96" y="62"/>
                </a:cubicBezTo>
                <a:cubicBezTo>
                  <a:pt x="95" y="59"/>
                  <a:pt x="95" y="59"/>
                  <a:pt x="95" y="59"/>
                </a:cubicBezTo>
                <a:cubicBezTo>
                  <a:pt x="93" y="60"/>
                  <a:pt x="93" y="60"/>
                  <a:pt x="93" y="60"/>
                </a:cubicBezTo>
                <a:cubicBezTo>
                  <a:pt x="91" y="58"/>
                  <a:pt x="91" y="58"/>
                  <a:pt x="91" y="58"/>
                </a:cubicBezTo>
                <a:cubicBezTo>
                  <a:pt x="96" y="48"/>
                  <a:pt x="96" y="48"/>
                  <a:pt x="96" y="48"/>
                </a:cubicBezTo>
                <a:cubicBezTo>
                  <a:pt x="93" y="44"/>
                  <a:pt x="93" y="44"/>
                  <a:pt x="93" y="44"/>
                </a:cubicBezTo>
                <a:cubicBezTo>
                  <a:pt x="96" y="40"/>
                  <a:pt x="96" y="40"/>
                  <a:pt x="96" y="40"/>
                </a:cubicBezTo>
                <a:cubicBezTo>
                  <a:pt x="97" y="39"/>
                  <a:pt x="97" y="39"/>
                  <a:pt x="97" y="39"/>
                </a:cubicBezTo>
                <a:cubicBezTo>
                  <a:pt x="100" y="37"/>
                  <a:pt x="100" y="37"/>
                  <a:pt x="100" y="37"/>
                </a:cubicBezTo>
                <a:cubicBezTo>
                  <a:pt x="102" y="35"/>
                  <a:pt x="102" y="35"/>
                  <a:pt x="102" y="35"/>
                </a:cubicBezTo>
                <a:cubicBezTo>
                  <a:pt x="109" y="30"/>
                  <a:pt x="109" y="30"/>
                  <a:pt x="109" y="30"/>
                </a:cubicBezTo>
                <a:cubicBezTo>
                  <a:pt x="112" y="33"/>
                  <a:pt x="112" y="33"/>
                  <a:pt x="112" y="33"/>
                </a:cubicBezTo>
                <a:cubicBezTo>
                  <a:pt x="119" y="31"/>
                  <a:pt x="119" y="31"/>
                  <a:pt x="119" y="31"/>
                </a:cubicBezTo>
                <a:cubicBezTo>
                  <a:pt x="121" y="32"/>
                  <a:pt x="121" y="32"/>
                  <a:pt x="121" y="32"/>
                </a:cubicBezTo>
                <a:cubicBezTo>
                  <a:pt x="122" y="31"/>
                  <a:pt x="122" y="31"/>
                  <a:pt x="122" y="31"/>
                </a:cubicBezTo>
                <a:cubicBezTo>
                  <a:pt x="120" y="29"/>
                  <a:pt x="120" y="29"/>
                  <a:pt x="120" y="29"/>
                </a:cubicBezTo>
                <a:cubicBezTo>
                  <a:pt x="124" y="26"/>
                  <a:pt x="124" y="26"/>
                  <a:pt x="124" y="26"/>
                </a:cubicBezTo>
                <a:cubicBezTo>
                  <a:pt x="128" y="27"/>
                  <a:pt x="128" y="27"/>
                  <a:pt x="128" y="27"/>
                </a:cubicBezTo>
                <a:cubicBezTo>
                  <a:pt x="134" y="23"/>
                  <a:pt x="134" y="23"/>
                  <a:pt x="134" y="23"/>
                </a:cubicBezTo>
                <a:cubicBezTo>
                  <a:pt x="134" y="23"/>
                  <a:pt x="134" y="23"/>
                  <a:pt x="134" y="23"/>
                </a:cubicBezTo>
                <a:cubicBezTo>
                  <a:pt x="132" y="21"/>
                  <a:pt x="131" y="20"/>
                  <a:pt x="129" y="19"/>
                </a:cubicBezTo>
                <a:close/>
                <a:moveTo>
                  <a:pt x="85" y="18"/>
                </a:moveTo>
                <a:cubicBezTo>
                  <a:pt x="85" y="17"/>
                  <a:pt x="85" y="17"/>
                  <a:pt x="85" y="17"/>
                </a:cubicBezTo>
                <a:cubicBezTo>
                  <a:pt x="87" y="15"/>
                  <a:pt x="87" y="15"/>
                  <a:pt x="87" y="15"/>
                </a:cubicBezTo>
                <a:cubicBezTo>
                  <a:pt x="89" y="18"/>
                  <a:pt x="89" y="18"/>
                  <a:pt x="89" y="18"/>
                </a:cubicBezTo>
                <a:cubicBezTo>
                  <a:pt x="91" y="19"/>
                  <a:pt x="91" y="19"/>
                  <a:pt x="91" y="19"/>
                </a:cubicBezTo>
                <a:cubicBezTo>
                  <a:pt x="93" y="19"/>
                  <a:pt x="93" y="19"/>
                  <a:pt x="93" y="19"/>
                </a:cubicBezTo>
                <a:cubicBezTo>
                  <a:pt x="95" y="19"/>
                  <a:pt x="95" y="19"/>
                  <a:pt x="95" y="19"/>
                </a:cubicBezTo>
                <a:cubicBezTo>
                  <a:pt x="94" y="21"/>
                  <a:pt x="94" y="21"/>
                  <a:pt x="94" y="21"/>
                </a:cubicBezTo>
                <a:cubicBezTo>
                  <a:pt x="92" y="23"/>
                  <a:pt x="92" y="23"/>
                  <a:pt x="92" y="23"/>
                </a:cubicBezTo>
                <a:cubicBezTo>
                  <a:pt x="90" y="24"/>
                  <a:pt x="90" y="24"/>
                  <a:pt x="90" y="24"/>
                </a:cubicBezTo>
                <a:cubicBezTo>
                  <a:pt x="89" y="22"/>
                  <a:pt x="89" y="22"/>
                  <a:pt x="89" y="22"/>
                </a:cubicBezTo>
                <a:cubicBezTo>
                  <a:pt x="90" y="21"/>
                  <a:pt x="90" y="21"/>
                  <a:pt x="90" y="21"/>
                </a:cubicBezTo>
                <a:cubicBezTo>
                  <a:pt x="89" y="20"/>
                  <a:pt x="89" y="20"/>
                  <a:pt x="89" y="20"/>
                </a:cubicBezTo>
                <a:cubicBezTo>
                  <a:pt x="87" y="20"/>
                  <a:pt x="87" y="20"/>
                  <a:pt x="87" y="20"/>
                </a:cubicBezTo>
                <a:cubicBezTo>
                  <a:pt x="86" y="19"/>
                  <a:pt x="86" y="19"/>
                  <a:pt x="86" y="19"/>
                </a:cubicBezTo>
                <a:lnTo>
                  <a:pt x="85" y="18"/>
                </a:lnTo>
                <a:close/>
                <a:moveTo>
                  <a:pt x="84" y="25"/>
                </a:moveTo>
                <a:cubicBezTo>
                  <a:pt x="84" y="22"/>
                  <a:pt x="84" y="22"/>
                  <a:pt x="84" y="22"/>
                </a:cubicBezTo>
                <a:cubicBezTo>
                  <a:pt x="85" y="20"/>
                  <a:pt x="85" y="20"/>
                  <a:pt x="85" y="20"/>
                </a:cubicBezTo>
                <a:cubicBezTo>
                  <a:pt x="87" y="20"/>
                  <a:pt x="87" y="20"/>
                  <a:pt x="87" y="20"/>
                </a:cubicBezTo>
                <a:cubicBezTo>
                  <a:pt x="88" y="22"/>
                  <a:pt x="88" y="22"/>
                  <a:pt x="88" y="22"/>
                </a:cubicBezTo>
                <a:cubicBezTo>
                  <a:pt x="86" y="25"/>
                  <a:pt x="86" y="25"/>
                  <a:pt x="86" y="25"/>
                </a:cubicBezTo>
                <a:cubicBezTo>
                  <a:pt x="85" y="26"/>
                  <a:pt x="85" y="26"/>
                  <a:pt x="85" y="26"/>
                </a:cubicBezTo>
                <a:lnTo>
                  <a:pt x="84" y="25"/>
                </a:lnTo>
                <a:close/>
                <a:moveTo>
                  <a:pt x="51" y="56"/>
                </a:moveTo>
                <a:cubicBezTo>
                  <a:pt x="50" y="57"/>
                  <a:pt x="50" y="57"/>
                  <a:pt x="50" y="57"/>
                </a:cubicBezTo>
                <a:cubicBezTo>
                  <a:pt x="50" y="56"/>
                  <a:pt x="50" y="56"/>
                  <a:pt x="50" y="56"/>
                </a:cubicBezTo>
                <a:cubicBezTo>
                  <a:pt x="50" y="54"/>
                  <a:pt x="50" y="54"/>
                  <a:pt x="50" y="54"/>
                </a:cubicBezTo>
                <a:cubicBezTo>
                  <a:pt x="51" y="55"/>
                  <a:pt x="51" y="55"/>
                  <a:pt x="51" y="55"/>
                </a:cubicBezTo>
                <a:lnTo>
                  <a:pt x="51" y="56"/>
                </a:lnTo>
                <a:close/>
                <a:moveTo>
                  <a:pt x="55" y="51"/>
                </a:moveTo>
                <a:cubicBezTo>
                  <a:pt x="54" y="52"/>
                  <a:pt x="54" y="52"/>
                  <a:pt x="54" y="52"/>
                </a:cubicBezTo>
                <a:cubicBezTo>
                  <a:pt x="55" y="53"/>
                  <a:pt x="55" y="53"/>
                  <a:pt x="55" y="53"/>
                </a:cubicBezTo>
                <a:cubicBezTo>
                  <a:pt x="54" y="54"/>
                  <a:pt x="54" y="54"/>
                  <a:pt x="54" y="54"/>
                </a:cubicBezTo>
                <a:cubicBezTo>
                  <a:pt x="53" y="54"/>
                  <a:pt x="53" y="54"/>
                  <a:pt x="53" y="54"/>
                </a:cubicBezTo>
                <a:cubicBezTo>
                  <a:pt x="53" y="54"/>
                  <a:pt x="53" y="54"/>
                  <a:pt x="53" y="54"/>
                </a:cubicBezTo>
                <a:cubicBezTo>
                  <a:pt x="52" y="54"/>
                  <a:pt x="52" y="54"/>
                  <a:pt x="52" y="54"/>
                </a:cubicBezTo>
                <a:cubicBezTo>
                  <a:pt x="52" y="53"/>
                  <a:pt x="52" y="53"/>
                  <a:pt x="52" y="53"/>
                </a:cubicBezTo>
                <a:cubicBezTo>
                  <a:pt x="54" y="52"/>
                  <a:pt x="54" y="52"/>
                  <a:pt x="54" y="52"/>
                </a:cubicBezTo>
                <a:cubicBezTo>
                  <a:pt x="53" y="51"/>
                  <a:pt x="53" y="51"/>
                  <a:pt x="53" y="51"/>
                </a:cubicBezTo>
                <a:cubicBezTo>
                  <a:pt x="54" y="50"/>
                  <a:pt x="54" y="50"/>
                  <a:pt x="54" y="50"/>
                </a:cubicBezTo>
                <a:cubicBezTo>
                  <a:pt x="55" y="50"/>
                  <a:pt x="55" y="50"/>
                  <a:pt x="55" y="50"/>
                </a:cubicBezTo>
                <a:lnTo>
                  <a:pt x="55" y="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95" name="íṩļïḋê">
            <a:extLst>
              <a:ext uri="{FF2B5EF4-FFF2-40B4-BE49-F238E27FC236}">
                <a16:creationId xmlns:a16="http://schemas.microsoft.com/office/drawing/2014/main" id="{19A520E2-458A-4A47-9D8C-C2643B9A8108}"/>
              </a:ext>
            </a:extLst>
          </p:cNvPr>
          <p:cNvSpPr>
            <a:spLocks/>
          </p:cNvSpPr>
          <p:nvPr/>
        </p:nvSpPr>
        <p:spPr bwMode="auto">
          <a:xfrm>
            <a:off x="9886540" y="1715403"/>
            <a:ext cx="156770" cy="226642"/>
          </a:xfrm>
          <a:custGeom>
            <a:avLst/>
            <a:gdLst>
              <a:gd name="T0" fmla="*/ 110 w 113"/>
              <a:gd name="T1" fmla="*/ 40 h 163"/>
              <a:gd name="T2" fmla="*/ 107 w 113"/>
              <a:gd name="T3" fmla="*/ 34 h 163"/>
              <a:gd name="T4" fmla="*/ 56 w 113"/>
              <a:gd name="T5" fmla="*/ 0 h 163"/>
              <a:gd name="T6" fmla="*/ 0 w 113"/>
              <a:gd name="T7" fmla="*/ 50 h 163"/>
              <a:gd name="T8" fmla="*/ 0 w 113"/>
              <a:gd name="T9" fmla="*/ 57 h 163"/>
              <a:gd name="T10" fmla="*/ 0 w 113"/>
              <a:gd name="T11" fmla="*/ 61 h 163"/>
              <a:gd name="T12" fmla="*/ 25 w 113"/>
              <a:gd name="T13" fmla="*/ 111 h 163"/>
              <a:gd name="T14" fmla="*/ 56 w 113"/>
              <a:gd name="T15" fmla="*/ 163 h 163"/>
              <a:gd name="T16" fmla="*/ 76 w 113"/>
              <a:gd name="T17" fmla="*/ 130 h 163"/>
              <a:gd name="T18" fmla="*/ 81 w 113"/>
              <a:gd name="T19" fmla="*/ 120 h 163"/>
              <a:gd name="T20" fmla="*/ 86 w 113"/>
              <a:gd name="T21" fmla="*/ 114 h 163"/>
              <a:gd name="T22" fmla="*/ 113 w 113"/>
              <a:gd name="T23" fmla="*/ 58 h 163"/>
              <a:gd name="T24" fmla="*/ 113 w 113"/>
              <a:gd name="T25" fmla="*/ 50 h 163"/>
              <a:gd name="T26" fmla="*/ 110 w 113"/>
              <a:gd name="T27" fmla="*/ 40 h 163"/>
              <a:gd name="T28" fmla="*/ 56 w 113"/>
              <a:gd name="T29" fmla="*/ 75 h 163"/>
              <a:gd name="T30" fmla="*/ 37 w 113"/>
              <a:gd name="T31" fmla="*/ 62 h 163"/>
              <a:gd name="T32" fmla="*/ 36 w 113"/>
              <a:gd name="T33" fmla="*/ 57 h 163"/>
              <a:gd name="T34" fmla="*/ 36 w 113"/>
              <a:gd name="T35" fmla="*/ 52 h 163"/>
              <a:gd name="T36" fmla="*/ 57 w 113"/>
              <a:gd name="T37" fmla="*/ 33 h 163"/>
              <a:gd name="T38" fmla="*/ 77 w 113"/>
              <a:gd name="T39" fmla="*/ 54 h 163"/>
              <a:gd name="T40" fmla="*/ 56 w 113"/>
              <a:gd name="T41" fmla="*/ 75 h 163"/>
              <a:gd name="T42" fmla="*/ 56 w 113"/>
              <a:gd name="T43" fmla="*/ 75 h 163"/>
              <a:gd name="T44" fmla="*/ 56 w 113"/>
              <a:gd name="T45" fmla="*/ 75 h 1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113" h="163">
                <a:moveTo>
                  <a:pt x="110" y="40"/>
                </a:moveTo>
                <a:cubicBezTo>
                  <a:pt x="109" y="38"/>
                  <a:pt x="108" y="36"/>
                  <a:pt x="107" y="34"/>
                </a:cubicBezTo>
                <a:cubicBezTo>
                  <a:pt x="97" y="9"/>
                  <a:pt x="74" y="0"/>
                  <a:pt x="56" y="0"/>
                </a:cubicBezTo>
                <a:cubicBezTo>
                  <a:pt x="31" y="0"/>
                  <a:pt x="4" y="16"/>
                  <a:pt x="0" y="50"/>
                </a:cubicBezTo>
                <a:cubicBezTo>
                  <a:pt x="0" y="57"/>
                  <a:pt x="0" y="57"/>
                  <a:pt x="0" y="57"/>
                </a:cubicBezTo>
                <a:cubicBezTo>
                  <a:pt x="0" y="58"/>
                  <a:pt x="0" y="60"/>
                  <a:pt x="0" y="61"/>
                </a:cubicBezTo>
                <a:cubicBezTo>
                  <a:pt x="2" y="78"/>
                  <a:pt x="15" y="95"/>
                  <a:pt x="25" y="111"/>
                </a:cubicBezTo>
                <a:cubicBezTo>
                  <a:pt x="35" y="129"/>
                  <a:pt x="46" y="146"/>
                  <a:pt x="56" y="163"/>
                </a:cubicBezTo>
                <a:cubicBezTo>
                  <a:pt x="63" y="152"/>
                  <a:pt x="69" y="140"/>
                  <a:pt x="76" y="130"/>
                </a:cubicBezTo>
                <a:cubicBezTo>
                  <a:pt x="78" y="126"/>
                  <a:pt x="80" y="123"/>
                  <a:pt x="81" y="120"/>
                </a:cubicBezTo>
                <a:cubicBezTo>
                  <a:pt x="82" y="118"/>
                  <a:pt x="85" y="116"/>
                  <a:pt x="86" y="114"/>
                </a:cubicBezTo>
                <a:cubicBezTo>
                  <a:pt x="96" y="95"/>
                  <a:pt x="113" y="76"/>
                  <a:pt x="113" y="58"/>
                </a:cubicBezTo>
                <a:cubicBezTo>
                  <a:pt x="113" y="50"/>
                  <a:pt x="113" y="50"/>
                  <a:pt x="113" y="50"/>
                </a:cubicBezTo>
                <a:cubicBezTo>
                  <a:pt x="113" y="48"/>
                  <a:pt x="110" y="41"/>
                  <a:pt x="110" y="40"/>
                </a:cubicBezTo>
                <a:close/>
                <a:moveTo>
                  <a:pt x="56" y="75"/>
                </a:moveTo>
                <a:cubicBezTo>
                  <a:pt x="49" y="75"/>
                  <a:pt x="41" y="72"/>
                  <a:pt x="37" y="62"/>
                </a:cubicBezTo>
                <a:cubicBezTo>
                  <a:pt x="36" y="60"/>
                  <a:pt x="36" y="57"/>
                  <a:pt x="36" y="57"/>
                </a:cubicBezTo>
                <a:cubicBezTo>
                  <a:pt x="36" y="52"/>
                  <a:pt x="36" y="52"/>
                  <a:pt x="36" y="52"/>
                </a:cubicBezTo>
                <a:cubicBezTo>
                  <a:pt x="36" y="39"/>
                  <a:pt x="47" y="33"/>
                  <a:pt x="57" y="33"/>
                </a:cubicBezTo>
                <a:cubicBezTo>
                  <a:pt x="68" y="33"/>
                  <a:pt x="77" y="43"/>
                  <a:pt x="77" y="54"/>
                </a:cubicBezTo>
                <a:cubicBezTo>
                  <a:pt x="77" y="66"/>
                  <a:pt x="68" y="75"/>
                  <a:pt x="56" y="75"/>
                </a:cubicBezTo>
                <a:close/>
                <a:moveTo>
                  <a:pt x="56" y="75"/>
                </a:moveTo>
                <a:cubicBezTo>
                  <a:pt x="56" y="75"/>
                  <a:pt x="56" y="75"/>
                  <a:pt x="56" y="75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96" name="iśḻîďe">
            <a:extLst>
              <a:ext uri="{FF2B5EF4-FFF2-40B4-BE49-F238E27FC236}">
                <a16:creationId xmlns:a16="http://schemas.microsoft.com/office/drawing/2014/main" id="{CB83FFAD-69F3-40D7-AACB-D39A11B3C52F}"/>
              </a:ext>
            </a:extLst>
          </p:cNvPr>
          <p:cNvSpPr>
            <a:spLocks/>
          </p:cNvSpPr>
          <p:nvPr/>
        </p:nvSpPr>
        <p:spPr bwMode="auto">
          <a:xfrm>
            <a:off x="10917583" y="2623731"/>
            <a:ext cx="155596" cy="227816"/>
          </a:xfrm>
          <a:custGeom>
            <a:avLst/>
            <a:gdLst>
              <a:gd name="T0" fmla="*/ 109 w 112"/>
              <a:gd name="T1" fmla="*/ 41 h 164"/>
              <a:gd name="T2" fmla="*/ 107 w 112"/>
              <a:gd name="T3" fmla="*/ 34 h 164"/>
              <a:gd name="T4" fmla="*/ 55 w 112"/>
              <a:gd name="T5" fmla="*/ 0 h 164"/>
              <a:gd name="T6" fmla="*/ 0 w 112"/>
              <a:gd name="T7" fmla="*/ 51 h 164"/>
              <a:gd name="T8" fmla="*/ 0 w 112"/>
              <a:gd name="T9" fmla="*/ 58 h 164"/>
              <a:gd name="T10" fmla="*/ 0 w 112"/>
              <a:gd name="T11" fmla="*/ 62 h 164"/>
              <a:gd name="T12" fmla="*/ 24 w 112"/>
              <a:gd name="T13" fmla="*/ 112 h 164"/>
              <a:gd name="T14" fmla="*/ 56 w 112"/>
              <a:gd name="T15" fmla="*/ 164 h 164"/>
              <a:gd name="T16" fmla="*/ 75 w 112"/>
              <a:gd name="T17" fmla="*/ 130 h 164"/>
              <a:gd name="T18" fmla="*/ 81 w 112"/>
              <a:gd name="T19" fmla="*/ 121 h 164"/>
              <a:gd name="T20" fmla="*/ 85 w 112"/>
              <a:gd name="T21" fmla="*/ 115 h 164"/>
              <a:gd name="T22" fmla="*/ 112 w 112"/>
              <a:gd name="T23" fmla="*/ 58 h 164"/>
              <a:gd name="T24" fmla="*/ 112 w 112"/>
              <a:gd name="T25" fmla="*/ 51 h 164"/>
              <a:gd name="T26" fmla="*/ 109 w 112"/>
              <a:gd name="T27" fmla="*/ 41 h 164"/>
              <a:gd name="T28" fmla="*/ 56 w 112"/>
              <a:gd name="T29" fmla="*/ 76 h 164"/>
              <a:gd name="T30" fmla="*/ 36 w 112"/>
              <a:gd name="T31" fmla="*/ 62 h 164"/>
              <a:gd name="T32" fmla="*/ 36 w 112"/>
              <a:gd name="T33" fmla="*/ 57 h 164"/>
              <a:gd name="T34" fmla="*/ 36 w 112"/>
              <a:gd name="T35" fmla="*/ 53 h 164"/>
              <a:gd name="T36" fmla="*/ 56 w 112"/>
              <a:gd name="T37" fmla="*/ 34 h 164"/>
              <a:gd name="T38" fmla="*/ 77 w 112"/>
              <a:gd name="T39" fmla="*/ 55 h 164"/>
              <a:gd name="T40" fmla="*/ 56 w 112"/>
              <a:gd name="T41" fmla="*/ 76 h 164"/>
              <a:gd name="T42" fmla="*/ 56 w 112"/>
              <a:gd name="T43" fmla="*/ 76 h 164"/>
              <a:gd name="T44" fmla="*/ 56 w 112"/>
              <a:gd name="T45" fmla="*/ 76 h 1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112" h="164">
                <a:moveTo>
                  <a:pt x="109" y="41"/>
                </a:moveTo>
                <a:cubicBezTo>
                  <a:pt x="109" y="39"/>
                  <a:pt x="108" y="36"/>
                  <a:pt x="107" y="34"/>
                </a:cubicBezTo>
                <a:cubicBezTo>
                  <a:pt x="96" y="9"/>
                  <a:pt x="74" y="0"/>
                  <a:pt x="55" y="0"/>
                </a:cubicBezTo>
                <a:cubicBezTo>
                  <a:pt x="30" y="0"/>
                  <a:pt x="3" y="17"/>
                  <a:pt x="0" y="51"/>
                </a:cubicBezTo>
                <a:cubicBezTo>
                  <a:pt x="0" y="58"/>
                  <a:pt x="0" y="58"/>
                  <a:pt x="0" y="58"/>
                </a:cubicBezTo>
                <a:cubicBezTo>
                  <a:pt x="0" y="58"/>
                  <a:pt x="0" y="61"/>
                  <a:pt x="0" y="62"/>
                </a:cubicBezTo>
                <a:cubicBezTo>
                  <a:pt x="2" y="78"/>
                  <a:pt x="15" y="96"/>
                  <a:pt x="24" y="112"/>
                </a:cubicBezTo>
                <a:cubicBezTo>
                  <a:pt x="35" y="129"/>
                  <a:pt x="45" y="146"/>
                  <a:pt x="56" y="164"/>
                </a:cubicBezTo>
                <a:cubicBezTo>
                  <a:pt x="62" y="152"/>
                  <a:pt x="69" y="141"/>
                  <a:pt x="75" y="130"/>
                </a:cubicBezTo>
                <a:cubicBezTo>
                  <a:pt x="77" y="127"/>
                  <a:pt x="79" y="124"/>
                  <a:pt x="81" y="121"/>
                </a:cubicBezTo>
                <a:cubicBezTo>
                  <a:pt x="82" y="119"/>
                  <a:pt x="84" y="117"/>
                  <a:pt x="85" y="115"/>
                </a:cubicBezTo>
                <a:cubicBezTo>
                  <a:pt x="96" y="96"/>
                  <a:pt x="112" y="77"/>
                  <a:pt x="112" y="58"/>
                </a:cubicBezTo>
                <a:cubicBezTo>
                  <a:pt x="112" y="51"/>
                  <a:pt x="112" y="51"/>
                  <a:pt x="112" y="51"/>
                </a:cubicBezTo>
                <a:cubicBezTo>
                  <a:pt x="112" y="48"/>
                  <a:pt x="110" y="41"/>
                  <a:pt x="109" y="41"/>
                </a:cubicBezTo>
                <a:close/>
                <a:moveTo>
                  <a:pt x="56" y="76"/>
                </a:moveTo>
                <a:cubicBezTo>
                  <a:pt x="48" y="76"/>
                  <a:pt x="40" y="72"/>
                  <a:pt x="36" y="62"/>
                </a:cubicBezTo>
                <a:cubicBezTo>
                  <a:pt x="36" y="61"/>
                  <a:pt x="36" y="57"/>
                  <a:pt x="36" y="57"/>
                </a:cubicBezTo>
                <a:cubicBezTo>
                  <a:pt x="36" y="53"/>
                  <a:pt x="36" y="53"/>
                  <a:pt x="36" y="53"/>
                </a:cubicBezTo>
                <a:cubicBezTo>
                  <a:pt x="36" y="40"/>
                  <a:pt x="47" y="34"/>
                  <a:pt x="56" y="34"/>
                </a:cubicBezTo>
                <a:cubicBezTo>
                  <a:pt x="68" y="34"/>
                  <a:pt x="77" y="43"/>
                  <a:pt x="77" y="55"/>
                </a:cubicBezTo>
                <a:cubicBezTo>
                  <a:pt x="77" y="67"/>
                  <a:pt x="67" y="76"/>
                  <a:pt x="56" y="76"/>
                </a:cubicBezTo>
                <a:close/>
                <a:moveTo>
                  <a:pt x="56" y="76"/>
                </a:moveTo>
                <a:cubicBezTo>
                  <a:pt x="56" y="76"/>
                  <a:pt x="56" y="76"/>
                  <a:pt x="56" y="76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97" name="iṧḻïḑe">
            <a:extLst>
              <a:ext uri="{FF2B5EF4-FFF2-40B4-BE49-F238E27FC236}">
                <a16:creationId xmlns:a16="http://schemas.microsoft.com/office/drawing/2014/main" id="{034D6AF7-A22B-4CFC-9787-B1186918857F}"/>
              </a:ext>
            </a:extLst>
          </p:cNvPr>
          <p:cNvSpPr>
            <a:spLocks/>
          </p:cNvSpPr>
          <p:nvPr/>
        </p:nvSpPr>
        <p:spPr bwMode="auto">
          <a:xfrm>
            <a:off x="8677002" y="2354227"/>
            <a:ext cx="155596" cy="226642"/>
          </a:xfrm>
          <a:custGeom>
            <a:avLst/>
            <a:gdLst>
              <a:gd name="T0" fmla="*/ 110 w 112"/>
              <a:gd name="T1" fmla="*/ 40 h 163"/>
              <a:gd name="T2" fmla="*/ 107 w 112"/>
              <a:gd name="T3" fmla="*/ 34 h 163"/>
              <a:gd name="T4" fmla="*/ 55 w 112"/>
              <a:gd name="T5" fmla="*/ 0 h 163"/>
              <a:gd name="T6" fmla="*/ 0 w 112"/>
              <a:gd name="T7" fmla="*/ 50 h 163"/>
              <a:gd name="T8" fmla="*/ 0 w 112"/>
              <a:gd name="T9" fmla="*/ 57 h 163"/>
              <a:gd name="T10" fmla="*/ 0 w 112"/>
              <a:gd name="T11" fmla="*/ 62 h 163"/>
              <a:gd name="T12" fmla="*/ 24 w 112"/>
              <a:gd name="T13" fmla="*/ 111 h 163"/>
              <a:gd name="T14" fmla="*/ 56 w 112"/>
              <a:gd name="T15" fmla="*/ 163 h 163"/>
              <a:gd name="T16" fmla="*/ 75 w 112"/>
              <a:gd name="T17" fmla="*/ 130 h 163"/>
              <a:gd name="T18" fmla="*/ 81 w 112"/>
              <a:gd name="T19" fmla="*/ 120 h 163"/>
              <a:gd name="T20" fmla="*/ 85 w 112"/>
              <a:gd name="T21" fmla="*/ 114 h 163"/>
              <a:gd name="T22" fmla="*/ 112 w 112"/>
              <a:gd name="T23" fmla="*/ 58 h 163"/>
              <a:gd name="T24" fmla="*/ 112 w 112"/>
              <a:gd name="T25" fmla="*/ 50 h 163"/>
              <a:gd name="T26" fmla="*/ 110 w 112"/>
              <a:gd name="T27" fmla="*/ 40 h 163"/>
              <a:gd name="T28" fmla="*/ 56 w 112"/>
              <a:gd name="T29" fmla="*/ 75 h 163"/>
              <a:gd name="T30" fmla="*/ 37 w 112"/>
              <a:gd name="T31" fmla="*/ 62 h 163"/>
              <a:gd name="T32" fmla="*/ 36 w 112"/>
              <a:gd name="T33" fmla="*/ 57 h 163"/>
              <a:gd name="T34" fmla="*/ 36 w 112"/>
              <a:gd name="T35" fmla="*/ 52 h 163"/>
              <a:gd name="T36" fmla="*/ 56 w 112"/>
              <a:gd name="T37" fmla="*/ 34 h 163"/>
              <a:gd name="T38" fmla="*/ 77 w 112"/>
              <a:gd name="T39" fmla="*/ 55 h 163"/>
              <a:gd name="T40" fmla="*/ 56 w 112"/>
              <a:gd name="T41" fmla="*/ 75 h 163"/>
              <a:gd name="T42" fmla="*/ 56 w 112"/>
              <a:gd name="T43" fmla="*/ 75 h 163"/>
              <a:gd name="T44" fmla="*/ 56 w 112"/>
              <a:gd name="T45" fmla="*/ 75 h 1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112" h="163">
                <a:moveTo>
                  <a:pt x="110" y="40"/>
                </a:moveTo>
                <a:cubicBezTo>
                  <a:pt x="109" y="38"/>
                  <a:pt x="108" y="36"/>
                  <a:pt x="107" y="34"/>
                </a:cubicBezTo>
                <a:cubicBezTo>
                  <a:pt x="96" y="9"/>
                  <a:pt x="74" y="0"/>
                  <a:pt x="55" y="0"/>
                </a:cubicBezTo>
                <a:cubicBezTo>
                  <a:pt x="31" y="0"/>
                  <a:pt x="3" y="16"/>
                  <a:pt x="0" y="50"/>
                </a:cubicBezTo>
                <a:cubicBezTo>
                  <a:pt x="0" y="57"/>
                  <a:pt x="0" y="57"/>
                  <a:pt x="0" y="57"/>
                </a:cubicBezTo>
                <a:cubicBezTo>
                  <a:pt x="0" y="58"/>
                  <a:pt x="0" y="60"/>
                  <a:pt x="0" y="62"/>
                </a:cubicBezTo>
                <a:cubicBezTo>
                  <a:pt x="2" y="78"/>
                  <a:pt x="15" y="95"/>
                  <a:pt x="24" y="111"/>
                </a:cubicBezTo>
                <a:cubicBezTo>
                  <a:pt x="35" y="129"/>
                  <a:pt x="45" y="146"/>
                  <a:pt x="56" y="163"/>
                </a:cubicBezTo>
                <a:cubicBezTo>
                  <a:pt x="63" y="152"/>
                  <a:pt x="69" y="141"/>
                  <a:pt x="75" y="130"/>
                </a:cubicBezTo>
                <a:cubicBezTo>
                  <a:pt x="77" y="126"/>
                  <a:pt x="79" y="123"/>
                  <a:pt x="81" y="120"/>
                </a:cubicBezTo>
                <a:cubicBezTo>
                  <a:pt x="82" y="118"/>
                  <a:pt x="84" y="116"/>
                  <a:pt x="85" y="114"/>
                </a:cubicBezTo>
                <a:cubicBezTo>
                  <a:pt x="96" y="95"/>
                  <a:pt x="112" y="76"/>
                  <a:pt x="112" y="58"/>
                </a:cubicBezTo>
                <a:cubicBezTo>
                  <a:pt x="112" y="50"/>
                  <a:pt x="112" y="50"/>
                  <a:pt x="112" y="50"/>
                </a:cubicBezTo>
                <a:cubicBezTo>
                  <a:pt x="112" y="48"/>
                  <a:pt x="110" y="41"/>
                  <a:pt x="110" y="40"/>
                </a:cubicBezTo>
                <a:close/>
                <a:moveTo>
                  <a:pt x="56" y="75"/>
                </a:moveTo>
                <a:cubicBezTo>
                  <a:pt x="48" y="75"/>
                  <a:pt x="40" y="72"/>
                  <a:pt x="37" y="62"/>
                </a:cubicBezTo>
                <a:cubicBezTo>
                  <a:pt x="36" y="60"/>
                  <a:pt x="36" y="57"/>
                  <a:pt x="36" y="57"/>
                </a:cubicBezTo>
                <a:cubicBezTo>
                  <a:pt x="36" y="52"/>
                  <a:pt x="36" y="52"/>
                  <a:pt x="36" y="52"/>
                </a:cubicBezTo>
                <a:cubicBezTo>
                  <a:pt x="36" y="39"/>
                  <a:pt x="47" y="34"/>
                  <a:pt x="56" y="34"/>
                </a:cubicBezTo>
                <a:cubicBezTo>
                  <a:pt x="68" y="34"/>
                  <a:pt x="77" y="43"/>
                  <a:pt x="77" y="55"/>
                </a:cubicBezTo>
                <a:cubicBezTo>
                  <a:pt x="77" y="66"/>
                  <a:pt x="67" y="75"/>
                  <a:pt x="56" y="75"/>
                </a:cubicBezTo>
                <a:close/>
                <a:moveTo>
                  <a:pt x="56" y="75"/>
                </a:moveTo>
                <a:cubicBezTo>
                  <a:pt x="56" y="75"/>
                  <a:pt x="56" y="75"/>
                  <a:pt x="56" y="75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98" name="ïślíḑe">
            <a:extLst>
              <a:ext uri="{FF2B5EF4-FFF2-40B4-BE49-F238E27FC236}">
                <a16:creationId xmlns:a16="http://schemas.microsoft.com/office/drawing/2014/main" id="{F5679975-84BA-4221-A65D-92CA13B22FB8}"/>
              </a:ext>
            </a:extLst>
          </p:cNvPr>
          <p:cNvSpPr>
            <a:spLocks/>
          </p:cNvSpPr>
          <p:nvPr/>
        </p:nvSpPr>
        <p:spPr bwMode="auto">
          <a:xfrm>
            <a:off x="11069068" y="3058225"/>
            <a:ext cx="132110" cy="72220"/>
          </a:xfrm>
          <a:custGeom>
            <a:avLst/>
            <a:gdLst>
              <a:gd name="T0" fmla="*/ 16 w 95"/>
              <a:gd name="T1" fmla="*/ 52 h 52"/>
              <a:gd name="T2" fmla="*/ 79 w 95"/>
              <a:gd name="T3" fmla="*/ 52 h 52"/>
              <a:gd name="T4" fmla="*/ 85 w 95"/>
              <a:gd name="T5" fmla="*/ 44 h 52"/>
              <a:gd name="T6" fmla="*/ 95 w 95"/>
              <a:gd name="T7" fmla="*/ 0 h 52"/>
              <a:gd name="T8" fmla="*/ 0 w 95"/>
              <a:gd name="T9" fmla="*/ 0 h 52"/>
              <a:gd name="T10" fmla="*/ 9 w 95"/>
              <a:gd name="T11" fmla="*/ 44 h 52"/>
              <a:gd name="T12" fmla="*/ 16 w 95"/>
              <a:gd name="T13" fmla="*/ 52 h 52"/>
              <a:gd name="T14" fmla="*/ 69 w 95"/>
              <a:gd name="T15" fmla="*/ 40 h 52"/>
              <a:gd name="T16" fmla="*/ 75 w 95"/>
              <a:gd name="T17" fmla="*/ 10 h 52"/>
              <a:gd name="T18" fmla="*/ 79 w 95"/>
              <a:gd name="T19" fmla="*/ 7 h 52"/>
              <a:gd name="T20" fmla="*/ 82 w 95"/>
              <a:gd name="T21" fmla="*/ 11 h 52"/>
              <a:gd name="T22" fmla="*/ 75 w 95"/>
              <a:gd name="T23" fmla="*/ 42 h 52"/>
              <a:gd name="T24" fmla="*/ 72 w 95"/>
              <a:gd name="T25" fmla="*/ 44 h 52"/>
              <a:gd name="T26" fmla="*/ 71 w 95"/>
              <a:gd name="T27" fmla="*/ 44 h 52"/>
              <a:gd name="T28" fmla="*/ 69 w 95"/>
              <a:gd name="T29" fmla="*/ 40 h 52"/>
              <a:gd name="T30" fmla="*/ 52 w 95"/>
              <a:gd name="T31" fmla="*/ 41 h 52"/>
              <a:gd name="T32" fmla="*/ 55 w 95"/>
              <a:gd name="T33" fmla="*/ 10 h 52"/>
              <a:gd name="T34" fmla="*/ 58 w 95"/>
              <a:gd name="T35" fmla="*/ 7 h 52"/>
              <a:gd name="T36" fmla="*/ 61 w 95"/>
              <a:gd name="T37" fmla="*/ 11 h 52"/>
              <a:gd name="T38" fmla="*/ 59 w 95"/>
              <a:gd name="T39" fmla="*/ 41 h 52"/>
              <a:gd name="T40" fmla="*/ 56 w 95"/>
              <a:gd name="T41" fmla="*/ 44 h 52"/>
              <a:gd name="T42" fmla="*/ 55 w 95"/>
              <a:gd name="T43" fmla="*/ 44 h 52"/>
              <a:gd name="T44" fmla="*/ 52 w 95"/>
              <a:gd name="T45" fmla="*/ 41 h 52"/>
              <a:gd name="T46" fmla="*/ 36 w 95"/>
              <a:gd name="T47" fmla="*/ 7 h 52"/>
              <a:gd name="T48" fmla="*/ 39 w 95"/>
              <a:gd name="T49" fmla="*/ 10 h 52"/>
              <a:gd name="T50" fmla="*/ 42 w 95"/>
              <a:gd name="T51" fmla="*/ 41 h 52"/>
              <a:gd name="T52" fmla="*/ 39 w 95"/>
              <a:gd name="T53" fmla="*/ 44 h 52"/>
              <a:gd name="T54" fmla="*/ 38 w 95"/>
              <a:gd name="T55" fmla="*/ 44 h 52"/>
              <a:gd name="T56" fmla="*/ 35 w 95"/>
              <a:gd name="T57" fmla="*/ 41 h 52"/>
              <a:gd name="T58" fmla="*/ 33 w 95"/>
              <a:gd name="T59" fmla="*/ 11 h 52"/>
              <a:gd name="T60" fmla="*/ 36 w 95"/>
              <a:gd name="T61" fmla="*/ 7 h 52"/>
              <a:gd name="T62" fmla="*/ 15 w 95"/>
              <a:gd name="T63" fmla="*/ 7 h 52"/>
              <a:gd name="T64" fmla="*/ 19 w 95"/>
              <a:gd name="T65" fmla="*/ 10 h 52"/>
              <a:gd name="T66" fmla="*/ 25 w 95"/>
              <a:gd name="T67" fmla="*/ 40 h 52"/>
              <a:gd name="T68" fmla="*/ 23 w 95"/>
              <a:gd name="T69" fmla="*/ 44 h 52"/>
              <a:gd name="T70" fmla="*/ 22 w 95"/>
              <a:gd name="T71" fmla="*/ 44 h 52"/>
              <a:gd name="T72" fmla="*/ 19 w 95"/>
              <a:gd name="T73" fmla="*/ 42 h 52"/>
              <a:gd name="T74" fmla="*/ 12 w 95"/>
              <a:gd name="T75" fmla="*/ 11 h 52"/>
              <a:gd name="T76" fmla="*/ 15 w 95"/>
              <a:gd name="T77" fmla="*/ 7 h 52"/>
              <a:gd name="T78" fmla="*/ 15 w 95"/>
              <a:gd name="T79" fmla="*/ 7 h 52"/>
              <a:gd name="T80" fmla="*/ 15 w 95"/>
              <a:gd name="T81" fmla="*/ 7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95" h="52">
                <a:moveTo>
                  <a:pt x="16" y="52"/>
                </a:moveTo>
                <a:cubicBezTo>
                  <a:pt x="79" y="52"/>
                  <a:pt x="79" y="52"/>
                  <a:pt x="79" y="52"/>
                </a:cubicBezTo>
                <a:cubicBezTo>
                  <a:pt x="82" y="52"/>
                  <a:pt x="84" y="48"/>
                  <a:pt x="85" y="44"/>
                </a:cubicBezTo>
                <a:cubicBezTo>
                  <a:pt x="95" y="0"/>
                  <a:pt x="95" y="0"/>
                  <a:pt x="95" y="0"/>
                </a:cubicBezTo>
                <a:cubicBezTo>
                  <a:pt x="0" y="0"/>
                  <a:pt x="0" y="0"/>
                  <a:pt x="0" y="0"/>
                </a:cubicBezTo>
                <a:cubicBezTo>
                  <a:pt x="9" y="44"/>
                  <a:pt x="9" y="44"/>
                  <a:pt x="9" y="44"/>
                </a:cubicBezTo>
                <a:cubicBezTo>
                  <a:pt x="10" y="48"/>
                  <a:pt x="12" y="52"/>
                  <a:pt x="16" y="52"/>
                </a:cubicBezTo>
                <a:close/>
                <a:moveTo>
                  <a:pt x="69" y="40"/>
                </a:moveTo>
                <a:cubicBezTo>
                  <a:pt x="75" y="10"/>
                  <a:pt x="75" y="10"/>
                  <a:pt x="75" y="10"/>
                </a:cubicBezTo>
                <a:cubicBezTo>
                  <a:pt x="76" y="8"/>
                  <a:pt x="77" y="7"/>
                  <a:pt x="79" y="7"/>
                </a:cubicBezTo>
                <a:cubicBezTo>
                  <a:pt x="81" y="8"/>
                  <a:pt x="82" y="9"/>
                  <a:pt x="82" y="11"/>
                </a:cubicBezTo>
                <a:cubicBezTo>
                  <a:pt x="75" y="42"/>
                  <a:pt x="75" y="42"/>
                  <a:pt x="75" y="42"/>
                </a:cubicBezTo>
                <a:cubicBezTo>
                  <a:pt x="75" y="43"/>
                  <a:pt x="74" y="44"/>
                  <a:pt x="72" y="44"/>
                </a:cubicBezTo>
                <a:cubicBezTo>
                  <a:pt x="72" y="44"/>
                  <a:pt x="72" y="44"/>
                  <a:pt x="71" y="44"/>
                </a:cubicBezTo>
                <a:cubicBezTo>
                  <a:pt x="70" y="44"/>
                  <a:pt x="68" y="42"/>
                  <a:pt x="69" y="40"/>
                </a:cubicBezTo>
                <a:close/>
                <a:moveTo>
                  <a:pt x="52" y="41"/>
                </a:moveTo>
                <a:cubicBezTo>
                  <a:pt x="55" y="10"/>
                  <a:pt x="55" y="10"/>
                  <a:pt x="55" y="10"/>
                </a:cubicBezTo>
                <a:cubicBezTo>
                  <a:pt x="55" y="8"/>
                  <a:pt x="56" y="7"/>
                  <a:pt x="58" y="7"/>
                </a:cubicBezTo>
                <a:cubicBezTo>
                  <a:pt x="60" y="7"/>
                  <a:pt x="61" y="9"/>
                  <a:pt x="61" y="11"/>
                </a:cubicBezTo>
                <a:cubicBezTo>
                  <a:pt x="59" y="41"/>
                  <a:pt x="59" y="41"/>
                  <a:pt x="59" y="41"/>
                </a:cubicBezTo>
                <a:cubicBezTo>
                  <a:pt x="59" y="43"/>
                  <a:pt x="57" y="44"/>
                  <a:pt x="56" y="44"/>
                </a:cubicBezTo>
                <a:cubicBezTo>
                  <a:pt x="56" y="44"/>
                  <a:pt x="56" y="44"/>
                  <a:pt x="55" y="44"/>
                </a:cubicBezTo>
                <a:cubicBezTo>
                  <a:pt x="54" y="44"/>
                  <a:pt x="52" y="43"/>
                  <a:pt x="52" y="41"/>
                </a:cubicBezTo>
                <a:close/>
                <a:moveTo>
                  <a:pt x="36" y="7"/>
                </a:moveTo>
                <a:cubicBezTo>
                  <a:pt x="38" y="7"/>
                  <a:pt x="39" y="8"/>
                  <a:pt x="39" y="10"/>
                </a:cubicBezTo>
                <a:cubicBezTo>
                  <a:pt x="42" y="41"/>
                  <a:pt x="42" y="41"/>
                  <a:pt x="42" y="41"/>
                </a:cubicBezTo>
                <a:cubicBezTo>
                  <a:pt x="42" y="43"/>
                  <a:pt x="40" y="44"/>
                  <a:pt x="39" y="44"/>
                </a:cubicBezTo>
                <a:cubicBezTo>
                  <a:pt x="38" y="44"/>
                  <a:pt x="38" y="44"/>
                  <a:pt x="38" y="44"/>
                </a:cubicBezTo>
                <a:cubicBezTo>
                  <a:pt x="37" y="44"/>
                  <a:pt x="35" y="43"/>
                  <a:pt x="35" y="41"/>
                </a:cubicBezTo>
                <a:cubicBezTo>
                  <a:pt x="33" y="11"/>
                  <a:pt x="33" y="11"/>
                  <a:pt x="33" y="11"/>
                </a:cubicBezTo>
                <a:cubicBezTo>
                  <a:pt x="33" y="9"/>
                  <a:pt x="34" y="7"/>
                  <a:pt x="36" y="7"/>
                </a:cubicBezTo>
                <a:close/>
                <a:moveTo>
                  <a:pt x="15" y="7"/>
                </a:moveTo>
                <a:cubicBezTo>
                  <a:pt x="17" y="7"/>
                  <a:pt x="18" y="8"/>
                  <a:pt x="19" y="10"/>
                </a:cubicBezTo>
                <a:cubicBezTo>
                  <a:pt x="25" y="40"/>
                  <a:pt x="25" y="40"/>
                  <a:pt x="25" y="40"/>
                </a:cubicBezTo>
                <a:cubicBezTo>
                  <a:pt x="26" y="42"/>
                  <a:pt x="24" y="44"/>
                  <a:pt x="23" y="44"/>
                </a:cubicBezTo>
                <a:cubicBezTo>
                  <a:pt x="22" y="44"/>
                  <a:pt x="22" y="44"/>
                  <a:pt x="22" y="44"/>
                </a:cubicBezTo>
                <a:cubicBezTo>
                  <a:pt x="21" y="44"/>
                  <a:pt x="19" y="43"/>
                  <a:pt x="19" y="42"/>
                </a:cubicBezTo>
                <a:cubicBezTo>
                  <a:pt x="12" y="11"/>
                  <a:pt x="12" y="11"/>
                  <a:pt x="12" y="11"/>
                </a:cubicBezTo>
                <a:cubicBezTo>
                  <a:pt x="12" y="9"/>
                  <a:pt x="13" y="8"/>
                  <a:pt x="15" y="7"/>
                </a:cubicBezTo>
                <a:close/>
                <a:moveTo>
                  <a:pt x="15" y="7"/>
                </a:moveTo>
                <a:cubicBezTo>
                  <a:pt x="15" y="7"/>
                  <a:pt x="15" y="7"/>
                  <a:pt x="15" y="7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99" name="iṩľíḋé">
            <a:extLst>
              <a:ext uri="{FF2B5EF4-FFF2-40B4-BE49-F238E27FC236}">
                <a16:creationId xmlns:a16="http://schemas.microsoft.com/office/drawing/2014/main" id="{6F93914D-163D-427C-A576-C835112F3E8D}"/>
              </a:ext>
            </a:extLst>
          </p:cNvPr>
          <p:cNvSpPr>
            <a:spLocks/>
          </p:cNvSpPr>
          <p:nvPr/>
        </p:nvSpPr>
        <p:spPr bwMode="auto">
          <a:xfrm>
            <a:off x="11081399" y="3155693"/>
            <a:ext cx="30532" cy="30532"/>
          </a:xfrm>
          <a:custGeom>
            <a:avLst/>
            <a:gdLst>
              <a:gd name="T0" fmla="*/ 11 w 22"/>
              <a:gd name="T1" fmla="*/ 0 h 22"/>
              <a:gd name="T2" fmla="*/ 0 w 22"/>
              <a:gd name="T3" fmla="*/ 11 h 22"/>
              <a:gd name="T4" fmla="*/ 11 w 22"/>
              <a:gd name="T5" fmla="*/ 22 h 22"/>
              <a:gd name="T6" fmla="*/ 22 w 22"/>
              <a:gd name="T7" fmla="*/ 11 h 22"/>
              <a:gd name="T8" fmla="*/ 11 w 22"/>
              <a:gd name="T9" fmla="*/ 0 h 22"/>
              <a:gd name="T10" fmla="*/ 11 w 22"/>
              <a:gd name="T11" fmla="*/ 15 h 22"/>
              <a:gd name="T12" fmla="*/ 7 w 22"/>
              <a:gd name="T13" fmla="*/ 11 h 22"/>
              <a:gd name="T14" fmla="*/ 11 w 22"/>
              <a:gd name="T15" fmla="*/ 6 h 22"/>
              <a:gd name="T16" fmla="*/ 15 w 22"/>
              <a:gd name="T17" fmla="*/ 11 h 22"/>
              <a:gd name="T18" fmla="*/ 11 w 22"/>
              <a:gd name="T19" fmla="*/ 15 h 22"/>
              <a:gd name="T20" fmla="*/ 11 w 22"/>
              <a:gd name="T21" fmla="*/ 15 h 22"/>
              <a:gd name="T22" fmla="*/ 11 w 22"/>
              <a:gd name="T23" fmla="*/ 15 h 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2" h="22">
                <a:moveTo>
                  <a:pt x="11" y="0"/>
                </a:moveTo>
                <a:cubicBezTo>
                  <a:pt x="5" y="0"/>
                  <a:pt x="0" y="5"/>
                  <a:pt x="0" y="11"/>
                </a:cubicBezTo>
                <a:cubicBezTo>
                  <a:pt x="0" y="17"/>
                  <a:pt x="5" y="22"/>
                  <a:pt x="11" y="22"/>
                </a:cubicBezTo>
                <a:cubicBezTo>
                  <a:pt x="17" y="22"/>
                  <a:pt x="22" y="17"/>
                  <a:pt x="22" y="11"/>
                </a:cubicBezTo>
                <a:cubicBezTo>
                  <a:pt x="22" y="5"/>
                  <a:pt x="17" y="0"/>
                  <a:pt x="11" y="0"/>
                </a:cubicBezTo>
                <a:close/>
                <a:moveTo>
                  <a:pt x="11" y="15"/>
                </a:moveTo>
                <a:cubicBezTo>
                  <a:pt x="9" y="15"/>
                  <a:pt x="7" y="13"/>
                  <a:pt x="7" y="11"/>
                </a:cubicBezTo>
                <a:cubicBezTo>
                  <a:pt x="7" y="8"/>
                  <a:pt x="9" y="6"/>
                  <a:pt x="11" y="6"/>
                </a:cubicBezTo>
                <a:cubicBezTo>
                  <a:pt x="13" y="6"/>
                  <a:pt x="15" y="8"/>
                  <a:pt x="15" y="11"/>
                </a:cubicBezTo>
                <a:cubicBezTo>
                  <a:pt x="15" y="13"/>
                  <a:pt x="13" y="15"/>
                  <a:pt x="11" y="15"/>
                </a:cubicBezTo>
                <a:close/>
                <a:moveTo>
                  <a:pt x="11" y="15"/>
                </a:moveTo>
                <a:cubicBezTo>
                  <a:pt x="11" y="15"/>
                  <a:pt x="11" y="15"/>
                  <a:pt x="11" y="15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100" name="îṥlíďè">
            <a:extLst>
              <a:ext uri="{FF2B5EF4-FFF2-40B4-BE49-F238E27FC236}">
                <a16:creationId xmlns:a16="http://schemas.microsoft.com/office/drawing/2014/main" id="{77679B26-35E1-4EEA-A3B0-A1418B849A8F}"/>
              </a:ext>
            </a:extLst>
          </p:cNvPr>
          <p:cNvSpPr>
            <a:spLocks/>
          </p:cNvSpPr>
          <p:nvPr/>
        </p:nvSpPr>
        <p:spPr bwMode="auto">
          <a:xfrm>
            <a:off x="11155381" y="3155693"/>
            <a:ext cx="30532" cy="30532"/>
          </a:xfrm>
          <a:custGeom>
            <a:avLst/>
            <a:gdLst>
              <a:gd name="T0" fmla="*/ 11 w 22"/>
              <a:gd name="T1" fmla="*/ 0 h 22"/>
              <a:gd name="T2" fmla="*/ 0 w 22"/>
              <a:gd name="T3" fmla="*/ 11 h 22"/>
              <a:gd name="T4" fmla="*/ 11 w 22"/>
              <a:gd name="T5" fmla="*/ 22 h 22"/>
              <a:gd name="T6" fmla="*/ 22 w 22"/>
              <a:gd name="T7" fmla="*/ 11 h 22"/>
              <a:gd name="T8" fmla="*/ 11 w 22"/>
              <a:gd name="T9" fmla="*/ 0 h 22"/>
              <a:gd name="T10" fmla="*/ 11 w 22"/>
              <a:gd name="T11" fmla="*/ 15 h 22"/>
              <a:gd name="T12" fmla="*/ 7 w 22"/>
              <a:gd name="T13" fmla="*/ 11 h 22"/>
              <a:gd name="T14" fmla="*/ 11 w 22"/>
              <a:gd name="T15" fmla="*/ 6 h 22"/>
              <a:gd name="T16" fmla="*/ 15 w 22"/>
              <a:gd name="T17" fmla="*/ 11 h 22"/>
              <a:gd name="T18" fmla="*/ 11 w 22"/>
              <a:gd name="T19" fmla="*/ 15 h 22"/>
              <a:gd name="T20" fmla="*/ 11 w 22"/>
              <a:gd name="T21" fmla="*/ 15 h 22"/>
              <a:gd name="T22" fmla="*/ 11 w 22"/>
              <a:gd name="T23" fmla="*/ 15 h 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2" h="22">
                <a:moveTo>
                  <a:pt x="11" y="0"/>
                </a:moveTo>
                <a:cubicBezTo>
                  <a:pt x="5" y="0"/>
                  <a:pt x="0" y="5"/>
                  <a:pt x="0" y="11"/>
                </a:cubicBezTo>
                <a:cubicBezTo>
                  <a:pt x="0" y="17"/>
                  <a:pt x="5" y="22"/>
                  <a:pt x="11" y="22"/>
                </a:cubicBezTo>
                <a:cubicBezTo>
                  <a:pt x="17" y="22"/>
                  <a:pt x="22" y="17"/>
                  <a:pt x="22" y="11"/>
                </a:cubicBezTo>
                <a:cubicBezTo>
                  <a:pt x="22" y="5"/>
                  <a:pt x="17" y="0"/>
                  <a:pt x="11" y="0"/>
                </a:cubicBezTo>
                <a:close/>
                <a:moveTo>
                  <a:pt x="11" y="15"/>
                </a:moveTo>
                <a:cubicBezTo>
                  <a:pt x="8" y="15"/>
                  <a:pt x="7" y="13"/>
                  <a:pt x="7" y="11"/>
                </a:cubicBezTo>
                <a:cubicBezTo>
                  <a:pt x="7" y="8"/>
                  <a:pt x="8" y="6"/>
                  <a:pt x="11" y="6"/>
                </a:cubicBezTo>
                <a:cubicBezTo>
                  <a:pt x="13" y="6"/>
                  <a:pt x="15" y="8"/>
                  <a:pt x="15" y="11"/>
                </a:cubicBezTo>
                <a:cubicBezTo>
                  <a:pt x="15" y="13"/>
                  <a:pt x="13" y="15"/>
                  <a:pt x="11" y="15"/>
                </a:cubicBezTo>
                <a:close/>
                <a:moveTo>
                  <a:pt x="11" y="15"/>
                </a:moveTo>
                <a:cubicBezTo>
                  <a:pt x="11" y="15"/>
                  <a:pt x="11" y="15"/>
                  <a:pt x="11" y="15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101" name="íṡḷíďê">
            <a:extLst>
              <a:ext uri="{FF2B5EF4-FFF2-40B4-BE49-F238E27FC236}">
                <a16:creationId xmlns:a16="http://schemas.microsoft.com/office/drawing/2014/main" id="{16C69C6C-1BD2-49AC-A277-54E245C24256}"/>
              </a:ext>
            </a:extLst>
          </p:cNvPr>
          <p:cNvSpPr>
            <a:spLocks/>
          </p:cNvSpPr>
          <p:nvPr/>
        </p:nvSpPr>
        <p:spPr bwMode="auto">
          <a:xfrm>
            <a:off x="11027381" y="3035913"/>
            <a:ext cx="170862" cy="112733"/>
          </a:xfrm>
          <a:custGeom>
            <a:avLst/>
            <a:gdLst>
              <a:gd name="T0" fmla="*/ 120 w 123"/>
              <a:gd name="T1" fmla="*/ 81 h 81"/>
              <a:gd name="T2" fmla="*/ 35 w 123"/>
              <a:gd name="T3" fmla="*/ 81 h 81"/>
              <a:gd name="T4" fmla="*/ 29 w 123"/>
              <a:gd name="T5" fmla="*/ 76 h 81"/>
              <a:gd name="T6" fmla="*/ 13 w 123"/>
              <a:gd name="T7" fmla="*/ 8 h 81"/>
              <a:gd name="T8" fmla="*/ 3 w 123"/>
              <a:gd name="T9" fmla="*/ 8 h 81"/>
              <a:gd name="T10" fmla="*/ 0 w 123"/>
              <a:gd name="T11" fmla="*/ 4 h 81"/>
              <a:gd name="T12" fmla="*/ 3 w 123"/>
              <a:gd name="T13" fmla="*/ 0 h 81"/>
              <a:gd name="T14" fmla="*/ 14 w 123"/>
              <a:gd name="T15" fmla="*/ 0 h 81"/>
              <a:gd name="T16" fmla="*/ 20 w 123"/>
              <a:gd name="T17" fmla="*/ 5 h 81"/>
              <a:gd name="T18" fmla="*/ 36 w 123"/>
              <a:gd name="T19" fmla="*/ 73 h 81"/>
              <a:gd name="T20" fmla="*/ 120 w 123"/>
              <a:gd name="T21" fmla="*/ 73 h 81"/>
              <a:gd name="T22" fmla="*/ 123 w 123"/>
              <a:gd name="T23" fmla="*/ 77 h 81"/>
              <a:gd name="T24" fmla="*/ 120 w 123"/>
              <a:gd name="T25" fmla="*/ 81 h 81"/>
              <a:gd name="T26" fmla="*/ 120 w 123"/>
              <a:gd name="T27" fmla="*/ 81 h 81"/>
              <a:gd name="T28" fmla="*/ 120 w 123"/>
              <a:gd name="T29" fmla="*/ 81 h 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23" h="81">
                <a:moveTo>
                  <a:pt x="120" y="81"/>
                </a:moveTo>
                <a:cubicBezTo>
                  <a:pt x="35" y="81"/>
                  <a:pt x="35" y="81"/>
                  <a:pt x="35" y="81"/>
                </a:cubicBezTo>
                <a:cubicBezTo>
                  <a:pt x="32" y="81"/>
                  <a:pt x="30" y="79"/>
                  <a:pt x="29" y="76"/>
                </a:cubicBezTo>
                <a:cubicBezTo>
                  <a:pt x="13" y="8"/>
                  <a:pt x="13" y="8"/>
                  <a:pt x="13" y="8"/>
                </a:cubicBezTo>
                <a:cubicBezTo>
                  <a:pt x="3" y="8"/>
                  <a:pt x="3" y="8"/>
                  <a:pt x="3" y="8"/>
                </a:cubicBezTo>
                <a:cubicBezTo>
                  <a:pt x="1" y="8"/>
                  <a:pt x="0" y="6"/>
                  <a:pt x="0" y="4"/>
                </a:cubicBezTo>
                <a:cubicBezTo>
                  <a:pt x="0" y="2"/>
                  <a:pt x="1" y="0"/>
                  <a:pt x="3" y="0"/>
                </a:cubicBezTo>
                <a:cubicBezTo>
                  <a:pt x="14" y="0"/>
                  <a:pt x="14" y="0"/>
                  <a:pt x="14" y="0"/>
                </a:cubicBezTo>
                <a:cubicBezTo>
                  <a:pt x="17" y="0"/>
                  <a:pt x="20" y="3"/>
                  <a:pt x="20" y="5"/>
                </a:cubicBezTo>
                <a:cubicBezTo>
                  <a:pt x="36" y="73"/>
                  <a:pt x="36" y="73"/>
                  <a:pt x="36" y="73"/>
                </a:cubicBezTo>
                <a:cubicBezTo>
                  <a:pt x="120" y="73"/>
                  <a:pt x="120" y="73"/>
                  <a:pt x="120" y="73"/>
                </a:cubicBezTo>
                <a:cubicBezTo>
                  <a:pt x="122" y="73"/>
                  <a:pt x="123" y="75"/>
                  <a:pt x="123" y="77"/>
                </a:cubicBezTo>
                <a:cubicBezTo>
                  <a:pt x="123" y="79"/>
                  <a:pt x="122" y="81"/>
                  <a:pt x="120" y="81"/>
                </a:cubicBezTo>
                <a:close/>
                <a:moveTo>
                  <a:pt x="120" y="81"/>
                </a:moveTo>
                <a:cubicBezTo>
                  <a:pt x="120" y="81"/>
                  <a:pt x="120" y="81"/>
                  <a:pt x="120" y="81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102" name="is1îḓê">
            <a:extLst>
              <a:ext uri="{FF2B5EF4-FFF2-40B4-BE49-F238E27FC236}">
                <a16:creationId xmlns:a16="http://schemas.microsoft.com/office/drawing/2014/main" id="{19E07429-2865-4C48-965E-C6CC393A1144}"/>
              </a:ext>
            </a:extLst>
          </p:cNvPr>
          <p:cNvSpPr>
            <a:spLocks/>
          </p:cNvSpPr>
          <p:nvPr/>
        </p:nvSpPr>
        <p:spPr bwMode="auto">
          <a:xfrm>
            <a:off x="9283532" y="3183289"/>
            <a:ext cx="132110" cy="71046"/>
          </a:xfrm>
          <a:custGeom>
            <a:avLst/>
            <a:gdLst>
              <a:gd name="T0" fmla="*/ 16 w 95"/>
              <a:gd name="T1" fmla="*/ 51 h 51"/>
              <a:gd name="T2" fmla="*/ 79 w 95"/>
              <a:gd name="T3" fmla="*/ 51 h 51"/>
              <a:gd name="T4" fmla="*/ 86 w 95"/>
              <a:gd name="T5" fmla="*/ 44 h 51"/>
              <a:gd name="T6" fmla="*/ 95 w 95"/>
              <a:gd name="T7" fmla="*/ 0 h 51"/>
              <a:gd name="T8" fmla="*/ 0 w 95"/>
              <a:gd name="T9" fmla="*/ 0 h 51"/>
              <a:gd name="T10" fmla="*/ 10 w 95"/>
              <a:gd name="T11" fmla="*/ 44 h 51"/>
              <a:gd name="T12" fmla="*/ 16 w 95"/>
              <a:gd name="T13" fmla="*/ 51 h 51"/>
              <a:gd name="T14" fmla="*/ 69 w 95"/>
              <a:gd name="T15" fmla="*/ 40 h 51"/>
              <a:gd name="T16" fmla="*/ 76 w 95"/>
              <a:gd name="T17" fmla="*/ 9 h 51"/>
              <a:gd name="T18" fmla="*/ 80 w 95"/>
              <a:gd name="T19" fmla="*/ 7 h 51"/>
              <a:gd name="T20" fmla="*/ 82 w 95"/>
              <a:gd name="T21" fmla="*/ 11 h 51"/>
              <a:gd name="T22" fmla="*/ 76 w 95"/>
              <a:gd name="T23" fmla="*/ 42 h 51"/>
              <a:gd name="T24" fmla="*/ 72 w 95"/>
              <a:gd name="T25" fmla="*/ 44 h 51"/>
              <a:gd name="T26" fmla="*/ 72 w 95"/>
              <a:gd name="T27" fmla="*/ 44 h 51"/>
              <a:gd name="T28" fmla="*/ 69 w 95"/>
              <a:gd name="T29" fmla="*/ 40 h 51"/>
              <a:gd name="T30" fmla="*/ 53 w 95"/>
              <a:gd name="T31" fmla="*/ 41 h 51"/>
              <a:gd name="T32" fmla="*/ 55 w 95"/>
              <a:gd name="T33" fmla="*/ 10 h 51"/>
              <a:gd name="T34" fmla="*/ 59 w 95"/>
              <a:gd name="T35" fmla="*/ 7 h 51"/>
              <a:gd name="T36" fmla="*/ 62 w 95"/>
              <a:gd name="T37" fmla="*/ 10 h 51"/>
              <a:gd name="T38" fmla="*/ 59 w 95"/>
              <a:gd name="T39" fmla="*/ 41 h 51"/>
              <a:gd name="T40" fmla="*/ 56 w 95"/>
              <a:gd name="T41" fmla="*/ 44 h 51"/>
              <a:gd name="T42" fmla="*/ 56 w 95"/>
              <a:gd name="T43" fmla="*/ 44 h 51"/>
              <a:gd name="T44" fmla="*/ 53 w 95"/>
              <a:gd name="T45" fmla="*/ 41 h 51"/>
              <a:gd name="T46" fmla="*/ 36 w 95"/>
              <a:gd name="T47" fmla="*/ 7 h 51"/>
              <a:gd name="T48" fmla="*/ 40 w 95"/>
              <a:gd name="T49" fmla="*/ 10 h 51"/>
              <a:gd name="T50" fmla="*/ 42 w 95"/>
              <a:gd name="T51" fmla="*/ 41 h 51"/>
              <a:gd name="T52" fmla="*/ 39 w 95"/>
              <a:gd name="T53" fmla="*/ 44 h 51"/>
              <a:gd name="T54" fmla="*/ 39 w 95"/>
              <a:gd name="T55" fmla="*/ 44 h 51"/>
              <a:gd name="T56" fmla="*/ 36 w 95"/>
              <a:gd name="T57" fmla="*/ 41 h 51"/>
              <a:gd name="T58" fmla="*/ 33 w 95"/>
              <a:gd name="T59" fmla="*/ 10 h 51"/>
              <a:gd name="T60" fmla="*/ 36 w 95"/>
              <a:gd name="T61" fmla="*/ 7 h 51"/>
              <a:gd name="T62" fmla="*/ 15 w 95"/>
              <a:gd name="T63" fmla="*/ 7 h 51"/>
              <a:gd name="T64" fmla="*/ 19 w 95"/>
              <a:gd name="T65" fmla="*/ 9 h 51"/>
              <a:gd name="T66" fmla="*/ 26 w 95"/>
              <a:gd name="T67" fmla="*/ 40 h 51"/>
              <a:gd name="T68" fmla="*/ 23 w 95"/>
              <a:gd name="T69" fmla="*/ 44 h 51"/>
              <a:gd name="T70" fmla="*/ 22 w 95"/>
              <a:gd name="T71" fmla="*/ 44 h 51"/>
              <a:gd name="T72" fmla="*/ 19 w 95"/>
              <a:gd name="T73" fmla="*/ 42 h 51"/>
              <a:gd name="T74" fmla="*/ 13 w 95"/>
              <a:gd name="T75" fmla="*/ 11 h 51"/>
              <a:gd name="T76" fmla="*/ 15 w 95"/>
              <a:gd name="T77" fmla="*/ 7 h 51"/>
              <a:gd name="T78" fmla="*/ 15 w 95"/>
              <a:gd name="T79" fmla="*/ 7 h 51"/>
              <a:gd name="T80" fmla="*/ 15 w 95"/>
              <a:gd name="T81" fmla="*/ 7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95" h="51">
                <a:moveTo>
                  <a:pt x="16" y="51"/>
                </a:moveTo>
                <a:cubicBezTo>
                  <a:pt x="79" y="51"/>
                  <a:pt x="79" y="51"/>
                  <a:pt x="79" y="51"/>
                </a:cubicBezTo>
                <a:cubicBezTo>
                  <a:pt x="83" y="51"/>
                  <a:pt x="85" y="48"/>
                  <a:pt x="86" y="44"/>
                </a:cubicBezTo>
                <a:cubicBezTo>
                  <a:pt x="95" y="0"/>
                  <a:pt x="95" y="0"/>
                  <a:pt x="95" y="0"/>
                </a:cubicBezTo>
                <a:cubicBezTo>
                  <a:pt x="0" y="0"/>
                  <a:pt x="0" y="0"/>
                  <a:pt x="0" y="0"/>
                </a:cubicBezTo>
                <a:cubicBezTo>
                  <a:pt x="10" y="44"/>
                  <a:pt x="10" y="44"/>
                  <a:pt x="10" y="44"/>
                </a:cubicBezTo>
                <a:cubicBezTo>
                  <a:pt x="10" y="48"/>
                  <a:pt x="13" y="51"/>
                  <a:pt x="16" y="51"/>
                </a:cubicBezTo>
                <a:close/>
                <a:moveTo>
                  <a:pt x="69" y="40"/>
                </a:moveTo>
                <a:cubicBezTo>
                  <a:pt x="76" y="9"/>
                  <a:pt x="76" y="9"/>
                  <a:pt x="76" y="9"/>
                </a:cubicBezTo>
                <a:cubicBezTo>
                  <a:pt x="76" y="8"/>
                  <a:pt x="78" y="7"/>
                  <a:pt x="80" y="7"/>
                </a:cubicBezTo>
                <a:cubicBezTo>
                  <a:pt x="81" y="7"/>
                  <a:pt x="83" y="9"/>
                  <a:pt x="82" y="11"/>
                </a:cubicBezTo>
                <a:cubicBezTo>
                  <a:pt x="76" y="42"/>
                  <a:pt x="76" y="42"/>
                  <a:pt x="76" y="42"/>
                </a:cubicBezTo>
                <a:cubicBezTo>
                  <a:pt x="75" y="43"/>
                  <a:pt x="74" y="44"/>
                  <a:pt x="72" y="44"/>
                </a:cubicBezTo>
                <a:cubicBezTo>
                  <a:pt x="72" y="44"/>
                  <a:pt x="72" y="44"/>
                  <a:pt x="72" y="44"/>
                </a:cubicBezTo>
                <a:cubicBezTo>
                  <a:pt x="70" y="44"/>
                  <a:pt x="69" y="42"/>
                  <a:pt x="69" y="40"/>
                </a:cubicBezTo>
                <a:close/>
                <a:moveTo>
                  <a:pt x="53" y="41"/>
                </a:moveTo>
                <a:cubicBezTo>
                  <a:pt x="55" y="10"/>
                  <a:pt x="55" y="10"/>
                  <a:pt x="55" y="10"/>
                </a:cubicBezTo>
                <a:cubicBezTo>
                  <a:pt x="55" y="8"/>
                  <a:pt x="57" y="7"/>
                  <a:pt x="59" y="7"/>
                </a:cubicBezTo>
                <a:cubicBezTo>
                  <a:pt x="60" y="7"/>
                  <a:pt x="62" y="9"/>
                  <a:pt x="62" y="10"/>
                </a:cubicBezTo>
                <a:cubicBezTo>
                  <a:pt x="59" y="41"/>
                  <a:pt x="59" y="41"/>
                  <a:pt x="59" y="41"/>
                </a:cubicBezTo>
                <a:cubicBezTo>
                  <a:pt x="59" y="43"/>
                  <a:pt x="58" y="44"/>
                  <a:pt x="56" y="44"/>
                </a:cubicBezTo>
                <a:cubicBezTo>
                  <a:pt x="56" y="44"/>
                  <a:pt x="56" y="44"/>
                  <a:pt x="56" y="44"/>
                </a:cubicBezTo>
                <a:cubicBezTo>
                  <a:pt x="54" y="44"/>
                  <a:pt x="53" y="42"/>
                  <a:pt x="53" y="41"/>
                </a:cubicBezTo>
                <a:close/>
                <a:moveTo>
                  <a:pt x="36" y="7"/>
                </a:moveTo>
                <a:cubicBezTo>
                  <a:pt x="38" y="7"/>
                  <a:pt x="40" y="8"/>
                  <a:pt x="40" y="10"/>
                </a:cubicBezTo>
                <a:cubicBezTo>
                  <a:pt x="42" y="41"/>
                  <a:pt x="42" y="41"/>
                  <a:pt x="42" y="41"/>
                </a:cubicBezTo>
                <a:cubicBezTo>
                  <a:pt x="42" y="42"/>
                  <a:pt x="41" y="44"/>
                  <a:pt x="39" y="44"/>
                </a:cubicBezTo>
                <a:cubicBezTo>
                  <a:pt x="39" y="44"/>
                  <a:pt x="39" y="44"/>
                  <a:pt x="39" y="44"/>
                </a:cubicBezTo>
                <a:cubicBezTo>
                  <a:pt x="37" y="44"/>
                  <a:pt x="36" y="43"/>
                  <a:pt x="36" y="41"/>
                </a:cubicBezTo>
                <a:cubicBezTo>
                  <a:pt x="33" y="10"/>
                  <a:pt x="33" y="10"/>
                  <a:pt x="33" y="10"/>
                </a:cubicBezTo>
                <a:cubicBezTo>
                  <a:pt x="33" y="9"/>
                  <a:pt x="35" y="7"/>
                  <a:pt x="36" y="7"/>
                </a:cubicBezTo>
                <a:close/>
                <a:moveTo>
                  <a:pt x="15" y="7"/>
                </a:moveTo>
                <a:cubicBezTo>
                  <a:pt x="17" y="7"/>
                  <a:pt x="19" y="8"/>
                  <a:pt x="19" y="9"/>
                </a:cubicBezTo>
                <a:cubicBezTo>
                  <a:pt x="26" y="40"/>
                  <a:pt x="26" y="40"/>
                  <a:pt x="26" y="40"/>
                </a:cubicBezTo>
                <a:cubicBezTo>
                  <a:pt x="26" y="42"/>
                  <a:pt x="25" y="44"/>
                  <a:pt x="23" y="44"/>
                </a:cubicBezTo>
                <a:cubicBezTo>
                  <a:pt x="23" y="44"/>
                  <a:pt x="23" y="44"/>
                  <a:pt x="22" y="44"/>
                </a:cubicBezTo>
                <a:cubicBezTo>
                  <a:pt x="21" y="44"/>
                  <a:pt x="20" y="43"/>
                  <a:pt x="19" y="42"/>
                </a:cubicBezTo>
                <a:cubicBezTo>
                  <a:pt x="13" y="11"/>
                  <a:pt x="13" y="11"/>
                  <a:pt x="13" y="11"/>
                </a:cubicBezTo>
                <a:cubicBezTo>
                  <a:pt x="12" y="9"/>
                  <a:pt x="13" y="7"/>
                  <a:pt x="15" y="7"/>
                </a:cubicBezTo>
                <a:close/>
                <a:moveTo>
                  <a:pt x="15" y="7"/>
                </a:moveTo>
                <a:cubicBezTo>
                  <a:pt x="15" y="7"/>
                  <a:pt x="15" y="7"/>
                  <a:pt x="15" y="7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103" name="ï$ľîde">
            <a:extLst>
              <a:ext uri="{FF2B5EF4-FFF2-40B4-BE49-F238E27FC236}">
                <a16:creationId xmlns:a16="http://schemas.microsoft.com/office/drawing/2014/main" id="{8A13DF77-606A-496B-ACA7-9668173EF64E}"/>
              </a:ext>
            </a:extLst>
          </p:cNvPr>
          <p:cNvSpPr>
            <a:spLocks/>
          </p:cNvSpPr>
          <p:nvPr/>
        </p:nvSpPr>
        <p:spPr bwMode="auto">
          <a:xfrm>
            <a:off x="9296450" y="3278995"/>
            <a:ext cx="30532" cy="31706"/>
          </a:xfrm>
          <a:custGeom>
            <a:avLst/>
            <a:gdLst>
              <a:gd name="T0" fmla="*/ 11 w 22"/>
              <a:gd name="T1" fmla="*/ 0 h 23"/>
              <a:gd name="T2" fmla="*/ 0 w 22"/>
              <a:gd name="T3" fmla="*/ 11 h 23"/>
              <a:gd name="T4" fmla="*/ 11 w 22"/>
              <a:gd name="T5" fmla="*/ 23 h 23"/>
              <a:gd name="T6" fmla="*/ 22 w 22"/>
              <a:gd name="T7" fmla="*/ 11 h 23"/>
              <a:gd name="T8" fmla="*/ 11 w 22"/>
              <a:gd name="T9" fmla="*/ 0 h 23"/>
              <a:gd name="T10" fmla="*/ 11 w 22"/>
              <a:gd name="T11" fmla="*/ 16 h 23"/>
              <a:gd name="T12" fmla="*/ 7 w 22"/>
              <a:gd name="T13" fmla="*/ 11 h 23"/>
              <a:gd name="T14" fmla="*/ 11 w 22"/>
              <a:gd name="T15" fmla="*/ 7 h 23"/>
              <a:gd name="T16" fmla="*/ 15 w 22"/>
              <a:gd name="T17" fmla="*/ 11 h 23"/>
              <a:gd name="T18" fmla="*/ 11 w 22"/>
              <a:gd name="T19" fmla="*/ 16 h 23"/>
              <a:gd name="T20" fmla="*/ 11 w 22"/>
              <a:gd name="T21" fmla="*/ 16 h 23"/>
              <a:gd name="T22" fmla="*/ 11 w 22"/>
              <a:gd name="T23" fmla="*/ 16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2" h="23">
                <a:moveTo>
                  <a:pt x="11" y="0"/>
                </a:moveTo>
                <a:cubicBezTo>
                  <a:pt x="5" y="0"/>
                  <a:pt x="0" y="5"/>
                  <a:pt x="0" y="11"/>
                </a:cubicBezTo>
                <a:cubicBezTo>
                  <a:pt x="0" y="18"/>
                  <a:pt x="5" y="23"/>
                  <a:pt x="11" y="23"/>
                </a:cubicBezTo>
                <a:cubicBezTo>
                  <a:pt x="17" y="23"/>
                  <a:pt x="22" y="18"/>
                  <a:pt x="22" y="11"/>
                </a:cubicBezTo>
                <a:cubicBezTo>
                  <a:pt x="22" y="5"/>
                  <a:pt x="17" y="0"/>
                  <a:pt x="11" y="0"/>
                </a:cubicBezTo>
                <a:close/>
                <a:moveTo>
                  <a:pt x="11" y="16"/>
                </a:moveTo>
                <a:cubicBezTo>
                  <a:pt x="9" y="16"/>
                  <a:pt x="7" y="14"/>
                  <a:pt x="7" y="11"/>
                </a:cubicBezTo>
                <a:cubicBezTo>
                  <a:pt x="7" y="9"/>
                  <a:pt x="9" y="7"/>
                  <a:pt x="11" y="7"/>
                </a:cubicBezTo>
                <a:cubicBezTo>
                  <a:pt x="14" y="7"/>
                  <a:pt x="15" y="9"/>
                  <a:pt x="15" y="11"/>
                </a:cubicBezTo>
                <a:cubicBezTo>
                  <a:pt x="15" y="14"/>
                  <a:pt x="14" y="16"/>
                  <a:pt x="11" y="16"/>
                </a:cubicBezTo>
                <a:close/>
                <a:moveTo>
                  <a:pt x="11" y="16"/>
                </a:moveTo>
                <a:cubicBezTo>
                  <a:pt x="11" y="16"/>
                  <a:pt x="11" y="16"/>
                  <a:pt x="11" y="16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104" name="ïṧḻíḓê">
            <a:extLst>
              <a:ext uri="{FF2B5EF4-FFF2-40B4-BE49-F238E27FC236}">
                <a16:creationId xmlns:a16="http://schemas.microsoft.com/office/drawing/2014/main" id="{7229F4D2-7C03-48FD-8D31-5AE9213BDEE0}"/>
              </a:ext>
            </a:extLst>
          </p:cNvPr>
          <p:cNvSpPr>
            <a:spLocks/>
          </p:cNvSpPr>
          <p:nvPr/>
        </p:nvSpPr>
        <p:spPr bwMode="auto">
          <a:xfrm>
            <a:off x="9369844" y="3278995"/>
            <a:ext cx="30532" cy="31706"/>
          </a:xfrm>
          <a:custGeom>
            <a:avLst/>
            <a:gdLst>
              <a:gd name="T0" fmla="*/ 11 w 22"/>
              <a:gd name="T1" fmla="*/ 0 h 23"/>
              <a:gd name="T2" fmla="*/ 0 w 22"/>
              <a:gd name="T3" fmla="*/ 11 h 23"/>
              <a:gd name="T4" fmla="*/ 11 w 22"/>
              <a:gd name="T5" fmla="*/ 23 h 23"/>
              <a:gd name="T6" fmla="*/ 22 w 22"/>
              <a:gd name="T7" fmla="*/ 11 h 23"/>
              <a:gd name="T8" fmla="*/ 11 w 22"/>
              <a:gd name="T9" fmla="*/ 0 h 23"/>
              <a:gd name="T10" fmla="*/ 11 w 22"/>
              <a:gd name="T11" fmla="*/ 16 h 23"/>
              <a:gd name="T12" fmla="*/ 7 w 22"/>
              <a:gd name="T13" fmla="*/ 11 h 23"/>
              <a:gd name="T14" fmla="*/ 11 w 22"/>
              <a:gd name="T15" fmla="*/ 7 h 23"/>
              <a:gd name="T16" fmla="*/ 15 w 22"/>
              <a:gd name="T17" fmla="*/ 11 h 23"/>
              <a:gd name="T18" fmla="*/ 11 w 22"/>
              <a:gd name="T19" fmla="*/ 16 h 23"/>
              <a:gd name="T20" fmla="*/ 11 w 22"/>
              <a:gd name="T21" fmla="*/ 16 h 23"/>
              <a:gd name="T22" fmla="*/ 11 w 22"/>
              <a:gd name="T23" fmla="*/ 16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2" h="23">
                <a:moveTo>
                  <a:pt x="11" y="0"/>
                </a:moveTo>
                <a:cubicBezTo>
                  <a:pt x="5" y="0"/>
                  <a:pt x="0" y="5"/>
                  <a:pt x="0" y="11"/>
                </a:cubicBezTo>
                <a:cubicBezTo>
                  <a:pt x="0" y="18"/>
                  <a:pt x="5" y="23"/>
                  <a:pt x="11" y="23"/>
                </a:cubicBezTo>
                <a:cubicBezTo>
                  <a:pt x="17" y="23"/>
                  <a:pt x="22" y="18"/>
                  <a:pt x="22" y="11"/>
                </a:cubicBezTo>
                <a:cubicBezTo>
                  <a:pt x="22" y="5"/>
                  <a:pt x="17" y="0"/>
                  <a:pt x="11" y="0"/>
                </a:cubicBezTo>
                <a:close/>
                <a:moveTo>
                  <a:pt x="11" y="16"/>
                </a:moveTo>
                <a:cubicBezTo>
                  <a:pt x="9" y="16"/>
                  <a:pt x="7" y="14"/>
                  <a:pt x="7" y="11"/>
                </a:cubicBezTo>
                <a:cubicBezTo>
                  <a:pt x="7" y="9"/>
                  <a:pt x="9" y="7"/>
                  <a:pt x="11" y="7"/>
                </a:cubicBezTo>
                <a:cubicBezTo>
                  <a:pt x="13" y="7"/>
                  <a:pt x="15" y="9"/>
                  <a:pt x="15" y="11"/>
                </a:cubicBezTo>
                <a:cubicBezTo>
                  <a:pt x="15" y="14"/>
                  <a:pt x="13" y="16"/>
                  <a:pt x="11" y="16"/>
                </a:cubicBezTo>
                <a:close/>
                <a:moveTo>
                  <a:pt x="11" y="16"/>
                </a:moveTo>
                <a:cubicBezTo>
                  <a:pt x="11" y="16"/>
                  <a:pt x="11" y="16"/>
                  <a:pt x="11" y="16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105" name="íŝ1ídè">
            <a:extLst>
              <a:ext uri="{FF2B5EF4-FFF2-40B4-BE49-F238E27FC236}">
                <a16:creationId xmlns:a16="http://schemas.microsoft.com/office/drawing/2014/main" id="{52FFA861-4A57-4FF6-AC39-59E1AEFC457B}"/>
              </a:ext>
            </a:extLst>
          </p:cNvPr>
          <p:cNvSpPr>
            <a:spLocks/>
          </p:cNvSpPr>
          <p:nvPr/>
        </p:nvSpPr>
        <p:spPr bwMode="auto">
          <a:xfrm>
            <a:off x="9242432" y="3160977"/>
            <a:ext cx="172036" cy="112733"/>
          </a:xfrm>
          <a:custGeom>
            <a:avLst/>
            <a:gdLst>
              <a:gd name="T0" fmla="*/ 120 w 124"/>
              <a:gd name="T1" fmla="*/ 81 h 81"/>
              <a:gd name="T2" fmla="*/ 36 w 124"/>
              <a:gd name="T3" fmla="*/ 81 h 81"/>
              <a:gd name="T4" fmla="*/ 29 w 124"/>
              <a:gd name="T5" fmla="*/ 76 h 81"/>
              <a:gd name="T6" fmla="*/ 14 w 124"/>
              <a:gd name="T7" fmla="*/ 8 h 81"/>
              <a:gd name="T8" fmla="*/ 4 w 124"/>
              <a:gd name="T9" fmla="*/ 8 h 81"/>
              <a:gd name="T10" fmla="*/ 0 w 124"/>
              <a:gd name="T11" fmla="*/ 4 h 81"/>
              <a:gd name="T12" fmla="*/ 4 w 124"/>
              <a:gd name="T13" fmla="*/ 0 h 81"/>
              <a:gd name="T14" fmla="*/ 15 w 124"/>
              <a:gd name="T15" fmla="*/ 0 h 81"/>
              <a:gd name="T16" fmla="*/ 21 w 124"/>
              <a:gd name="T17" fmla="*/ 5 h 81"/>
              <a:gd name="T18" fmla="*/ 37 w 124"/>
              <a:gd name="T19" fmla="*/ 73 h 81"/>
              <a:gd name="T20" fmla="*/ 120 w 124"/>
              <a:gd name="T21" fmla="*/ 73 h 81"/>
              <a:gd name="T22" fmla="*/ 124 w 124"/>
              <a:gd name="T23" fmla="*/ 77 h 81"/>
              <a:gd name="T24" fmla="*/ 120 w 124"/>
              <a:gd name="T25" fmla="*/ 81 h 81"/>
              <a:gd name="T26" fmla="*/ 120 w 124"/>
              <a:gd name="T27" fmla="*/ 81 h 81"/>
              <a:gd name="T28" fmla="*/ 120 w 124"/>
              <a:gd name="T29" fmla="*/ 81 h 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24" h="81">
                <a:moveTo>
                  <a:pt x="120" y="81"/>
                </a:moveTo>
                <a:cubicBezTo>
                  <a:pt x="36" y="81"/>
                  <a:pt x="36" y="81"/>
                  <a:pt x="36" y="81"/>
                </a:cubicBezTo>
                <a:cubicBezTo>
                  <a:pt x="33" y="81"/>
                  <a:pt x="30" y="79"/>
                  <a:pt x="29" y="76"/>
                </a:cubicBezTo>
                <a:cubicBezTo>
                  <a:pt x="14" y="8"/>
                  <a:pt x="14" y="8"/>
                  <a:pt x="14" y="8"/>
                </a:cubicBezTo>
                <a:cubicBezTo>
                  <a:pt x="4" y="8"/>
                  <a:pt x="4" y="8"/>
                  <a:pt x="4" y="8"/>
                </a:cubicBezTo>
                <a:cubicBezTo>
                  <a:pt x="2" y="8"/>
                  <a:pt x="0" y="6"/>
                  <a:pt x="0" y="4"/>
                </a:cubicBezTo>
                <a:cubicBezTo>
                  <a:pt x="0" y="2"/>
                  <a:pt x="2" y="0"/>
                  <a:pt x="4" y="0"/>
                </a:cubicBezTo>
                <a:cubicBezTo>
                  <a:pt x="15" y="0"/>
                  <a:pt x="15" y="0"/>
                  <a:pt x="15" y="0"/>
                </a:cubicBezTo>
                <a:cubicBezTo>
                  <a:pt x="18" y="0"/>
                  <a:pt x="20" y="2"/>
                  <a:pt x="21" y="5"/>
                </a:cubicBezTo>
                <a:cubicBezTo>
                  <a:pt x="37" y="73"/>
                  <a:pt x="37" y="73"/>
                  <a:pt x="37" y="73"/>
                </a:cubicBezTo>
                <a:cubicBezTo>
                  <a:pt x="120" y="73"/>
                  <a:pt x="120" y="73"/>
                  <a:pt x="120" y="73"/>
                </a:cubicBezTo>
                <a:cubicBezTo>
                  <a:pt x="122" y="73"/>
                  <a:pt x="124" y="75"/>
                  <a:pt x="124" y="77"/>
                </a:cubicBezTo>
                <a:cubicBezTo>
                  <a:pt x="124" y="79"/>
                  <a:pt x="122" y="81"/>
                  <a:pt x="120" y="81"/>
                </a:cubicBezTo>
                <a:close/>
                <a:moveTo>
                  <a:pt x="120" y="81"/>
                </a:moveTo>
                <a:cubicBezTo>
                  <a:pt x="120" y="81"/>
                  <a:pt x="120" y="81"/>
                  <a:pt x="120" y="81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106" name="îŝḻîḑè">
            <a:extLst>
              <a:ext uri="{FF2B5EF4-FFF2-40B4-BE49-F238E27FC236}">
                <a16:creationId xmlns:a16="http://schemas.microsoft.com/office/drawing/2014/main" id="{5A84BF48-F514-4790-B4BF-AC610E024B01}"/>
              </a:ext>
            </a:extLst>
          </p:cNvPr>
          <p:cNvSpPr>
            <a:spLocks/>
          </p:cNvSpPr>
          <p:nvPr/>
        </p:nvSpPr>
        <p:spPr bwMode="auto">
          <a:xfrm>
            <a:off x="10755529" y="3037674"/>
            <a:ext cx="141504" cy="88661"/>
          </a:xfrm>
          <a:custGeom>
            <a:avLst/>
            <a:gdLst>
              <a:gd name="T0" fmla="*/ 29 w 102"/>
              <a:gd name="T1" fmla="*/ 64 h 64"/>
              <a:gd name="T2" fmla="*/ 73 w 102"/>
              <a:gd name="T3" fmla="*/ 64 h 64"/>
              <a:gd name="T4" fmla="*/ 98 w 102"/>
              <a:gd name="T5" fmla="*/ 1 h 64"/>
              <a:gd name="T6" fmla="*/ 98 w 102"/>
              <a:gd name="T7" fmla="*/ 0 h 64"/>
              <a:gd name="T8" fmla="*/ 3 w 102"/>
              <a:gd name="T9" fmla="*/ 0 h 64"/>
              <a:gd name="T10" fmla="*/ 3 w 102"/>
              <a:gd name="T11" fmla="*/ 1 h 64"/>
              <a:gd name="T12" fmla="*/ 29 w 102"/>
              <a:gd name="T13" fmla="*/ 64 h 64"/>
              <a:gd name="T14" fmla="*/ 29 w 102"/>
              <a:gd name="T15" fmla="*/ 64 h 64"/>
              <a:gd name="T16" fmla="*/ 29 w 102"/>
              <a:gd name="T17" fmla="*/ 64 h 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02" h="64">
                <a:moveTo>
                  <a:pt x="29" y="64"/>
                </a:moveTo>
                <a:cubicBezTo>
                  <a:pt x="73" y="64"/>
                  <a:pt x="73" y="64"/>
                  <a:pt x="73" y="64"/>
                </a:cubicBezTo>
                <a:cubicBezTo>
                  <a:pt x="102" y="49"/>
                  <a:pt x="98" y="1"/>
                  <a:pt x="98" y="1"/>
                </a:cubicBezTo>
                <a:cubicBezTo>
                  <a:pt x="98" y="0"/>
                  <a:pt x="98" y="0"/>
                  <a:pt x="98" y="0"/>
                </a:cubicBezTo>
                <a:cubicBezTo>
                  <a:pt x="3" y="0"/>
                  <a:pt x="3" y="0"/>
                  <a:pt x="3" y="0"/>
                </a:cubicBezTo>
                <a:cubicBezTo>
                  <a:pt x="3" y="1"/>
                  <a:pt x="3" y="1"/>
                  <a:pt x="3" y="1"/>
                </a:cubicBezTo>
                <a:cubicBezTo>
                  <a:pt x="3" y="1"/>
                  <a:pt x="0" y="49"/>
                  <a:pt x="29" y="64"/>
                </a:cubicBezTo>
                <a:close/>
                <a:moveTo>
                  <a:pt x="29" y="64"/>
                </a:moveTo>
                <a:cubicBezTo>
                  <a:pt x="29" y="64"/>
                  <a:pt x="29" y="64"/>
                  <a:pt x="29" y="64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107" name="íṡľíḍè">
            <a:extLst>
              <a:ext uri="{FF2B5EF4-FFF2-40B4-BE49-F238E27FC236}">
                <a16:creationId xmlns:a16="http://schemas.microsoft.com/office/drawing/2014/main" id="{B4E2708B-2C64-4D34-87A6-21891BA3F6FF}"/>
              </a:ext>
            </a:extLst>
          </p:cNvPr>
          <p:cNvSpPr>
            <a:spLocks/>
          </p:cNvSpPr>
          <p:nvPr/>
        </p:nvSpPr>
        <p:spPr bwMode="auto">
          <a:xfrm>
            <a:off x="10751418" y="3133381"/>
            <a:ext cx="150899" cy="15266"/>
          </a:xfrm>
          <a:custGeom>
            <a:avLst/>
            <a:gdLst>
              <a:gd name="T0" fmla="*/ 105 w 109"/>
              <a:gd name="T1" fmla="*/ 0 h 11"/>
              <a:gd name="T2" fmla="*/ 3 w 109"/>
              <a:gd name="T3" fmla="*/ 0 h 11"/>
              <a:gd name="T4" fmla="*/ 1 w 109"/>
              <a:gd name="T5" fmla="*/ 5 h 11"/>
              <a:gd name="T6" fmla="*/ 6 w 109"/>
              <a:gd name="T7" fmla="*/ 10 h 11"/>
              <a:gd name="T8" fmla="*/ 8 w 109"/>
              <a:gd name="T9" fmla="*/ 11 h 11"/>
              <a:gd name="T10" fmla="*/ 101 w 109"/>
              <a:gd name="T11" fmla="*/ 11 h 11"/>
              <a:gd name="T12" fmla="*/ 103 w 109"/>
              <a:gd name="T13" fmla="*/ 10 h 11"/>
              <a:gd name="T14" fmla="*/ 107 w 109"/>
              <a:gd name="T15" fmla="*/ 5 h 11"/>
              <a:gd name="T16" fmla="*/ 105 w 109"/>
              <a:gd name="T17" fmla="*/ 0 h 11"/>
              <a:gd name="T18" fmla="*/ 105 w 109"/>
              <a:gd name="T19" fmla="*/ 0 h 11"/>
              <a:gd name="T20" fmla="*/ 105 w 109"/>
              <a:gd name="T21" fmla="*/ 0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09" h="11">
                <a:moveTo>
                  <a:pt x="105" y="0"/>
                </a:moveTo>
                <a:cubicBezTo>
                  <a:pt x="3" y="0"/>
                  <a:pt x="3" y="0"/>
                  <a:pt x="3" y="0"/>
                </a:cubicBezTo>
                <a:cubicBezTo>
                  <a:pt x="1" y="0"/>
                  <a:pt x="0" y="3"/>
                  <a:pt x="1" y="5"/>
                </a:cubicBezTo>
                <a:cubicBezTo>
                  <a:pt x="6" y="10"/>
                  <a:pt x="6" y="10"/>
                  <a:pt x="6" y="10"/>
                </a:cubicBezTo>
                <a:cubicBezTo>
                  <a:pt x="7" y="10"/>
                  <a:pt x="7" y="11"/>
                  <a:pt x="8" y="11"/>
                </a:cubicBezTo>
                <a:cubicBezTo>
                  <a:pt x="101" y="11"/>
                  <a:pt x="101" y="11"/>
                  <a:pt x="101" y="11"/>
                </a:cubicBezTo>
                <a:cubicBezTo>
                  <a:pt x="101" y="11"/>
                  <a:pt x="102" y="10"/>
                  <a:pt x="103" y="10"/>
                </a:cubicBezTo>
                <a:cubicBezTo>
                  <a:pt x="107" y="5"/>
                  <a:pt x="107" y="5"/>
                  <a:pt x="107" y="5"/>
                </a:cubicBezTo>
                <a:cubicBezTo>
                  <a:pt x="109" y="3"/>
                  <a:pt x="107" y="0"/>
                  <a:pt x="105" y="0"/>
                </a:cubicBezTo>
                <a:close/>
                <a:moveTo>
                  <a:pt x="105" y="0"/>
                </a:moveTo>
                <a:cubicBezTo>
                  <a:pt x="105" y="0"/>
                  <a:pt x="105" y="0"/>
                  <a:pt x="105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108" name="iṡļîḑê">
            <a:extLst>
              <a:ext uri="{FF2B5EF4-FFF2-40B4-BE49-F238E27FC236}">
                <a16:creationId xmlns:a16="http://schemas.microsoft.com/office/drawing/2014/main" id="{47186906-166C-48DD-B181-3D07DEB532F2}"/>
              </a:ext>
            </a:extLst>
          </p:cNvPr>
          <p:cNvSpPr>
            <a:spLocks/>
          </p:cNvSpPr>
          <p:nvPr/>
        </p:nvSpPr>
        <p:spPr bwMode="auto">
          <a:xfrm>
            <a:off x="10884702" y="3042959"/>
            <a:ext cx="42862" cy="65174"/>
          </a:xfrm>
          <a:custGeom>
            <a:avLst/>
            <a:gdLst>
              <a:gd name="T0" fmla="*/ 30 w 31"/>
              <a:gd name="T1" fmla="*/ 17 h 47"/>
              <a:gd name="T2" fmla="*/ 11 w 31"/>
              <a:gd name="T3" fmla="*/ 1 h 47"/>
              <a:gd name="T4" fmla="*/ 10 w 31"/>
              <a:gd name="T5" fmla="*/ 9 h 47"/>
              <a:gd name="T6" fmla="*/ 21 w 31"/>
              <a:gd name="T7" fmla="*/ 17 h 47"/>
              <a:gd name="T8" fmla="*/ 5 w 31"/>
              <a:gd name="T9" fmla="*/ 35 h 47"/>
              <a:gd name="T10" fmla="*/ 0 w 31"/>
              <a:gd name="T11" fmla="*/ 47 h 47"/>
              <a:gd name="T12" fmla="*/ 30 w 31"/>
              <a:gd name="T13" fmla="*/ 17 h 47"/>
              <a:gd name="T14" fmla="*/ 30 w 31"/>
              <a:gd name="T15" fmla="*/ 17 h 47"/>
              <a:gd name="T16" fmla="*/ 30 w 31"/>
              <a:gd name="T17" fmla="*/ 17 h 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1" h="47">
                <a:moveTo>
                  <a:pt x="30" y="17"/>
                </a:moveTo>
                <a:cubicBezTo>
                  <a:pt x="30" y="0"/>
                  <a:pt x="14" y="1"/>
                  <a:pt x="11" y="1"/>
                </a:cubicBezTo>
                <a:cubicBezTo>
                  <a:pt x="11" y="4"/>
                  <a:pt x="11" y="6"/>
                  <a:pt x="10" y="9"/>
                </a:cubicBezTo>
                <a:cubicBezTo>
                  <a:pt x="13" y="9"/>
                  <a:pt x="22" y="7"/>
                  <a:pt x="21" y="17"/>
                </a:cubicBezTo>
                <a:cubicBezTo>
                  <a:pt x="21" y="17"/>
                  <a:pt x="20" y="30"/>
                  <a:pt x="5" y="35"/>
                </a:cubicBezTo>
                <a:cubicBezTo>
                  <a:pt x="4" y="40"/>
                  <a:pt x="2" y="44"/>
                  <a:pt x="0" y="47"/>
                </a:cubicBezTo>
                <a:cubicBezTo>
                  <a:pt x="31" y="35"/>
                  <a:pt x="30" y="17"/>
                  <a:pt x="30" y="17"/>
                </a:cubicBezTo>
                <a:close/>
                <a:moveTo>
                  <a:pt x="30" y="17"/>
                </a:moveTo>
                <a:cubicBezTo>
                  <a:pt x="30" y="17"/>
                  <a:pt x="30" y="17"/>
                  <a:pt x="30" y="17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109" name="işļiḍe">
            <a:extLst>
              <a:ext uri="{FF2B5EF4-FFF2-40B4-BE49-F238E27FC236}">
                <a16:creationId xmlns:a16="http://schemas.microsoft.com/office/drawing/2014/main" id="{0722542C-191D-491C-BD7F-6A1B4CE1FD20}"/>
              </a:ext>
            </a:extLst>
          </p:cNvPr>
          <p:cNvSpPr>
            <a:spLocks/>
          </p:cNvSpPr>
          <p:nvPr/>
        </p:nvSpPr>
        <p:spPr bwMode="auto">
          <a:xfrm>
            <a:off x="8832598" y="1714228"/>
            <a:ext cx="141504" cy="90421"/>
          </a:xfrm>
          <a:custGeom>
            <a:avLst/>
            <a:gdLst>
              <a:gd name="T0" fmla="*/ 29 w 102"/>
              <a:gd name="T1" fmla="*/ 65 h 65"/>
              <a:gd name="T2" fmla="*/ 73 w 102"/>
              <a:gd name="T3" fmla="*/ 65 h 65"/>
              <a:gd name="T4" fmla="*/ 98 w 102"/>
              <a:gd name="T5" fmla="*/ 1 h 65"/>
              <a:gd name="T6" fmla="*/ 98 w 102"/>
              <a:gd name="T7" fmla="*/ 0 h 65"/>
              <a:gd name="T8" fmla="*/ 3 w 102"/>
              <a:gd name="T9" fmla="*/ 0 h 65"/>
              <a:gd name="T10" fmla="*/ 3 w 102"/>
              <a:gd name="T11" fmla="*/ 1 h 65"/>
              <a:gd name="T12" fmla="*/ 29 w 102"/>
              <a:gd name="T13" fmla="*/ 65 h 65"/>
              <a:gd name="T14" fmla="*/ 29 w 102"/>
              <a:gd name="T15" fmla="*/ 65 h 65"/>
              <a:gd name="T16" fmla="*/ 29 w 102"/>
              <a:gd name="T17" fmla="*/ 65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02" h="65">
                <a:moveTo>
                  <a:pt x="29" y="65"/>
                </a:moveTo>
                <a:cubicBezTo>
                  <a:pt x="73" y="65"/>
                  <a:pt x="73" y="65"/>
                  <a:pt x="73" y="65"/>
                </a:cubicBezTo>
                <a:cubicBezTo>
                  <a:pt x="102" y="49"/>
                  <a:pt x="98" y="1"/>
                  <a:pt x="98" y="1"/>
                </a:cubicBezTo>
                <a:cubicBezTo>
                  <a:pt x="98" y="0"/>
                  <a:pt x="98" y="0"/>
                  <a:pt x="98" y="0"/>
                </a:cubicBezTo>
                <a:cubicBezTo>
                  <a:pt x="3" y="0"/>
                  <a:pt x="3" y="0"/>
                  <a:pt x="3" y="0"/>
                </a:cubicBezTo>
                <a:cubicBezTo>
                  <a:pt x="3" y="1"/>
                  <a:pt x="3" y="1"/>
                  <a:pt x="3" y="1"/>
                </a:cubicBezTo>
                <a:cubicBezTo>
                  <a:pt x="3" y="1"/>
                  <a:pt x="0" y="49"/>
                  <a:pt x="29" y="65"/>
                </a:cubicBezTo>
                <a:close/>
                <a:moveTo>
                  <a:pt x="29" y="65"/>
                </a:moveTo>
                <a:cubicBezTo>
                  <a:pt x="29" y="65"/>
                  <a:pt x="29" y="65"/>
                  <a:pt x="29" y="65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110" name="îṧļïďe">
            <a:extLst>
              <a:ext uri="{FF2B5EF4-FFF2-40B4-BE49-F238E27FC236}">
                <a16:creationId xmlns:a16="http://schemas.microsoft.com/office/drawing/2014/main" id="{E9FEB405-E869-48BC-932D-10FC748BDFA8}"/>
              </a:ext>
            </a:extLst>
          </p:cNvPr>
          <p:cNvSpPr>
            <a:spLocks/>
          </p:cNvSpPr>
          <p:nvPr/>
        </p:nvSpPr>
        <p:spPr bwMode="auto">
          <a:xfrm>
            <a:off x="8828488" y="1811696"/>
            <a:ext cx="151486" cy="13504"/>
          </a:xfrm>
          <a:custGeom>
            <a:avLst/>
            <a:gdLst>
              <a:gd name="T0" fmla="*/ 105 w 109"/>
              <a:gd name="T1" fmla="*/ 0 h 10"/>
              <a:gd name="T2" fmla="*/ 3 w 109"/>
              <a:gd name="T3" fmla="*/ 0 h 10"/>
              <a:gd name="T4" fmla="*/ 1 w 109"/>
              <a:gd name="T5" fmla="*/ 4 h 10"/>
              <a:gd name="T6" fmla="*/ 6 w 109"/>
              <a:gd name="T7" fmla="*/ 9 h 10"/>
              <a:gd name="T8" fmla="*/ 8 w 109"/>
              <a:gd name="T9" fmla="*/ 10 h 10"/>
              <a:gd name="T10" fmla="*/ 101 w 109"/>
              <a:gd name="T11" fmla="*/ 10 h 10"/>
              <a:gd name="T12" fmla="*/ 103 w 109"/>
              <a:gd name="T13" fmla="*/ 9 h 10"/>
              <a:gd name="T14" fmla="*/ 107 w 109"/>
              <a:gd name="T15" fmla="*/ 4 h 10"/>
              <a:gd name="T16" fmla="*/ 105 w 109"/>
              <a:gd name="T17" fmla="*/ 0 h 10"/>
              <a:gd name="T18" fmla="*/ 105 w 109"/>
              <a:gd name="T19" fmla="*/ 0 h 10"/>
              <a:gd name="T20" fmla="*/ 105 w 109"/>
              <a:gd name="T21" fmla="*/ 0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09" h="10">
                <a:moveTo>
                  <a:pt x="105" y="0"/>
                </a:moveTo>
                <a:cubicBezTo>
                  <a:pt x="3" y="0"/>
                  <a:pt x="3" y="0"/>
                  <a:pt x="3" y="0"/>
                </a:cubicBezTo>
                <a:cubicBezTo>
                  <a:pt x="1" y="0"/>
                  <a:pt x="0" y="2"/>
                  <a:pt x="1" y="4"/>
                </a:cubicBezTo>
                <a:cubicBezTo>
                  <a:pt x="6" y="9"/>
                  <a:pt x="6" y="9"/>
                  <a:pt x="6" y="9"/>
                </a:cubicBezTo>
                <a:cubicBezTo>
                  <a:pt x="7" y="10"/>
                  <a:pt x="7" y="10"/>
                  <a:pt x="8" y="10"/>
                </a:cubicBezTo>
                <a:cubicBezTo>
                  <a:pt x="101" y="10"/>
                  <a:pt x="101" y="10"/>
                  <a:pt x="101" y="10"/>
                </a:cubicBezTo>
                <a:cubicBezTo>
                  <a:pt x="101" y="10"/>
                  <a:pt x="102" y="10"/>
                  <a:pt x="103" y="9"/>
                </a:cubicBezTo>
                <a:cubicBezTo>
                  <a:pt x="107" y="4"/>
                  <a:pt x="107" y="4"/>
                  <a:pt x="107" y="4"/>
                </a:cubicBezTo>
                <a:cubicBezTo>
                  <a:pt x="109" y="2"/>
                  <a:pt x="107" y="0"/>
                  <a:pt x="105" y="0"/>
                </a:cubicBezTo>
                <a:close/>
                <a:moveTo>
                  <a:pt x="105" y="0"/>
                </a:moveTo>
                <a:cubicBezTo>
                  <a:pt x="105" y="0"/>
                  <a:pt x="105" y="0"/>
                  <a:pt x="105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111" name="ïŝ1îde">
            <a:extLst>
              <a:ext uri="{FF2B5EF4-FFF2-40B4-BE49-F238E27FC236}">
                <a16:creationId xmlns:a16="http://schemas.microsoft.com/office/drawing/2014/main" id="{194D53E0-669D-4648-816B-192D722B431A}"/>
              </a:ext>
            </a:extLst>
          </p:cNvPr>
          <p:cNvSpPr>
            <a:spLocks/>
          </p:cNvSpPr>
          <p:nvPr/>
        </p:nvSpPr>
        <p:spPr bwMode="auto">
          <a:xfrm>
            <a:off x="8961772" y="1720100"/>
            <a:ext cx="42862" cy="66349"/>
          </a:xfrm>
          <a:custGeom>
            <a:avLst/>
            <a:gdLst>
              <a:gd name="T0" fmla="*/ 30 w 31"/>
              <a:gd name="T1" fmla="*/ 17 h 48"/>
              <a:gd name="T2" fmla="*/ 11 w 31"/>
              <a:gd name="T3" fmla="*/ 2 h 48"/>
              <a:gd name="T4" fmla="*/ 10 w 31"/>
              <a:gd name="T5" fmla="*/ 10 h 48"/>
              <a:gd name="T6" fmla="*/ 21 w 31"/>
              <a:gd name="T7" fmla="*/ 17 h 48"/>
              <a:gd name="T8" fmla="*/ 5 w 31"/>
              <a:gd name="T9" fmla="*/ 36 h 48"/>
              <a:gd name="T10" fmla="*/ 0 w 31"/>
              <a:gd name="T11" fmla="*/ 48 h 48"/>
              <a:gd name="T12" fmla="*/ 30 w 31"/>
              <a:gd name="T13" fmla="*/ 17 h 48"/>
              <a:gd name="T14" fmla="*/ 30 w 31"/>
              <a:gd name="T15" fmla="*/ 17 h 48"/>
              <a:gd name="T16" fmla="*/ 30 w 31"/>
              <a:gd name="T17" fmla="*/ 17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1" h="48">
                <a:moveTo>
                  <a:pt x="30" y="17"/>
                </a:moveTo>
                <a:cubicBezTo>
                  <a:pt x="30" y="0"/>
                  <a:pt x="14" y="1"/>
                  <a:pt x="11" y="2"/>
                </a:cubicBezTo>
                <a:cubicBezTo>
                  <a:pt x="11" y="4"/>
                  <a:pt x="11" y="7"/>
                  <a:pt x="10" y="10"/>
                </a:cubicBezTo>
                <a:cubicBezTo>
                  <a:pt x="13" y="9"/>
                  <a:pt x="22" y="7"/>
                  <a:pt x="21" y="17"/>
                </a:cubicBezTo>
                <a:cubicBezTo>
                  <a:pt x="21" y="17"/>
                  <a:pt x="20" y="31"/>
                  <a:pt x="5" y="36"/>
                </a:cubicBezTo>
                <a:cubicBezTo>
                  <a:pt x="4" y="40"/>
                  <a:pt x="2" y="44"/>
                  <a:pt x="0" y="48"/>
                </a:cubicBezTo>
                <a:cubicBezTo>
                  <a:pt x="31" y="36"/>
                  <a:pt x="30" y="17"/>
                  <a:pt x="30" y="17"/>
                </a:cubicBezTo>
                <a:close/>
                <a:moveTo>
                  <a:pt x="30" y="17"/>
                </a:moveTo>
                <a:cubicBezTo>
                  <a:pt x="30" y="17"/>
                  <a:pt x="30" y="17"/>
                  <a:pt x="30" y="17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112" name="ïśļiḍé">
            <a:extLst>
              <a:ext uri="{FF2B5EF4-FFF2-40B4-BE49-F238E27FC236}">
                <a16:creationId xmlns:a16="http://schemas.microsoft.com/office/drawing/2014/main" id="{23B493F1-7907-4BCE-9943-F761847BE723}"/>
              </a:ext>
            </a:extLst>
          </p:cNvPr>
          <p:cNvSpPr>
            <a:spLocks/>
          </p:cNvSpPr>
          <p:nvPr/>
        </p:nvSpPr>
        <p:spPr bwMode="auto">
          <a:xfrm>
            <a:off x="9410358" y="2519804"/>
            <a:ext cx="141504" cy="88661"/>
          </a:xfrm>
          <a:custGeom>
            <a:avLst/>
            <a:gdLst>
              <a:gd name="T0" fmla="*/ 29 w 102"/>
              <a:gd name="T1" fmla="*/ 64 h 64"/>
              <a:gd name="T2" fmla="*/ 72 w 102"/>
              <a:gd name="T3" fmla="*/ 64 h 64"/>
              <a:gd name="T4" fmla="*/ 98 w 102"/>
              <a:gd name="T5" fmla="*/ 0 h 64"/>
              <a:gd name="T6" fmla="*/ 98 w 102"/>
              <a:gd name="T7" fmla="*/ 0 h 64"/>
              <a:gd name="T8" fmla="*/ 3 w 102"/>
              <a:gd name="T9" fmla="*/ 0 h 64"/>
              <a:gd name="T10" fmla="*/ 3 w 102"/>
              <a:gd name="T11" fmla="*/ 0 h 64"/>
              <a:gd name="T12" fmla="*/ 29 w 102"/>
              <a:gd name="T13" fmla="*/ 64 h 64"/>
              <a:gd name="T14" fmla="*/ 29 w 102"/>
              <a:gd name="T15" fmla="*/ 64 h 64"/>
              <a:gd name="T16" fmla="*/ 29 w 102"/>
              <a:gd name="T17" fmla="*/ 64 h 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02" h="64">
                <a:moveTo>
                  <a:pt x="29" y="64"/>
                </a:moveTo>
                <a:cubicBezTo>
                  <a:pt x="72" y="64"/>
                  <a:pt x="72" y="64"/>
                  <a:pt x="72" y="64"/>
                </a:cubicBezTo>
                <a:cubicBezTo>
                  <a:pt x="102" y="48"/>
                  <a:pt x="98" y="0"/>
                  <a:pt x="98" y="0"/>
                </a:cubicBezTo>
                <a:cubicBezTo>
                  <a:pt x="98" y="0"/>
                  <a:pt x="98" y="0"/>
                  <a:pt x="98" y="0"/>
                </a:cubicBezTo>
                <a:cubicBezTo>
                  <a:pt x="3" y="0"/>
                  <a:pt x="3" y="0"/>
                  <a:pt x="3" y="0"/>
                </a:cubicBezTo>
                <a:cubicBezTo>
                  <a:pt x="3" y="0"/>
                  <a:pt x="3" y="0"/>
                  <a:pt x="3" y="0"/>
                </a:cubicBezTo>
                <a:cubicBezTo>
                  <a:pt x="3" y="0"/>
                  <a:pt x="0" y="48"/>
                  <a:pt x="29" y="64"/>
                </a:cubicBezTo>
                <a:close/>
                <a:moveTo>
                  <a:pt x="29" y="64"/>
                </a:moveTo>
                <a:cubicBezTo>
                  <a:pt x="29" y="64"/>
                  <a:pt x="29" y="64"/>
                  <a:pt x="29" y="64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113" name="îṩlîḍè">
            <a:extLst>
              <a:ext uri="{FF2B5EF4-FFF2-40B4-BE49-F238E27FC236}">
                <a16:creationId xmlns:a16="http://schemas.microsoft.com/office/drawing/2014/main" id="{38B887CC-4D52-4ED8-A78B-65423BF6A1F6}"/>
              </a:ext>
            </a:extLst>
          </p:cNvPr>
          <p:cNvSpPr>
            <a:spLocks/>
          </p:cNvSpPr>
          <p:nvPr/>
        </p:nvSpPr>
        <p:spPr bwMode="auto">
          <a:xfrm>
            <a:off x="9406248" y="2615510"/>
            <a:ext cx="149724" cy="13504"/>
          </a:xfrm>
          <a:custGeom>
            <a:avLst/>
            <a:gdLst>
              <a:gd name="T0" fmla="*/ 105 w 108"/>
              <a:gd name="T1" fmla="*/ 0 h 10"/>
              <a:gd name="T2" fmla="*/ 3 w 108"/>
              <a:gd name="T3" fmla="*/ 0 h 10"/>
              <a:gd name="T4" fmla="*/ 1 w 108"/>
              <a:gd name="T5" fmla="*/ 4 h 10"/>
              <a:gd name="T6" fmla="*/ 6 w 108"/>
              <a:gd name="T7" fmla="*/ 9 h 10"/>
              <a:gd name="T8" fmla="*/ 8 w 108"/>
              <a:gd name="T9" fmla="*/ 10 h 10"/>
              <a:gd name="T10" fmla="*/ 100 w 108"/>
              <a:gd name="T11" fmla="*/ 10 h 10"/>
              <a:gd name="T12" fmla="*/ 102 w 108"/>
              <a:gd name="T13" fmla="*/ 9 h 10"/>
              <a:gd name="T14" fmla="*/ 107 w 108"/>
              <a:gd name="T15" fmla="*/ 4 h 10"/>
              <a:gd name="T16" fmla="*/ 105 w 108"/>
              <a:gd name="T17" fmla="*/ 0 h 10"/>
              <a:gd name="T18" fmla="*/ 105 w 108"/>
              <a:gd name="T19" fmla="*/ 0 h 10"/>
              <a:gd name="T20" fmla="*/ 105 w 108"/>
              <a:gd name="T21" fmla="*/ 0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08" h="10">
                <a:moveTo>
                  <a:pt x="105" y="0"/>
                </a:moveTo>
                <a:cubicBezTo>
                  <a:pt x="3" y="0"/>
                  <a:pt x="3" y="0"/>
                  <a:pt x="3" y="0"/>
                </a:cubicBezTo>
                <a:cubicBezTo>
                  <a:pt x="1" y="0"/>
                  <a:pt x="0" y="2"/>
                  <a:pt x="1" y="4"/>
                </a:cubicBezTo>
                <a:cubicBezTo>
                  <a:pt x="6" y="9"/>
                  <a:pt x="6" y="9"/>
                  <a:pt x="6" y="9"/>
                </a:cubicBezTo>
                <a:cubicBezTo>
                  <a:pt x="6" y="10"/>
                  <a:pt x="7" y="10"/>
                  <a:pt x="8" y="10"/>
                </a:cubicBezTo>
                <a:cubicBezTo>
                  <a:pt x="100" y="10"/>
                  <a:pt x="100" y="10"/>
                  <a:pt x="100" y="10"/>
                </a:cubicBezTo>
                <a:cubicBezTo>
                  <a:pt x="101" y="10"/>
                  <a:pt x="102" y="10"/>
                  <a:pt x="102" y="9"/>
                </a:cubicBezTo>
                <a:cubicBezTo>
                  <a:pt x="107" y="4"/>
                  <a:pt x="107" y="4"/>
                  <a:pt x="107" y="4"/>
                </a:cubicBezTo>
                <a:cubicBezTo>
                  <a:pt x="108" y="2"/>
                  <a:pt x="107" y="0"/>
                  <a:pt x="105" y="0"/>
                </a:cubicBezTo>
                <a:close/>
                <a:moveTo>
                  <a:pt x="105" y="0"/>
                </a:moveTo>
                <a:cubicBezTo>
                  <a:pt x="105" y="0"/>
                  <a:pt x="105" y="0"/>
                  <a:pt x="105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114" name="iṧlide">
            <a:extLst>
              <a:ext uri="{FF2B5EF4-FFF2-40B4-BE49-F238E27FC236}">
                <a16:creationId xmlns:a16="http://schemas.microsoft.com/office/drawing/2014/main" id="{3D187F2A-4B7A-442B-887E-269F11AAE511}"/>
              </a:ext>
            </a:extLst>
          </p:cNvPr>
          <p:cNvSpPr>
            <a:spLocks/>
          </p:cNvSpPr>
          <p:nvPr/>
        </p:nvSpPr>
        <p:spPr bwMode="auto">
          <a:xfrm>
            <a:off x="9538945" y="2525089"/>
            <a:ext cx="41688" cy="65174"/>
          </a:xfrm>
          <a:custGeom>
            <a:avLst/>
            <a:gdLst>
              <a:gd name="T0" fmla="*/ 30 w 30"/>
              <a:gd name="T1" fmla="*/ 17 h 47"/>
              <a:gd name="T2" fmla="*/ 10 w 30"/>
              <a:gd name="T3" fmla="*/ 1 h 47"/>
              <a:gd name="T4" fmla="*/ 10 w 30"/>
              <a:gd name="T5" fmla="*/ 9 h 47"/>
              <a:gd name="T6" fmla="*/ 21 w 30"/>
              <a:gd name="T7" fmla="*/ 16 h 47"/>
              <a:gd name="T8" fmla="*/ 5 w 30"/>
              <a:gd name="T9" fmla="*/ 35 h 47"/>
              <a:gd name="T10" fmla="*/ 0 w 30"/>
              <a:gd name="T11" fmla="*/ 47 h 47"/>
              <a:gd name="T12" fmla="*/ 30 w 30"/>
              <a:gd name="T13" fmla="*/ 17 h 47"/>
              <a:gd name="T14" fmla="*/ 30 w 30"/>
              <a:gd name="T15" fmla="*/ 17 h 47"/>
              <a:gd name="T16" fmla="*/ 30 w 30"/>
              <a:gd name="T17" fmla="*/ 17 h 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0" h="47">
                <a:moveTo>
                  <a:pt x="30" y="17"/>
                </a:moveTo>
                <a:cubicBezTo>
                  <a:pt x="30" y="0"/>
                  <a:pt x="14" y="1"/>
                  <a:pt x="10" y="1"/>
                </a:cubicBezTo>
                <a:cubicBezTo>
                  <a:pt x="10" y="3"/>
                  <a:pt x="10" y="6"/>
                  <a:pt x="10" y="9"/>
                </a:cubicBezTo>
                <a:cubicBezTo>
                  <a:pt x="13" y="8"/>
                  <a:pt x="22" y="7"/>
                  <a:pt x="21" y="16"/>
                </a:cubicBezTo>
                <a:cubicBezTo>
                  <a:pt x="21" y="16"/>
                  <a:pt x="20" y="30"/>
                  <a:pt x="5" y="35"/>
                </a:cubicBezTo>
                <a:cubicBezTo>
                  <a:pt x="4" y="39"/>
                  <a:pt x="2" y="43"/>
                  <a:pt x="0" y="47"/>
                </a:cubicBezTo>
                <a:cubicBezTo>
                  <a:pt x="30" y="35"/>
                  <a:pt x="30" y="17"/>
                  <a:pt x="30" y="17"/>
                </a:cubicBezTo>
                <a:close/>
                <a:moveTo>
                  <a:pt x="30" y="17"/>
                </a:moveTo>
                <a:cubicBezTo>
                  <a:pt x="30" y="17"/>
                  <a:pt x="30" y="17"/>
                  <a:pt x="30" y="17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115" name="ïṩlîdê">
            <a:extLst>
              <a:ext uri="{FF2B5EF4-FFF2-40B4-BE49-F238E27FC236}">
                <a16:creationId xmlns:a16="http://schemas.microsoft.com/office/drawing/2014/main" id="{F106107A-47D2-4A0C-A926-FA27A80CED3E}"/>
              </a:ext>
            </a:extLst>
          </p:cNvPr>
          <p:cNvSpPr>
            <a:spLocks/>
          </p:cNvSpPr>
          <p:nvPr/>
        </p:nvSpPr>
        <p:spPr bwMode="auto">
          <a:xfrm>
            <a:off x="9847201" y="2729419"/>
            <a:ext cx="161468" cy="153834"/>
          </a:xfrm>
          <a:custGeom>
            <a:avLst/>
            <a:gdLst>
              <a:gd name="T0" fmla="*/ 58 w 116"/>
              <a:gd name="T1" fmla="*/ 9 h 111"/>
              <a:gd name="T2" fmla="*/ 107 w 116"/>
              <a:gd name="T3" fmla="*/ 43 h 111"/>
              <a:gd name="T4" fmla="*/ 84 w 116"/>
              <a:gd name="T5" fmla="*/ 72 h 111"/>
              <a:gd name="T6" fmla="*/ 79 w 116"/>
              <a:gd name="T7" fmla="*/ 75 h 111"/>
              <a:gd name="T8" fmla="*/ 79 w 116"/>
              <a:gd name="T9" fmla="*/ 81 h 111"/>
              <a:gd name="T10" fmla="*/ 79 w 116"/>
              <a:gd name="T11" fmla="*/ 87 h 111"/>
              <a:gd name="T12" fmla="*/ 77 w 116"/>
              <a:gd name="T13" fmla="*/ 82 h 111"/>
              <a:gd name="T14" fmla="*/ 74 w 116"/>
              <a:gd name="T15" fmla="*/ 76 h 111"/>
              <a:gd name="T16" fmla="*/ 68 w 116"/>
              <a:gd name="T17" fmla="*/ 77 h 111"/>
              <a:gd name="T18" fmla="*/ 58 w 116"/>
              <a:gd name="T19" fmla="*/ 78 h 111"/>
              <a:gd name="T20" fmla="*/ 9 w 116"/>
              <a:gd name="T21" fmla="*/ 43 h 111"/>
              <a:gd name="T22" fmla="*/ 58 w 116"/>
              <a:gd name="T23" fmla="*/ 9 h 111"/>
              <a:gd name="T24" fmla="*/ 58 w 116"/>
              <a:gd name="T25" fmla="*/ 0 h 111"/>
              <a:gd name="T26" fmla="*/ 0 w 116"/>
              <a:gd name="T27" fmla="*/ 43 h 111"/>
              <a:gd name="T28" fmla="*/ 58 w 116"/>
              <a:gd name="T29" fmla="*/ 87 h 111"/>
              <a:gd name="T30" fmla="*/ 69 w 116"/>
              <a:gd name="T31" fmla="*/ 86 h 111"/>
              <a:gd name="T32" fmla="*/ 65 w 116"/>
              <a:gd name="T33" fmla="*/ 111 h 111"/>
              <a:gd name="T34" fmla="*/ 88 w 116"/>
              <a:gd name="T35" fmla="*/ 80 h 111"/>
              <a:gd name="T36" fmla="*/ 116 w 116"/>
              <a:gd name="T37" fmla="*/ 43 h 111"/>
              <a:gd name="T38" fmla="*/ 58 w 116"/>
              <a:gd name="T39" fmla="*/ 0 h 1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16" h="111">
                <a:moveTo>
                  <a:pt x="58" y="9"/>
                </a:moveTo>
                <a:cubicBezTo>
                  <a:pt x="85" y="9"/>
                  <a:pt x="107" y="24"/>
                  <a:pt x="107" y="43"/>
                </a:cubicBezTo>
                <a:cubicBezTo>
                  <a:pt x="107" y="55"/>
                  <a:pt x="99" y="66"/>
                  <a:pt x="84" y="72"/>
                </a:cubicBezTo>
                <a:cubicBezTo>
                  <a:pt x="79" y="75"/>
                  <a:pt x="79" y="75"/>
                  <a:pt x="79" y="75"/>
                </a:cubicBezTo>
                <a:cubicBezTo>
                  <a:pt x="79" y="81"/>
                  <a:pt x="79" y="81"/>
                  <a:pt x="79" y="81"/>
                </a:cubicBezTo>
                <a:cubicBezTo>
                  <a:pt x="79" y="83"/>
                  <a:pt x="79" y="85"/>
                  <a:pt x="79" y="87"/>
                </a:cubicBezTo>
                <a:cubicBezTo>
                  <a:pt x="78" y="85"/>
                  <a:pt x="78" y="84"/>
                  <a:pt x="77" y="82"/>
                </a:cubicBezTo>
                <a:cubicBezTo>
                  <a:pt x="74" y="76"/>
                  <a:pt x="74" y="76"/>
                  <a:pt x="74" y="76"/>
                </a:cubicBezTo>
                <a:cubicBezTo>
                  <a:pt x="68" y="77"/>
                  <a:pt x="68" y="77"/>
                  <a:pt x="68" y="77"/>
                </a:cubicBezTo>
                <a:cubicBezTo>
                  <a:pt x="64" y="77"/>
                  <a:pt x="61" y="78"/>
                  <a:pt x="58" y="78"/>
                </a:cubicBezTo>
                <a:cubicBezTo>
                  <a:pt x="31" y="78"/>
                  <a:pt x="9" y="62"/>
                  <a:pt x="9" y="43"/>
                </a:cubicBezTo>
                <a:cubicBezTo>
                  <a:pt x="9" y="24"/>
                  <a:pt x="31" y="9"/>
                  <a:pt x="58" y="9"/>
                </a:cubicBezTo>
                <a:moveTo>
                  <a:pt x="58" y="0"/>
                </a:moveTo>
                <a:cubicBezTo>
                  <a:pt x="26" y="0"/>
                  <a:pt x="0" y="19"/>
                  <a:pt x="0" y="43"/>
                </a:cubicBezTo>
                <a:cubicBezTo>
                  <a:pt x="0" y="67"/>
                  <a:pt x="26" y="87"/>
                  <a:pt x="58" y="87"/>
                </a:cubicBezTo>
                <a:cubicBezTo>
                  <a:pt x="62" y="87"/>
                  <a:pt x="65" y="86"/>
                  <a:pt x="69" y="86"/>
                </a:cubicBezTo>
                <a:cubicBezTo>
                  <a:pt x="73" y="97"/>
                  <a:pt x="65" y="111"/>
                  <a:pt x="65" y="111"/>
                </a:cubicBezTo>
                <a:cubicBezTo>
                  <a:pt x="86" y="104"/>
                  <a:pt x="88" y="88"/>
                  <a:pt x="88" y="80"/>
                </a:cubicBezTo>
                <a:cubicBezTo>
                  <a:pt x="105" y="73"/>
                  <a:pt x="116" y="59"/>
                  <a:pt x="116" y="43"/>
                </a:cubicBezTo>
                <a:cubicBezTo>
                  <a:pt x="116" y="19"/>
                  <a:pt x="90" y="0"/>
                  <a:pt x="58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116" name="îṡľíḑê">
            <a:extLst>
              <a:ext uri="{FF2B5EF4-FFF2-40B4-BE49-F238E27FC236}">
                <a16:creationId xmlns:a16="http://schemas.microsoft.com/office/drawing/2014/main" id="{1EF0C7F5-8C02-4A1C-AAEF-BF3B8423F690}"/>
              </a:ext>
            </a:extLst>
          </p:cNvPr>
          <p:cNvSpPr>
            <a:spLocks/>
          </p:cNvSpPr>
          <p:nvPr/>
        </p:nvSpPr>
        <p:spPr bwMode="auto">
          <a:xfrm>
            <a:off x="9884779" y="2787547"/>
            <a:ext cx="17028" cy="16440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117" name="iṥľîḓè">
            <a:extLst>
              <a:ext uri="{FF2B5EF4-FFF2-40B4-BE49-F238E27FC236}">
                <a16:creationId xmlns:a16="http://schemas.microsoft.com/office/drawing/2014/main" id="{1D5D2104-49A1-400A-A652-0FF8D4963411}"/>
              </a:ext>
            </a:extLst>
          </p:cNvPr>
          <p:cNvSpPr>
            <a:spLocks/>
          </p:cNvSpPr>
          <p:nvPr/>
        </p:nvSpPr>
        <p:spPr bwMode="auto">
          <a:xfrm>
            <a:off x="9919421" y="2787547"/>
            <a:ext cx="17028" cy="16440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118" name="ísļïḑe">
            <a:extLst>
              <a:ext uri="{FF2B5EF4-FFF2-40B4-BE49-F238E27FC236}">
                <a16:creationId xmlns:a16="http://schemas.microsoft.com/office/drawing/2014/main" id="{FAFCB571-76F9-4DD1-841C-7141D44C74A6}"/>
              </a:ext>
            </a:extLst>
          </p:cNvPr>
          <p:cNvSpPr>
            <a:spLocks/>
          </p:cNvSpPr>
          <p:nvPr/>
        </p:nvSpPr>
        <p:spPr bwMode="auto">
          <a:xfrm>
            <a:off x="9954063" y="2787547"/>
            <a:ext cx="17028" cy="16440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119" name="ïşľiḓe">
            <a:extLst>
              <a:ext uri="{FF2B5EF4-FFF2-40B4-BE49-F238E27FC236}">
                <a16:creationId xmlns:a16="http://schemas.microsoft.com/office/drawing/2014/main" id="{3424DF92-4058-4AE5-BC40-F3218A1FDAFC}"/>
              </a:ext>
            </a:extLst>
          </p:cNvPr>
          <p:cNvSpPr>
            <a:spLocks/>
          </p:cNvSpPr>
          <p:nvPr/>
        </p:nvSpPr>
        <p:spPr bwMode="auto">
          <a:xfrm>
            <a:off x="9774980" y="2787547"/>
            <a:ext cx="140330" cy="133284"/>
          </a:xfrm>
          <a:custGeom>
            <a:avLst/>
            <a:gdLst>
              <a:gd name="T0" fmla="*/ 50 w 101"/>
              <a:gd name="T1" fmla="*/ 0 h 96"/>
              <a:gd name="T2" fmla="*/ 0 w 101"/>
              <a:gd name="T3" fmla="*/ 37 h 96"/>
              <a:gd name="T4" fmla="*/ 24 w 101"/>
              <a:gd name="T5" fmla="*/ 70 h 96"/>
              <a:gd name="T6" fmla="*/ 44 w 101"/>
              <a:gd name="T7" fmla="*/ 96 h 96"/>
              <a:gd name="T8" fmla="*/ 41 w 101"/>
              <a:gd name="T9" fmla="*/ 74 h 96"/>
              <a:gd name="T10" fmla="*/ 50 w 101"/>
              <a:gd name="T11" fmla="*/ 75 h 96"/>
              <a:gd name="T12" fmla="*/ 101 w 101"/>
              <a:gd name="T13" fmla="*/ 37 h 96"/>
              <a:gd name="T14" fmla="*/ 50 w 101"/>
              <a:gd name="T15" fmla="*/ 0 h 96"/>
              <a:gd name="T16" fmla="*/ 25 w 101"/>
              <a:gd name="T17" fmla="*/ 53 h 96"/>
              <a:gd name="T18" fmla="*/ 19 w 101"/>
              <a:gd name="T19" fmla="*/ 47 h 96"/>
              <a:gd name="T20" fmla="*/ 25 w 101"/>
              <a:gd name="T21" fmla="*/ 41 h 96"/>
              <a:gd name="T22" fmla="*/ 31 w 101"/>
              <a:gd name="T23" fmla="*/ 47 h 96"/>
              <a:gd name="T24" fmla="*/ 25 w 101"/>
              <a:gd name="T25" fmla="*/ 53 h 96"/>
              <a:gd name="T26" fmla="*/ 50 w 101"/>
              <a:gd name="T27" fmla="*/ 53 h 96"/>
              <a:gd name="T28" fmla="*/ 44 w 101"/>
              <a:gd name="T29" fmla="*/ 47 h 96"/>
              <a:gd name="T30" fmla="*/ 50 w 101"/>
              <a:gd name="T31" fmla="*/ 41 h 96"/>
              <a:gd name="T32" fmla="*/ 56 w 101"/>
              <a:gd name="T33" fmla="*/ 47 h 96"/>
              <a:gd name="T34" fmla="*/ 50 w 101"/>
              <a:gd name="T35" fmla="*/ 53 h 96"/>
              <a:gd name="T36" fmla="*/ 75 w 101"/>
              <a:gd name="T37" fmla="*/ 53 h 96"/>
              <a:gd name="T38" fmla="*/ 69 w 101"/>
              <a:gd name="T39" fmla="*/ 47 h 96"/>
              <a:gd name="T40" fmla="*/ 75 w 101"/>
              <a:gd name="T41" fmla="*/ 41 h 96"/>
              <a:gd name="T42" fmla="*/ 81 w 101"/>
              <a:gd name="T43" fmla="*/ 47 h 96"/>
              <a:gd name="T44" fmla="*/ 75 w 101"/>
              <a:gd name="T45" fmla="*/ 53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101" h="96">
                <a:moveTo>
                  <a:pt x="50" y="0"/>
                </a:moveTo>
                <a:cubicBezTo>
                  <a:pt x="22" y="0"/>
                  <a:pt x="0" y="17"/>
                  <a:pt x="0" y="37"/>
                </a:cubicBezTo>
                <a:cubicBezTo>
                  <a:pt x="0" y="51"/>
                  <a:pt x="9" y="63"/>
                  <a:pt x="24" y="70"/>
                </a:cubicBezTo>
                <a:cubicBezTo>
                  <a:pt x="24" y="76"/>
                  <a:pt x="26" y="90"/>
                  <a:pt x="44" y="96"/>
                </a:cubicBezTo>
                <a:cubicBezTo>
                  <a:pt x="44" y="96"/>
                  <a:pt x="37" y="84"/>
                  <a:pt x="41" y="74"/>
                </a:cubicBezTo>
                <a:cubicBezTo>
                  <a:pt x="44" y="75"/>
                  <a:pt x="47" y="75"/>
                  <a:pt x="50" y="75"/>
                </a:cubicBezTo>
                <a:cubicBezTo>
                  <a:pt x="78" y="75"/>
                  <a:pt x="101" y="58"/>
                  <a:pt x="101" y="37"/>
                </a:cubicBezTo>
                <a:cubicBezTo>
                  <a:pt x="101" y="17"/>
                  <a:pt x="78" y="0"/>
                  <a:pt x="50" y="0"/>
                </a:cubicBezTo>
                <a:close/>
                <a:moveTo>
                  <a:pt x="25" y="53"/>
                </a:moveTo>
                <a:cubicBezTo>
                  <a:pt x="22" y="53"/>
                  <a:pt x="19" y="50"/>
                  <a:pt x="19" y="47"/>
                </a:cubicBezTo>
                <a:cubicBezTo>
                  <a:pt x="19" y="44"/>
                  <a:pt x="22" y="41"/>
                  <a:pt x="25" y="41"/>
                </a:cubicBezTo>
                <a:cubicBezTo>
                  <a:pt x="28" y="41"/>
                  <a:pt x="31" y="44"/>
                  <a:pt x="31" y="47"/>
                </a:cubicBezTo>
                <a:cubicBezTo>
                  <a:pt x="31" y="50"/>
                  <a:pt x="28" y="53"/>
                  <a:pt x="25" y="53"/>
                </a:cubicBezTo>
                <a:close/>
                <a:moveTo>
                  <a:pt x="50" y="53"/>
                </a:moveTo>
                <a:cubicBezTo>
                  <a:pt x="47" y="53"/>
                  <a:pt x="44" y="50"/>
                  <a:pt x="44" y="47"/>
                </a:cubicBezTo>
                <a:cubicBezTo>
                  <a:pt x="44" y="44"/>
                  <a:pt x="47" y="41"/>
                  <a:pt x="50" y="41"/>
                </a:cubicBezTo>
                <a:cubicBezTo>
                  <a:pt x="53" y="41"/>
                  <a:pt x="56" y="44"/>
                  <a:pt x="56" y="47"/>
                </a:cubicBezTo>
                <a:cubicBezTo>
                  <a:pt x="56" y="50"/>
                  <a:pt x="53" y="53"/>
                  <a:pt x="50" y="53"/>
                </a:cubicBezTo>
                <a:close/>
                <a:moveTo>
                  <a:pt x="75" y="53"/>
                </a:moveTo>
                <a:cubicBezTo>
                  <a:pt x="72" y="53"/>
                  <a:pt x="69" y="50"/>
                  <a:pt x="69" y="47"/>
                </a:cubicBezTo>
                <a:cubicBezTo>
                  <a:pt x="69" y="44"/>
                  <a:pt x="72" y="41"/>
                  <a:pt x="75" y="41"/>
                </a:cubicBezTo>
                <a:cubicBezTo>
                  <a:pt x="79" y="41"/>
                  <a:pt x="81" y="44"/>
                  <a:pt x="81" y="47"/>
                </a:cubicBezTo>
                <a:cubicBezTo>
                  <a:pt x="81" y="50"/>
                  <a:pt x="79" y="53"/>
                  <a:pt x="75" y="53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120" name="ïŝļiḓé">
            <a:extLst>
              <a:ext uri="{FF2B5EF4-FFF2-40B4-BE49-F238E27FC236}">
                <a16:creationId xmlns:a16="http://schemas.microsoft.com/office/drawing/2014/main" id="{C7C72A2B-311F-4E49-9B2D-D896CB8C0162}"/>
              </a:ext>
            </a:extLst>
          </p:cNvPr>
          <p:cNvSpPr>
            <a:spLocks/>
          </p:cNvSpPr>
          <p:nvPr/>
        </p:nvSpPr>
        <p:spPr bwMode="auto">
          <a:xfrm>
            <a:off x="9422688" y="1459991"/>
            <a:ext cx="160880" cy="154422"/>
          </a:xfrm>
          <a:custGeom>
            <a:avLst/>
            <a:gdLst>
              <a:gd name="T0" fmla="*/ 58 w 116"/>
              <a:gd name="T1" fmla="*/ 9 h 111"/>
              <a:gd name="T2" fmla="*/ 107 w 116"/>
              <a:gd name="T3" fmla="*/ 43 h 111"/>
              <a:gd name="T4" fmla="*/ 84 w 116"/>
              <a:gd name="T5" fmla="*/ 72 h 111"/>
              <a:gd name="T6" fmla="*/ 79 w 116"/>
              <a:gd name="T7" fmla="*/ 75 h 111"/>
              <a:gd name="T8" fmla="*/ 79 w 116"/>
              <a:gd name="T9" fmla="*/ 81 h 111"/>
              <a:gd name="T10" fmla="*/ 78 w 116"/>
              <a:gd name="T11" fmla="*/ 87 h 111"/>
              <a:gd name="T12" fmla="*/ 77 w 116"/>
              <a:gd name="T13" fmla="*/ 82 h 111"/>
              <a:gd name="T14" fmla="*/ 74 w 116"/>
              <a:gd name="T15" fmla="*/ 76 h 111"/>
              <a:gd name="T16" fmla="*/ 67 w 116"/>
              <a:gd name="T17" fmla="*/ 77 h 111"/>
              <a:gd name="T18" fmla="*/ 58 w 116"/>
              <a:gd name="T19" fmla="*/ 78 h 111"/>
              <a:gd name="T20" fmla="*/ 9 w 116"/>
              <a:gd name="T21" fmla="*/ 43 h 111"/>
              <a:gd name="T22" fmla="*/ 58 w 116"/>
              <a:gd name="T23" fmla="*/ 9 h 111"/>
              <a:gd name="T24" fmla="*/ 58 w 116"/>
              <a:gd name="T25" fmla="*/ 0 h 111"/>
              <a:gd name="T26" fmla="*/ 0 w 116"/>
              <a:gd name="T27" fmla="*/ 43 h 111"/>
              <a:gd name="T28" fmla="*/ 58 w 116"/>
              <a:gd name="T29" fmla="*/ 87 h 111"/>
              <a:gd name="T30" fmla="*/ 69 w 116"/>
              <a:gd name="T31" fmla="*/ 86 h 111"/>
              <a:gd name="T32" fmla="*/ 65 w 116"/>
              <a:gd name="T33" fmla="*/ 111 h 111"/>
              <a:gd name="T34" fmla="*/ 88 w 116"/>
              <a:gd name="T35" fmla="*/ 80 h 111"/>
              <a:gd name="T36" fmla="*/ 116 w 116"/>
              <a:gd name="T37" fmla="*/ 43 h 111"/>
              <a:gd name="T38" fmla="*/ 58 w 116"/>
              <a:gd name="T39" fmla="*/ 0 h 1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16" h="111">
                <a:moveTo>
                  <a:pt x="58" y="9"/>
                </a:moveTo>
                <a:cubicBezTo>
                  <a:pt x="85" y="9"/>
                  <a:pt x="107" y="25"/>
                  <a:pt x="107" y="43"/>
                </a:cubicBezTo>
                <a:cubicBezTo>
                  <a:pt x="107" y="55"/>
                  <a:pt x="99" y="66"/>
                  <a:pt x="84" y="72"/>
                </a:cubicBezTo>
                <a:cubicBezTo>
                  <a:pt x="79" y="75"/>
                  <a:pt x="79" y="75"/>
                  <a:pt x="79" y="75"/>
                </a:cubicBezTo>
                <a:cubicBezTo>
                  <a:pt x="79" y="81"/>
                  <a:pt x="79" y="81"/>
                  <a:pt x="79" y="81"/>
                </a:cubicBezTo>
                <a:cubicBezTo>
                  <a:pt x="79" y="83"/>
                  <a:pt x="79" y="85"/>
                  <a:pt x="78" y="87"/>
                </a:cubicBezTo>
                <a:cubicBezTo>
                  <a:pt x="78" y="85"/>
                  <a:pt x="77" y="84"/>
                  <a:pt x="77" y="82"/>
                </a:cubicBezTo>
                <a:cubicBezTo>
                  <a:pt x="74" y="76"/>
                  <a:pt x="74" y="76"/>
                  <a:pt x="74" y="76"/>
                </a:cubicBezTo>
                <a:cubicBezTo>
                  <a:pt x="67" y="77"/>
                  <a:pt x="67" y="77"/>
                  <a:pt x="67" y="77"/>
                </a:cubicBezTo>
                <a:cubicBezTo>
                  <a:pt x="64" y="77"/>
                  <a:pt x="61" y="78"/>
                  <a:pt x="58" y="78"/>
                </a:cubicBezTo>
                <a:cubicBezTo>
                  <a:pt x="31" y="78"/>
                  <a:pt x="9" y="62"/>
                  <a:pt x="9" y="43"/>
                </a:cubicBezTo>
                <a:cubicBezTo>
                  <a:pt x="9" y="25"/>
                  <a:pt x="31" y="9"/>
                  <a:pt x="58" y="9"/>
                </a:cubicBezTo>
                <a:moveTo>
                  <a:pt x="58" y="0"/>
                </a:moveTo>
                <a:cubicBezTo>
                  <a:pt x="26" y="0"/>
                  <a:pt x="0" y="20"/>
                  <a:pt x="0" y="43"/>
                </a:cubicBezTo>
                <a:cubicBezTo>
                  <a:pt x="0" y="67"/>
                  <a:pt x="26" y="87"/>
                  <a:pt x="58" y="87"/>
                </a:cubicBezTo>
                <a:cubicBezTo>
                  <a:pt x="62" y="87"/>
                  <a:pt x="65" y="86"/>
                  <a:pt x="69" y="86"/>
                </a:cubicBezTo>
                <a:cubicBezTo>
                  <a:pt x="73" y="97"/>
                  <a:pt x="65" y="111"/>
                  <a:pt x="65" y="111"/>
                </a:cubicBezTo>
                <a:cubicBezTo>
                  <a:pt x="86" y="104"/>
                  <a:pt x="88" y="88"/>
                  <a:pt x="88" y="80"/>
                </a:cubicBezTo>
                <a:cubicBezTo>
                  <a:pt x="105" y="73"/>
                  <a:pt x="116" y="59"/>
                  <a:pt x="116" y="43"/>
                </a:cubicBezTo>
                <a:cubicBezTo>
                  <a:pt x="116" y="20"/>
                  <a:pt x="90" y="0"/>
                  <a:pt x="58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121" name="ï$lïḍe">
            <a:extLst>
              <a:ext uri="{FF2B5EF4-FFF2-40B4-BE49-F238E27FC236}">
                <a16:creationId xmlns:a16="http://schemas.microsoft.com/office/drawing/2014/main" id="{CB0EE140-F669-46AD-B0CA-0FF6BB196A72}"/>
              </a:ext>
            </a:extLst>
          </p:cNvPr>
          <p:cNvSpPr>
            <a:spLocks/>
          </p:cNvSpPr>
          <p:nvPr/>
        </p:nvSpPr>
        <p:spPr bwMode="auto">
          <a:xfrm>
            <a:off x="9460266" y="1518706"/>
            <a:ext cx="16440" cy="16440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122" name="iśḻîḋê">
            <a:extLst>
              <a:ext uri="{FF2B5EF4-FFF2-40B4-BE49-F238E27FC236}">
                <a16:creationId xmlns:a16="http://schemas.microsoft.com/office/drawing/2014/main" id="{EDAA915E-A7C8-4982-80DB-89ADCC8B124D}"/>
              </a:ext>
            </a:extLst>
          </p:cNvPr>
          <p:cNvSpPr>
            <a:spLocks/>
          </p:cNvSpPr>
          <p:nvPr/>
        </p:nvSpPr>
        <p:spPr bwMode="auto">
          <a:xfrm>
            <a:off x="9494908" y="1518706"/>
            <a:ext cx="16440" cy="16440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123" name="iŝ1ïḓe">
            <a:extLst>
              <a:ext uri="{FF2B5EF4-FFF2-40B4-BE49-F238E27FC236}">
                <a16:creationId xmlns:a16="http://schemas.microsoft.com/office/drawing/2014/main" id="{A35DCB86-3DD1-49AB-AE9F-FCFE60CC14D5}"/>
              </a:ext>
            </a:extLst>
          </p:cNvPr>
          <p:cNvSpPr>
            <a:spLocks/>
          </p:cNvSpPr>
          <p:nvPr/>
        </p:nvSpPr>
        <p:spPr bwMode="auto">
          <a:xfrm>
            <a:off x="9529550" y="1518706"/>
            <a:ext cx="16440" cy="16440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124" name="îSḻiďe">
            <a:extLst>
              <a:ext uri="{FF2B5EF4-FFF2-40B4-BE49-F238E27FC236}">
                <a16:creationId xmlns:a16="http://schemas.microsoft.com/office/drawing/2014/main" id="{DCAC9EA2-50AF-4357-924C-1EB580615DB2}"/>
              </a:ext>
            </a:extLst>
          </p:cNvPr>
          <p:cNvSpPr>
            <a:spLocks/>
          </p:cNvSpPr>
          <p:nvPr/>
        </p:nvSpPr>
        <p:spPr bwMode="auto">
          <a:xfrm>
            <a:off x="9349293" y="1518706"/>
            <a:ext cx="141504" cy="133284"/>
          </a:xfrm>
          <a:custGeom>
            <a:avLst/>
            <a:gdLst>
              <a:gd name="T0" fmla="*/ 51 w 102"/>
              <a:gd name="T1" fmla="*/ 0 h 96"/>
              <a:gd name="T2" fmla="*/ 0 w 102"/>
              <a:gd name="T3" fmla="*/ 38 h 96"/>
              <a:gd name="T4" fmla="*/ 25 w 102"/>
              <a:gd name="T5" fmla="*/ 70 h 96"/>
              <a:gd name="T6" fmla="*/ 45 w 102"/>
              <a:gd name="T7" fmla="*/ 96 h 96"/>
              <a:gd name="T8" fmla="*/ 42 w 102"/>
              <a:gd name="T9" fmla="*/ 75 h 96"/>
              <a:gd name="T10" fmla="*/ 51 w 102"/>
              <a:gd name="T11" fmla="*/ 75 h 96"/>
              <a:gd name="T12" fmla="*/ 102 w 102"/>
              <a:gd name="T13" fmla="*/ 38 h 96"/>
              <a:gd name="T14" fmla="*/ 51 w 102"/>
              <a:gd name="T15" fmla="*/ 0 h 96"/>
              <a:gd name="T16" fmla="*/ 26 w 102"/>
              <a:gd name="T17" fmla="*/ 53 h 96"/>
              <a:gd name="T18" fmla="*/ 20 w 102"/>
              <a:gd name="T19" fmla="*/ 47 h 96"/>
              <a:gd name="T20" fmla="*/ 26 w 102"/>
              <a:gd name="T21" fmla="*/ 41 h 96"/>
              <a:gd name="T22" fmla="*/ 32 w 102"/>
              <a:gd name="T23" fmla="*/ 47 h 96"/>
              <a:gd name="T24" fmla="*/ 26 w 102"/>
              <a:gd name="T25" fmla="*/ 53 h 96"/>
              <a:gd name="T26" fmla="*/ 51 w 102"/>
              <a:gd name="T27" fmla="*/ 53 h 96"/>
              <a:gd name="T28" fmla="*/ 45 w 102"/>
              <a:gd name="T29" fmla="*/ 47 h 96"/>
              <a:gd name="T30" fmla="*/ 51 w 102"/>
              <a:gd name="T31" fmla="*/ 41 h 96"/>
              <a:gd name="T32" fmla="*/ 57 w 102"/>
              <a:gd name="T33" fmla="*/ 47 h 96"/>
              <a:gd name="T34" fmla="*/ 51 w 102"/>
              <a:gd name="T35" fmla="*/ 53 h 96"/>
              <a:gd name="T36" fmla="*/ 76 w 102"/>
              <a:gd name="T37" fmla="*/ 53 h 96"/>
              <a:gd name="T38" fmla="*/ 70 w 102"/>
              <a:gd name="T39" fmla="*/ 47 h 96"/>
              <a:gd name="T40" fmla="*/ 76 w 102"/>
              <a:gd name="T41" fmla="*/ 41 h 96"/>
              <a:gd name="T42" fmla="*/ 82 w 102"/>
              <a:gd name="T43" fmla="*/ 47 h 96"/>
              <a:gd name="T44" fmla="*/ 76 w 102"/>
              <a:gd name="T45" fmla="*/ 53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102" h="96">
                <a:moveTo>
                  <a:pt x="51" y="0"/>
                </a:moveTo>
                <a:cubicBezTo>
                  <a:pt x="23" y="0"/>
                  <a:pt x="0" y="17"/>
                  <a:pt x="0" y="38"/>
                </a:cubicBezTo>
                <a:cubicBezTo>
                  <a:pt x="0" y="51"/>
                  <a:pt x="10" y="63"/>
                  <a:pt x="25" y="70"/>
                </a:cubicBezTo>
                <a:cubicBezTo>
                  <a:pt x="25" y="76"/>
                  <a:pt x="26" y="90"/>
                  <a:pt x="45" y="96"/>
                </a:cubicBezTo>
                <a:cubicBezTo>
                  <a:pt x="45" y="96"/>
                  <a:pt x="38" y="84"/>
                  <a:pt x="42" y="75"/>
                </a:cubicBezTo>
                <a:cubicBezTo>
                  <a:pt x="45" y="75"/>
                  <a:pt x="48" y="75"/>
                  <a:pt x="51" y="75"/>
                </a:cubicBezTo>
                <a:cubicBezTo>
                  <a:pt x="79" y="75"/>
                  <a:pt x="102" y="58"/>
                  <a:pt x="102" y="38"/>
                </a:cubicBezTo>
                <a:cubicBezTo>
                  <a:pt x="102" y="17"/>
                  <a:pt x="79" y="0"/>
                  <a:pt x="51" y="0"/>
                </a:cubicBezTo>
                <a:close/>
                <a:moveTo>
                  <a:pt x="26" y="53"/>
                </a:moveTo>
                <a:cubicBezTo>
                  <a:pt x="23" y="53"/>
                  <a:pt x="20" y="50"/>
                  <a:pt x="20" y="47"/>
                </a:cubicBezTo>
                <a:cubicBezTo>
                  <a:pt x="20" y="44"/>
                  <a:pt x="23" y="41"/>
                  <a:pt x="26" y="41"/>
                </a:cubicBezTo>
                <a:cubicBezTo>
                  <a:pt x="29" y="41"/>
                  <a:pt x="32" y="44"/>
                  <a:pt x="32" y="47"/>
                </a:cubicBezTo>
                <a:cubicBezTo>
                  <a:pt x="32" y="50"/>
                  <a:pt x="29" y="53"/>
                  <a:pt x="26" y="53"/>
                </a:cubicBezTo>
                <a:close/>
                <a:moveTo>
                  <a:pt x="51" y="53"/>
                </a:moveTo>
                <a:cubicBezTo>
                  <a:pt x="48" y="53"/>
                  <a:pt x="45" y="50"/>
                  <a:pt x="45" y="47"/>
                </a:cubicBezTo>
                <a:cubicBezTo>
                  <a:pt x="45" y="44"/>
                  <a:pt x="48" y="41"/>
                  <a:pt x="51" y="41"/>
                </a:cubicBezTo>
                <a:cubicBezTo>
                  <a:pt x="54" y="41"/>
                  <a:pt x="57" y="44"/>
                  <a:pt x="57" y="47"/>
                </a:cubicBezTo>
                <a:cubicBezTo>
                  <a:pt x="57" y="50"/>
                  <a:pt x="54" y="53"/>
                  <a:pt x="51" y="53"/>
                </a:cubicBezTo>
                <a:close/>
                <a:moveTo>
                  <a:pt x="76" y="53"/>
                </a:moveTo>
                <a:cubicBezTo>
                  <a:pt x="73" y="53"/>
                  <a:pt x="70" y="50"/>
                  <a:pt x="70" y="47"/>
                </a:cubicBezTo>
                <a:cubicBezTo>
                  <a:pt x="70" y="44"/>
                  <a:pt x="73" y="41"/>
                  <a:pt x="76" y="41"/>
                </a:cubicBezTo>
                <a:cubicBezTo>
                  <a:pt x="79" y="41"/>
                  <a:pt x="82" y="44"/>
                  <a:pt x="82" y="47"/>
                </a:cubicBezTo>
                <a:cubicBezTo>
                  <a:pt x="82" y="50"/>
                  <a:pt x="79" y="53"/>
                  <a:pt x="76" y="53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125" name="íṥļíḍê">
            <a:extLst>
              <a:ext uri="{FF2B5EF4-FFF2-40B4-BE49-F238E27FC236}">
                <a16:creationId xmlns:a16="http://schemas.microsoft.com/office/drawing/2014/main" id="{242E8298-219D-45DE-8F12-E0D4B8000721}"/>
              </a:ext>
            </a:extLst>
          </p:cNvPr>
          <p:cNvSpPr>
            <a:spLocks/>
          </p:cNvSpPr>
          <p:nvPr/>
        </p:nvSpPr>
        <p:spPr bwMode="auto">
          <a:xfrm>
            <a:off x="8510250" y="2078264"/>
            <a:ext cx="161468" cy="152660"/>
          </a:xfrm>
          <a:custGeom>
            <a:avLst/>
            <a:gdLst>
              <a:gd name="T0" fmla="*/ 58 w 116"/>
              <a:gd name="T1" fmla="*/ 9 h 110"/>
              <a:gd name="T2" fmla="*/ 107 w 116"/>
              <a:gd name="T3" fmla="*/ 43 h 110"/>
              <a:gd name="T4" fmla="*/ 84 w 116"/>
              <a:gd name="T5" fmla="*/ 72 h 110"/>
              <a:gd name="T6" fmla="*/ 79 w 116"/>
              <a:gd name="T7" fmla="*/ 74 h 110"/>
              <a:gd name="T8" fmla="*/ 79 w 116"/>
              <a:gd name="T9" fmla="*/ 80 h 110"/>
              <a:gd name="T10" fmla="*/ 78 w 116"/>
              <a:gd name="T11" fmla="*/ 86 h 110"/>
              <a:gd name="T12" fmla="*/ 77 w 116"/>
              <a:gd name="T13" fmla="*/ 82 h 110"/>
              <a:gd name="T14" fmla="*/ 74 w 116"/>
              <a:gd name="T15" fmla="*/ 75 h 110"/>
              <a:gd name="T16" fmla="*/ 67 w 116"/>
              <a:gd name="T17" fmla="*/ 76 h 110"/>
              <a:gd name="T18" fmla="*/ 58 w 116"/>
              <a:gd name="T19" fmla="*/ 77 h 110"/>
              <a:gd name="T20" fmla="*/ 9 w 116"/>
              <a:gd name="T21" fmla="*/ 43 h 110"/>
              <a:gd name="T22" fmla="*/ 58 w 116"/>
              <a:gd name="T23" fmla="*/ 9 h 110"/>
              <a:gd name="T24" fmla="*/ 58 w 116"/>
              <a:gd name="T25" fmla="*/ 0 h 110"/>
              <a:gd name="T26" fmla="*/ 0 w 116"/>
              <a:gd name="T27" fmla="*/ 43 h 110"/>
              <a:gd name="T28" fmla="*/ 58 w 116"/>
              <a:gd name="T29" fmla="*/ 86 h 110"/>
              <a:gd name="T30" fmla="*/ 68 w 116"/>
              <a:gd name="T31" fmla="*/ 85 h 110"/>
              <a:gd name="T32" fmla="*/ 65 w 116"/>
              <a:gd name="T33" fmla="*/ 110 h 110"/>
              <a:gd name="T34" fmla="*/ 88 w 116"/>
              <a:gd name="T35" fmla="*/ 80 h 110"/>
              <a:gd name="T36" fmla="*/ 116 w 116"/>
              <a:gd name="T37" fmla="*/ 43 h 110"/>
              <a:gd name="T38" fmla="*/ 58 w 116"/>
              <a:gd name="T39" fmla="*/ 0 h 1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16" h="110">
                <a:moveTo>
                  <a:pt x="58" y="9"/>
                </a:moveTo>
                <a:cubicBezTo>
                  <a:pt x="85" y="9"/>
                  <a:pt x="107" y="24"/>
                  <a:pt x="107" y="43"/>
                </a:cubicBezTo>
                <a:cubicBezTo>
                  <a:pt x="107" y="54"/>
                  <a:pt x="98" y="65"/>
                  <a:pt x="84" y="72"/>
                </a:cubicBezTo>
                <a:cubicBezTo>
                  <a:pt x="79" y="74"/>
                  <a:pt x="79" y="74"/>
                  <a:pt x="79" y="74"/>
                </a:cubicBezTo>
                <a:cubicBezTo>
                  <a:pt x="79" y="80"/>
                  <a:pt x="79" y="80"/>
                  <a:pt x="79" y="80"/>
                </a:cubicBezTo>
                <a:cubicBezTo>
                  <a:pt x="79" y="82"/>
                  <a:pt x="79" y="84"/>
                  <a:pt x="78" y="86"/>
                </a:cubicBezTo>
                <a:cubicBezTo>
                  <a:pt x="78" y="85"/>
                  <a:pt x="77" y="83"/>
                  <a:pt x="77" y="82"/>
                </a:cubicBezTo>
                <a:cubicBezTo>
                  <a:pt x="74" y="75"/>
                  <a:pt x="74" y="75"/>
                  <a:pt x="74" y="75"/>
                </a:cubicBezTo>
                <a:cubicBezTo>
                  <a:pt x="67" y="76"/>
                  <a:pt x="67" y="76"/>
                  <a:pt x="67" y="76"/>
                </a:cubicBezTo>
                <a:cubicBezTo>
                  <a:pt x="64" y="77"/>
                  <a:pt x="61" y="77"/>
                  <a:pt x="58" y="77"/>
                </a:cubicBezTo>
                <a:cubicBezTo>
                  <a:pt x="31" y="77"/>
                  <a:pt x="9" y="62"/>
                  <a:pt x="9" y="43"/>
                </a:cubicBezTo>
                <a:cubicBezTo>
                  <a:pt x="9" y="24"/>
                  <a:pt x="31" y="9"/>
                  <a:pt x="58" y="9"/>
                </a:cubicBezTo>
                <a:moveTo>
                  <a:pt x="58" y="0"/>
                </a:moveTo>
                <a:cubicBezTo>
                  <a:pt x="26" y="0"/>
                  <a:pt x="0" y="19"/>
                  <a:pt x="0" y="43"/>
                </a:cubicBezTo>
                <a:cubicBezTo>
                  <a:pt x="0" y="67"/>
                  <a:pt x="26" y="86"/>
                  <a:pt x="58" y="86"/>
                </a:cubicBezTo>
                <a:cubicBezTo>
                  <a:pt x="61" y="86"/>
                  <a:pt x="65" y="86"/>
                  <a:pt x="68" y="85"/>
                </a:cubicBezTo>
                <a:cubicBezTo>
                  <a:pt x="73" y="96"/>
                  <a:pt x="65" y="110"/>
                  <a:pt x="65" y="110"/>
                </a:cubicBezTo>
                <a:cubicBezTo>
                  <a:pt x="86" y="104"/>
                  <a:pt x="88" y="87"/>
                  <a:pt x="88" y="80"/>
                </a:cubicBezTo>
                <a:cubicBezTo>
                  <a:pt x="105" y="72"/>
                  <a:pt x="116" y="59"/>
                  <a:pt x="116" y="43"/>
                </a:cubicBezTo>
                <a:cubicBezTo>
                  <a:pt x="116" y="19"/>
                  <a:pt x="90" y="0"/>
                  <a:pt x="58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126" name="i$ḷïḓé">
            <a:extLst>
              <a:ext uri="{FF2B5EF4-FFF2-40B4-BE49-F238E27FC236}">
                <a16:creationId xmlns:a16="http://schemas.microsoft.com/office/drawing/2014/main" id="{69C8BA9C-C8BA-412A-BFF7-0D8B1E6E31FF}"/>
              </a:ext>
            </a:extLst>
          </p:cNvPr>
          <p:cNvSpPr>
            <a:spLocks/>
          </p:cNvSpPr>
          <p:nvPr/>
        </p:nvSpPr>
        <p:spPr bwMode="auto">
          <a:xfrm>
            <a:off x="8547828" y="2135218"/>
            <a:ext cx="17028" cy="16440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127" name="iṩḷíḓè">
            <a:extLst>
              <a:ext uri="{FF2B5EF4-FFF2-40B4-BE49-F238E27FC236}">
                <a16:creationId xmlns:a16="http://schemas.microsoft.com/office/drawing/2014/main" id="{A3A30CE2-8074-4A48-9248-71D74876D610}"/>
              </a:ext>
            </a:extLst>
          </p:cNvPr>
          <p:cNvSpPr>
            <a:spLocks/>
          </p:cNvSpPr>
          <p:nvPr/>
        </p:nvSpPr>
        <p:spPr bwMode="auto">
          <a:xfrm>
            <a:off x="8582470" y="2135218"/>
            <a:ext cx="17028" cy="16440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128" name="iśḷîde">
            <a:extLst>
              <a:ext uri="{FF2B5EF4-FFF2-40B4-BE49-F238E27FC236}">
                <a16:creationId xmlns:a16="http://schemas.microsoft.com/office/drawing/2014/main" id="{487041CF-8EEA-4142-BECC-75B333D162F2}"/>
              </a:ext>
            </a:extLst>
          </p:cNvPr>
          <p:cNvSpPr>
            <a:spLocks/>
          </p:cNvSpPr>
          <p:nvPr/>
        </p:nvSpPr>
        <p:spPr bwMode="auto">
          <a:xfrm>
            <a:off x="8617699" y="2135218"/>
            <a:ext cx="16440" cy="16440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129" name="işḻîḑé">
            <a:extLst>
              <a:ext uri="{FF2B5EF4-FFF2-40B4-BE49-F238E27FC236}">
                <a16:creationId xmlns:a16="http://schemas.microsoft.com/office/drawing/2014/main" id="{BDB4FEB6-83C4-4A2B-88C8-39033441B37A}"/>
              </a:ext>
            </a:extLst>
          </p:cNvPr>
          <p:cNvSpPr>
            <a:spLocks/>
          </p:cNvSpPr>
          <p:nvPr/>
        </p:nvSpPr>
        <p:spPr bwMode="auto">
          <a:xfrm>
            <a:off x="8436855" y="2135218"/>
            <a:ext cx="140330" cy="134458"/>
          </a:xfrm>
          <a:custGeom>
            <a:avLst/>
            <a:gdLst>
              <a:gd name="T0" fmla="*/ 51 w 101"/>
              <a:gd name="T1" fmla="*/ 0 h 97"/>
              <a:gd name="T2" fmla="*/ 0 w 101"/>
              <a:gd name="T3" fmla="*/ 38 h 97"/>
              <a:gd name="T4" fmla="*/ 25 w 101"/>
              <a:gd name="T5" fmla="*/ 70 h 97"/>
              <a:gd name="T6" fmla="*/ 45 w 101"/>
              <a:gd name="T7" fmla="*/ 97 h 97"/>
              <a:gd name="T8" fmla="*/ 42 w 101"/>
              <a:gd name="T9" fmla="*/ 75 h 97"/>
              <a:gd name="T10" fmla="*/ 51 w 101"/>
              <a:gd name="T11" fmla="*/ 76 h 97"/>
              <a:gd name="T12" fmla="*/ 101 w 101"/>
              <a:gd name="T13" fmla="*/ 38 h 97"/>
              <a:gd name="T14" fmla="*/ 51 w 101"/>
              <a:gd name="T15" fmla="*/ 0 h 97"/>
              <a:gd name="T16" fmla="*/ 26 w 101"/>
              <a:gd name="T17" fmla="*/ 53 h 97"/>
              <a:gd name="T18" fmla="*/ 20 w 101"/>
              <a:gd name="T19" fmla="*/ 48 h 97"/>
              <a:gd name="T20" fmla="*/ 26 w 101"/>
              <a:gd name="T21" fmla="*/ 42 h 97"/>
              <a:gd name="T22" fmla="*/ 32 w 101"/>
              <a:gd name="T23" fmla="*/ 48 h 97"/>
              <a:gd name="T24" fmla="*/ 26 w 101"/>
              <a:gd name="T25" fmla="*/ 53 h 97"/>
              <a:gd name="T26" fmla="*/ 51 w 101"/>
              <a:gd name="T27" fmla="*/ 53 h 97"/>
              <a:gd name="T28" fmla="*/ 45 w 101"/>
              <a:gd name="T29" fmla="*/ 48 h 97"/>
              <a:gd name="T30" fmla="*/ 51 w 101"/>
              <a:gd name="T31" fmla="*/ 42 h 97"/>
              <a:gd name="T32" fmla="*/ 57 w 101"/>
              <a:gd name="T33" fmla="*/ 48 h 97"/>
              <a:gd name="T34" fmla="*/ 51 w 101"/>
              <a:gd name="T35" fmla="*/ 53 h 97"/>
              <a:gd name="T36" fmla="*/ 76 w 101"/>
              <a:gd name="T37" fmla="*/ 53 h 97"/>
              <a:gd name="T38" fmla="*/ 70 w 101"/>
              <a:gd name="T39" fmla="*/ 48 h 97"/>
              <a:gd name="T40" fmla="*/ 76 w 101"/>
              <a:gd name="T41" fmla="*/ 42 h 97"/>
              <a:gd name="T42" fmla="*/ 82 w 101"/>
              <a:gd name="T43" fmla="*/ 48 h 97"/>
              <a:gd name="T44" fmla="*/ 76 w 101"/>
              <a:gd name="T45" fmla="*/ 53 h 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101" h="97">
                <a:moveTo>
                  <a:pt x="51" y="0"/>
                </a:moveTo>
                <a:cubicBezTo>
                  <a:pt x="23" y="0"/>
                  <a:pt x="0" y="17"/>
                  <a:pt x="0" y="38"/>
                </a:cubicBezTo>
                <a:cubicBezTo>
                  <a:pt x="0" y="52"/>
                  <a:pt x="10" y="64"/>
                  <a:pt x="25" y="70"/>
                </a:cubicBezTo>
                <a:cubicBezTo>
                  <a:pt x="25" y="77"/>
                  <a:pt x="26" y="91"/>
                  <a:pt x="45" y="97"/>
                </a:cubicBezTo>
                <a:cubicBezTo>
                  <a:pt x="45" y="97"/>
                  <a:pt x="38" y="85"/>
                  <a:pt x="42" y="75"/>
                </a:cubicBezTo>
                <a:cubicBezTo>
                  <a:pt x="45" y="75"/>
                  <a:pt x="48" y="76"/>
                  <a:pt x="51" y="76"/>
                </a:cubicBezTo>
                <a:cubicBezTo>
                  <a:pt x="79" y="76"/>
                  <a:pt x="101" y="59"/>
                  <a:pt x="101" y="38"/>
                </a:cubicBezTo>
                <a:cubicBezTo>
                  <a:pt x="101" y="17"/>
                  <a:pt x="79" y="0"/>
                  <a:pt x="51" y="0"/>
                </a:cubicBezTo>
                <a:close/>
                <a:moveTo>
                  <a:pt x="26" y="53"/>
                </a:moveTo>
                <a:cubicBezTo>
                  <a:pt x="23" y="53"/>
                  <a:pt x="20" y="51"/>
                  <a:pt x="20" y="48"/>
                </a:cubicBezTo>
                <a:cubicBezTo>
                  <a:pt x="20" y="44"/>
                  <a:pt x="23" y="42"/>
                  <a:pt x="26" y="42"/>
                </a:cubicBezTo>
                <a:cubicBezTo>
                  <a:pt x="29" y="42"/>
                  <a:pt x="32" y="44"/>
                  <a:pt x="32" y="48"/>
                </a:cubicBezTo>
                <a:cubicBezTo>
                  <a:pt x="32" y="51"/>
                  <a:pt x="29" y="53"/>
                  <a:pt x="26" y="53"/>
                </a:cubicBezTo>
                <a:close/>
                <a:moveTo>
                  <a:pt x="51" y="53"/>
                </a:moveTo>
                <a:cubicBezTo>
                  <a:pt x="48" y="53"/>
                  <a:pt x="45" y="51"/>
                  <a:pt x="45" y="48"/>
                </a:cubicBezTo>
                <a:cubicBezTo>
                  <a:pt x="45" y="44"/>
                  <a:pt x="48" y="42"/>
                  <a:pt x="51" y="42"/>
                </a:cubicBezTo>
                <a:cubicBezTo>
                  <a:pt x="54" y="42"/>
                  <a:pt x="57" y="44"/>
                  <a:pt x="57" y="48"/>
                </a:cubicBezTo>
                <a:cubicBezTo>
                  <a:pt x="57" y="51"/>
                  <a:pt x="54" y="53"/>
                  <a:pt x="51" y="53"/>
                </a:cubicBezTo>
                <a:close/>
                <a:moveTo>
                  <a:pt x="76" y="53"/>
                </a:moveTo>
                <a:cubicBezTo>
                  <a:pt x="73" y="53"/>
                  <a:pt x="70" y="51"/>
                  <a:pt x="70" y="48"/>
                </a:cubicBezTo>
                <a:cubicBezTo>
                  <a:pt x="70" y="44"/>
                  <a:pt x="73" y="42"/>
                  <a:pt x="76" y="42"/>
                </a:cubicBezTo>
                <a:cubicBezTo>
                  <a:pt x="79" y="42"/>
                  <a:pt x="82" y="44"/>
                  <a:pt x="82" y="48"/>
                </a:cubicBezTo>
                <a:cubicBezTo>
                  <a:pt x="82" y="51"/>
                  <a:pt x="79" y="53"/>
                  <a:pt x="76" y="53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130" name="îṣľiḍê">
            <a:extLst>
              <a:ext uri="{FF2B5EF4-FFF2-40B4-BE49-F238E27FC236}">
                <a16:creationId xmlns:a16="http://schemas.microsoft.com/office/drawing/2014/main" id="{DB25DD01-BACE-4122-BB0A-CB8F415D4D32}"/>
              </a:ext>
            </a:extLst>
          </p:cNvPr>
          <p:cNvSpPr>
            <a:spLocks/>
          </p:cNvSpPr>
          <p:nvPr/>
        </p:nvSpPr>
        <p:spPr bwMode="auto">
          <a:xfrm>
            <a:off x="8665846" y="3195619"/>
            <a:ext cx="161468" cy="152660"/>
          </a:xfrm>
          <a:custGeom>
            <a:avLst/>
            <a:gdLst>
              <a:gd name="T0" fmla="*/ 58 w 116"/>
              <a:gd name="T1" fmla="*/ 9 h 110"/>
              <a:gd name="T2" fmla="*/ 107 w 116"/>
              <a:gd name="T3" fmla="*/ 43 h 110"/>
              <a:gd name="T4" fmla="*/ 84 w 116"/>
              <a:gd name="T5" fmla="*/ 72 h 110"/>
              <a:gd name="T6" fmla="*/ 79 w 116"/>
              <a:gd name="T7" fmla="*/ 74 h 110"/>
              <a:gd name="T8" fmla="*/ 79 w 116"/>
              <a:gd name="T9" fmla="*/ 80 h 110"/>
              <a:gd name="T10" fmla="*/ 78 w 116"/>
              <a:gd name="T11" fmla="*/ 86 h 110"/>
              <a:gd name="T12" fmla="*/ 77 w 116"/>
              <a:gd name="T13" fmla="*/ 82 h 110"/>
              <a:gd name="T14" fmla="*/ 74 w 116"/>
              <a:gd name="T15" fmla="*/ 76 h 110"/>
              <a:gd name="T16" fmla="*/ 67 w 116"/>
              <a:gd name="T17" fmla="*/ 77 h 110"/>
              <a:gd name="T18" fmla="*/ 58 w 116"/>
              <a:gd name="T19" fmla="*/ 77 h 110"/>
              <a:gd name="T20" fmla="*/ 9 w 116"/>
              <a:gd name="T21" fmla="*/ 43 h 110"/>
              <a:gd name="T22" fmla="*/ 58 w 116"/>
              <a:gd name="T23" fmla="*/ 9 h 110"/>
              <a:gd name="T24" fmla="*/ 58 w 116"/>
              <a:gd name="T25" fmla="*/ 0 h 110"/>
              <a:gd name="T26" fmla="*/ 0 w 116"/>
              <a:gd name="T27" fmla="*/ 43 h 110"/>
              <a:gd name="T28" fmla="*/ 58 w 116"/>
              <a:gd name="T29" fmla="*/ 86 h 110"/>
              <a:gd name="T30" fmla="*/ 69 w 116"/>
              <a:gd name="T31" fmla="*/ 86 h 110"/>
              <a:gd name="T32" fmla="*/ 65 w 116"/>
              <a:gd name="T33" fmla="*/ 110 h 110"/>
              <a:gd name="T34" fmla="*/ 88 w 116"/>
              <a:gd name="T35" fmla="*/ 80 h 110"/>
              <a:gd name="T36" fmla="*/ 116 w 116"/>
              <a:gd name="T37" fmla="*/ 43 h 110"/>
              <a:gd name="T38" fmla="*/ 58 w 116"/>
              <a:gd name="T39" fmla="*/ 0 h 1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16" h="110">
                <a:moveTo>
                  <a:pt x="58" y="9"/>
                </a:moveTo>
                <a:cubicBezTo>
                  <a:pt x="85" y="9"/>
                  <a:pt x="107" y="24"/>
                  <a:pt x="107" y="43"/>
                </a:cubicBezTo>
                <a:cubicBezTo>
                  <a:pt x="107" y="55"/>
                  <a:pt x="99" y="65"/>
                  <a:pt x="84" y="72"/>
                </a:cubicBezTo>
                <a:cubicBezTo>
                  <a:pt x="79" y="74"/>
                  <a:pt x="79" y="74"/>
                  <a:pt x="79" y="74"/>
                </a:cubicBezTo>
                <a:cubicBezTo>
                  <a:pt x="79" y="80"/>
                  <a:pt x="79" y="80"/>
                  <a:pt x="79" y="80"/>
                </a:cubicBezTo>
                <a:cubicBezTo>
                  <a:pt x="79" y="82"/>
                  <a:pt x="79" y="84"/>
                  <a:pt x="78" y="86"/>
                </a:cubicBezTo>
                <a:cubicBezTo>
                  <a:pt x="78" y="85"/>
                  <a:pt x="78" y="83"/>
                  <a:pt x="77" y="82"/>
                </a:cubicBezTo>
                <a:cubicBezTo>
                  <a:pt x="74" y="76"/>
                  <a:pt x="74" y="76"/>
                  <a:pt x="74" y="76"/>
                </a:cubicBezTo>
                <a:cubicBezTo>
                  <a:pt x="67" y="77"/>
                  <a:pt x="67" y="77"/>
                  <a:pt x="67" y="77"/>
                </a:cubicBezTo>
                <a:cubicBezTo>
                  <a:pt x="64" y="77"/>
                  <a:pt x="61" y="77"/>
                  <a:pt x="58" y="77"/>
                </a:cubicBezTo>
                <a:cubicBezTo>
                  <a:pt x="31" y="77"/>
                  <a:pt x="9" y="62"/>
                  <a:pt x="9" y="43"/>
                </a:cubicBezTo>
                <a:cubicBezTo>
                  <a:pt x="9" y="24"/>
                  <a:pt x="31" y="9"/>
                  <a:pt x="58" y="9"/>
                </a:cubicBezTo>
                <a:moveTo>
                  <a:pt x="58" y="0"/>
                </a:moveTo>
                <a:cubicBezTo>
                  <a:pt x="26" y="0"/>
                  <a:pt x="0" y="19"/>
                  <a:pt x="0" y="43"/>
                </a:cubicBezTo>
                <a:cubicBezTo>
                  <a:pt x="0" y="67"/>
                  <a:pt x="26" y="86"/>
                  <a:pt x="58" y="86"/>
                </a:cubicBezTo>
                <a:cubicBezTo>
                  <a:pt x="62" y="86"/>
                  <a:pt x="65" y="86"/>
                  <a:pt x="69" y="86"/>
                </a:cubicBezTo>
                <a:cubicBezTo>
                  <a:pt x="73" y="97"/>
                  <a:pt x="65" y="110"/>
                  <a:pt x="65" y="110"/>
                </a:cubicBezTo>
                <a:cubicBezTo>
                  <a:pt x="86" y="104"/>
                  <a:pt x="88" y="87"/>
                  <a:pt x="88" y="80"/>
                </a:cubicBezTo>
                <a:cubicBezTo>
                  <a:pt x="105" y="72"/>
                  <a:pt x="116" y="59"/>
                  <a:pt x="116" y="43"/>
                </a:cubicBezTo>
                <a:cubicBezTo>
                  <a:pt x="116" y="19"/>
                  <a:pt x="90" y="0"/>
                  <a:pt x="58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131" name="íšḻïḍe">
            <a:extLst>
              <a:ext uri="{FF2B5EF4-FFF2-40B4-BE49-F238E27FC236}">
                <a16:creationId xmlns:a16="http://schemas.microsoft.com/office/drawing/2014/main" id="{2B7D3B97-CBF4-4F38-9E3F-2C19B9F20B61}"/>
              </a:ext>
            </a:extLst>
          </p:cNvPr>
          <p:cNvSpPr>
            <a:spLocks/>
          </p:cNvSpPr>
          <p:nvPr/>
        </p:nvSpPr>
        <p:spPr bwMode="auto">
          <a:xfrm>
            <a:off x="8703424" y="3252573"/>
            <a:ext cx="17028" cy="17028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132" name="iśḻîḓè">
            <a:extLst>
              <a:ext uri="{FF2B5EF4-FFF2-40B4-BE49-F238E27FC236}">
                <a16:creationId xmlns:a16="http://schemas.microsoft.com/office/drawing/2014/main" id="{7C898721-6BC9-4B2C-82E0-DB61F3F2B707}"/>
              </a:ext>
            </a:extLst>
          </p:cNvPr>
          <p:cNvSpPr>
            <a:spLocks/>
          </p:cNvSpPr>
          <p:nvPr/>
        </p:nvSpPr>
        <p:spPr bwMode="auto">
          <a:xfrm>
            <a:off x="8738066" y="3252573"/>
            <a:ext cx="17028" cy="17028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133" name="íSľîdé">
            <a:extLst>
              <a:ext uri="{FF2B5EF4-FFF2-40B4-BE49-F238E27FC236}">
                <a16:creationId xmlns:a16="http://schemas.microsoft.com/office/drawing/2014/main" id="{4E36BA46-DA89-4F93-BD90-1D06DD30960E}"/>
              </a:ext>
            </a:extLst>
          </p:cNvPr>
          <p:cNvSpPr>
            <a:spLocks/>
          </p:cNvSpPr>
          <p:nvPr/>
        </p:nvSpPr>
        <p:spPr bwMode="auto">
          <a:xfrm>
            <a:off x="8772708" y="3252573"/>
            <a:ext cx="17028" cy="17028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134" name="íṧļîḋè">
            <a:extLst>
              <a:ext uri="{FF2B5EF4-FFF2-40B4-BE49-F238E27FC236}">
                <a16:creationId xmlns:a16="http://schemas.microsoft.com/office/drawing/2014/main" id="{46405206-57D7-4DF3-92E0-932443071ADE}"/>
              </a:ext>
            </a:extLst>
          </p:cNvPr>
          <p:cNvSpPr>
            <a:spLocks/>
          </p:cNvSpPr>
          <p:nvPr/>
        </p:nvSpPr>
        <p:spPr bwMode="auto">
          <a:xfrm>
            <a:off x="8592452" y="3252573"/>
            <a:ext cx="141504" cy="135045"/>
          </a:xfrm>
          <a:custGeom>
            <a:avLst/>
            <a:gdLst>
              <a:gd name="T0" fmla="*/ 51 w 102"/>
              <a:gd name="T1" fmla="*/ 0 h 97"/>
              <a:gd name="T2" fmla="*/ 0 w 102"/>
              <a:gd name="T3" fmla="*/ 38 h 97"/>
              <a:gd name="T4" fmla="*/ 25 w 102"/>
              <a:gd name="T5" fmla="*/ 70 h 97"/>
              <a:gd name="T6" fmla="*/ 45 w 102"/>
              <a:gd name="T7" fmla="*/ 97 h 97"/>
              <a:gd name="T8" fmla="*/ 42 w 102"/>
              <a:gd name="T9" fmla="*/ 75 h 97"/>
              <a:gd name="T10" fmla="*/ 51 w 102"/>
              <a:gd name="T11" fmla="*/ 76 h 97"/>
              <a:gd name="T12" fmla="*/ 102 w 102"/>
              <a:gd name="T13" fmla="*/ 38 h 97"/>
              <a:gd name="T14" fmla="*/ 51 w 102"/>
              <a:gd name="T15" fmla="*/ 0 h 97"/>
              <a:gd name="T16" fmla="*/ 26 w 102"/>
              <a:gd name="T17" fmla="*/ 54 h 97"/>
              <a:gd name="T18" fmla="*/ 20 w 102"/>
              <a:gd name="T19" fmla="*/ 48 h 97"/>
              <a:gd name="T20" fmla="*/ 26 w 102"/>
              <a:gd name="T21" fmla="*/ 42 h 97"/>
              <a:gd name="T22" fmla="*/ 32 w 102"/>
              <a:gd name="T23" fmla="*/ 48 h 97"/>
              <a:gd name="T24" fmla="*/ 26 w 102"/>
              <a:gd name="T25" fmla="*/ 54 h 97"/>
              <a:gd name="T26" fmla="*/ 51 w 102"/>
              <a:gd name="T27" fmla="*/ 54 h 97"/>
              <a:gd name="T28" fmla="*/ 45 w 102"/>
              <a:gd name="T29" fmla="*/ 48 h 97"/>
              <a:gd name="T30" fmla="*/ 51 w 102"/>
              <a:gd name="T31" fmla="*/ 42 h 97"/>
              <a:gd name="T32" fmla="*/ 57 w 102"/>
              <a:gd name="T33" fmla="*/ 48 h 97"/>
              <a:gd name="T34" fmla="*/ 51 w 102"/>
              <a:gd name="T35" fmla="*/ 54 h 97"/>
              <a:gd name="T36" fmla="*/ 76 w 102"/>
              <a:gd name="T37" fmla="*/ 54 h 97"/>
              <a:gd name="T38" fmla="*/ 70 w 102"/>
              <a:gd name="T39" fmla="*/ 48 h 97"/>
              <a:gd name="T40" fmla="*/ 76 w 102"/>
              <a:gd name="T41" fmla="*/ 42 h 97"/>
              <a:gd name="T42" fmla="*/ 82 w 102"/>
              <a:gd name="T43" fmla="*/ 48 h 97"/>
              <a:gd name="T44" fmla="*/ 76 w 102"/>
              <a:gd name="T45" fmla="*/ 54 h 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102" h="97">
                <a:moveTo>
                  <a:pt x="51" y="0"/>
                </a:moveTo>
                <a:cubicBezTo>
                  <a:pt x="23" y="0"/>
                  <a:pt x="0" y="17"/>
                  <a:pt x="0" y="38"/>
                </a:cubicBezTo>
                <a:cubicBezTo>
                  <a:pt x="0" y="52"/>
                  <a:pt x="10" y="64"/>
                  <a:pt x="25" y="70"/>
                </a:cubicBezTo>
                <a:cubicBezTo>
                  <a:pt x="25" y="77"/>
                  <a:pt x="27" y="91"/>
                  <a:pt x="45" y="97"/>
                </a:cubicBezTo>
                <a:cubicBezTo>
                  <a:pt x="45" y="97"/>
                  <a:pt x="38" y="85"/>
                  <a:pt x="42" y="75"/>
                </a:cubicBezTo>
                <a:cubicBezTo>
                  <a:pt x="45" y="76"/>
                  <a:pt x="48" y="76"/>
                  <a:pt x="51" y="76"/>
                </a:cubicBezTo>
                <a:cubicBezTo>
                  <a:pt x="79" y="76"/>
                  <a:pt x="102" y="59"/>
                  <a:pt x="102" y="38"/>
                </a:cubicBezTo>
                <a:cubicBezTo>
                  <a:pt x="102" y="17"/>
                  <a:pt x="79" y="0"/>
                  <a:pt x="51" y="0"/>
                </a:cubicBezTo>
                <a:close/>
                <a:moveTo>
                  <a:pt x="26" y="54"/>
                </a:moveTo>
                <a:cubicBezTo>
                  <a:pt x="23" y="54"/>
                  <a:pt x="20" y="51"/>
                  <a:pt x="20" y="48"/>
                </a:cubicBezTo>
                <a:cubicBezTo>
                  <a:pt x="20" y="44"/>
                  <a:pt x="23" y="42"/>
                  <a:pt x="26" y="42"/>
                </a:cubicBezTo>
                <a:cubicBezTo>
                  <a:pt x="29" y="42"/>
                  <a:pt x="32" y="44"/>
                  <a:pt x="32" y="48"/>
                </a:cubicBezTo>
                <a:cubicBezTo>
                  <a:pt x="32" y="51"/>
                  <a:pt x="29" y="54"/>
                  <a:pt x="26" y="54"/>
                </a:cubicBezTo>
                <a:close/>
                <a:moveTo>
                  <a:pt x="51" y="54"/>
                </a:moveTo>
                <a:cubicBezTo>
                  <a:pt x="48" y="54"/>
                  <a:pt x="45" y="51"/>
                  <a:pt x="45" y="48"/>
                </a:cubicBezTo>
                <a:cubicBezTo>
                  <a:pt x="45" y="44"/>
                  <a:pt x="48" y="42"/>
                  <a:pt x="51" y="42"/>
                </a:cubicBezTo>
                <a:cubicBezTo>
                  <a:pt x="54" y="42"/>
                  <a:pt x="57" y="44"/>
                  <a:pt x="57" y="48"/>
                </a:cubicBezTo>
                <a:cubicBezTo>
                  <a:pt x="57" y="51"/>
                  <a:pt x="54" y="54"/>
                  <a:pt x="51" y="54"/>
                </a:cubicBezTo>
                <a:close/>
                <a:moveTo>
                  <a:pt x="76" y="54"/>
                </a:moveTo>
                <a:cubicBezTo>
                  <a:pt x="73" y="54"/>
                  <a:pt x="70" y="51"/>
                  <a:pt x="70" y="48"/>
                </a:cubicBezTo>
                <a:cubicBezTo>
                  <a:pt x="70" y="44"/>
                  <a:pt x="73" y="42"/>
                  <a:pt x="76" y="42"/>
                </a:cubicBezTo>
                <a:cubicBezTo>
                  <a:pt x="79" y="42"/>
                  <a:pt x="82" y="44"/>
                  <a:pt x="82" y="48"/>
                </a:cubicBezTo>
                <a:cubicBezTo>
                  <a:pt x="82" y="51"/>
                  <a:pt x="79" y="54"/>
                  <a:pt x="76" y="5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135" name="ïṣḷide">
            <a:extLst>
              <a:ext uri="{FF2B5EF4-FFF2-40B4-BE49-F238E27FC236}">
                <a16:creationId xmlns:a16="http://schemas.microsoft.com/office/drawing/2014/main" id="{9BFDC204-EB8A-47CD-A72F-E5E8217EC267}"/>
              </a:ext>
            </a:extLst>
          </p:cNvPr>
          <p:cNvSpPr>
            <a:spLocks/>
          </p:cNvSpPr>
          <p:nvPr/>
        </p:nvSpPr>
        <p:spPr bwMode="auto">
          <a:xfrm>
            <a:off x="10102613" y="2466960"/>
            <a:ext cx="218421" cy="244256"/>
          </a:xfrm>
          <a:custGeom>
            <a:avLst/>
            <a:gdLst>
              <a:gd name="T0" fmla="*/ 4 w 157"/>
              <a:gd name="T1" fmla="*/ 140 h 176"/>
              <a:gd name="T2" fmla="*/ 12 w 157"/>
              <a:gd name="T3" fmla="*/ 140 h 176"/>
              <a:gd name="T4" fmla="*/ 63 w 157"/>
              <a:gd name="T5" fmla="*/ 173 h 176"/>
              <a:gd name="T6" fmla="*/ 67 w 157"/>
              <a:gd name="T7" fmla="*/ 176 h 176"/>
              <a:gd name="T8" fmla="*/ 91 w 157"/>
              <a:gd name="T9" fmla="*/ 176 h 176"/>
              <a:gd name="T10" fmla="*/ 96 w 157"/>
              <a:gd name="T11" fmla="*/ 171 h 176"/>
              <a:gd name="T12" fmla="*/ 96 w 157"/>
              <a:gd name="T13" fmla="*/ 166 h 176"/>
              <a:gd name="T14" fmla="*/ 91 w 157"/>
              <a:gd name="T15" fmla="*/ 160 h 176"/>
              <a:gd name="T16" fmla="*/ 67 w 157"/>
              <a:gd name="T17" fmla="*/ 160 h 176"/>
              <a:gd name="T18" fmla="*/ 62 w 157"/>
              <a:gd name="T19" fmla="*/ 165 h 176"/>
              <a:gd name="T20" fmla="*/ 20 w 157"/>
              <a:gd name="T21" fmla="*/ 140 h 176"/>
              <a:gd name="T22" fmla="*/ 31 w 157"/>
              <a:gd name="T23" fmla="*/ 140 h 176"/>
              <a:gd name="T24" fmla="*/ 35 w 157"/>
              <a:gd name="T25" fmla="*/ 136 h 176"/>
              <a:gd name="T26" fmla="*/ 35 w 157"/>
              <a:gd name="T27" fmla="*/ 81 h 176"/>
              <a:gd name="T28" fmla="*/ 31 w 157"/>
              <a:gd name="T29" fmla="*/ 77 h 176"/>
              <a:gd name="T30" fmla="*/ 16 w 157"/>
              <a:gd name="T31" fmla="*/ 77 h 176"/>
              <a:gd name="T32" fmla="*/ 79 w 157"/>
              <a:gd name="T33" fmla="*/ 15 h 176"/>
              <a:gd name="T34" fmla="*/ 141 w 157"/>
              <a:gd name="T35" fmla="*/ 77 h 176"/>
              <a:gd name="T36" fmla="*/ 126 w 157"/>
              <a:gd name="T37" fmla="*/ 77 h 176"/>
              <a:gd name="T38" fmla="*/ 122 w 157"/>
              <a:gd name="T39" fmla="*/ 81 h 176"/>
              <a:gd name="T40" fmla="*/ 122 w 157"/>
              <a:gd name="T41" fmla="*/ 136 h 176"/>
              <a:gd name="T42" fmla="*/ 126 w 157"/>
              <a:gd name="T43" fmla="*/ 140 h 176"/>
              <a:gd name="T44" fmla="*/ 153 w 157"/>
              <a:gd name="T45" fmla="*/ 140 h 176"/>
              <a:gd name="T46" fmla="*/ 157 w 157"/>
              <a:gd name="T47" fmla="*/ 136 h 176"/>
              <a:gd name="T48" fmla="*/ 157 w 157"/>
              <a:gd name="T49" fmla="*/ 81 h 176"/>
              <a:gd name="T50" fmla="*/ 156 w 157"/>
              <a:gd name="T51" fmla="*/ 78 h 176"/>
              <a:gd name="T52" fmla="*/ 79 w 157"/>
              <a:gd name="T53" fmla="*/ 0 h 176"/>
              <a:gd name="T54" fmla="*/ 1 w 157"/>
              <a:gd name="T55" fmla="*/ 78 h 176"/>
              <a:gd name="T56" fmla="*/ 0 w 157"/>
              <a:gd name="T57" fmla="*/ 81 h 176"/>
              <a:gd name="T58" fmla="*/ 0 w 157"/>
              <a:gd name="T59" fmla="*/ 136 h 176"/>
              <a:gd name="T60" fmla="*/ 4 w 157"/>
              <a:gd name="T61" fmla="*/ 140 h 176"/>
              <a:gd name="T62" fmla="*/ 4 w 157"/>
              <a:gd name="T63" fmla="*/ 140 h 176"/>
              <a:gd name="T64" fmla="*/ 4 w 157"/>
              <a:gd name="T65" fmla="*/ 140 h 1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57" h="176">
                <a:moveTo>
                  <a:pt x="4" y="140"/>
                </a:moveTo>
                <a:cubicBezTo>
                  <a:pt x="12" y="140"/>
                  <a:pt x="12" y="140"/>
                  <a:pt x="12" y="140"/>
                </a:cubicBezTo>
                <a:cubicBezTo>
                  <a:pt x="10" y="169"/>
                  <a:pt x="40" y="174"/>
                  <a:pt x="63" y="173"/>
                </a:cubicBezTo>
                <a:cubicBezTo>
                  <a:pt x="64" y="175"/>
                  <a:pt x="65" y="176"/>
                  <a:pt x="67" y="176"/>
                </a:cubicBezTo>
                <a:cubicBezTo>
                  <a:pt x="91" y="176"/>
                  <a:pt x="91" y="176"/>
                  <a:pt x="91" y="176"/>
                </a:cubicBezTo>
                <a:cubicBezTo>
                  <a:pt x="94" y="176"/>
                  <a:pt x="96" y="174"/>
                  <a:pt x="96" y="171"/>
                </a:cubicBezTo>
                <a:cubicBezTo>
                  <a:pt x="96" y="166"/>
                  <a:pt x="96" y="166"/>
                  <a:pt x="96" y="166"/>
                </a:cubicBezTo>
                <a:cubicBezTo>
                  <a:pt x="96" y="163"/>
                  <a:pt x="94" y="160"/>
                  <a:pt x="91" y="160"/>
                </a:cubicBezTo>
                <a:cubicBezTo>
                  <a:pt x="67" y="160"/>
                  <a:pt x="67" y="160"/>
                  <a:pt x="67" y="160"/>
                </a:cubicBezTo>
                <a:cubicBezTo>
                  <a:pt x="65" y="160"/>
                  <a:pt x="63" y="162"/>
                  <a:pt x="62" y="165"/>
                </a:cubicBezTo>
                <a:cubicBezTo>
                  <a:pt x="44" y="166"/>
                  <a:pt x="20" y="163"/>
                  <a:pt x="20" y="140"/>
                </a:cubicBezTo>
                <a:cubicBezTo>
                  <a:pt x="31" y="140"/>
                  <a:pt x="31" y="140"/>
                  <a:pt x="31" y="140"/>
                </a:cubicBezTo>
                <a:cubicBezTo>
                  <a:pt x="33" y="140"/>
                  <a:pt x="35" y="138"/>
                  <a:pt x="35" y="136"/>
                </a:cubicBezTo>
                <a:cubicBezTo>
                  <a:pt x="35" y="81"/>
                  <a:pt x="35" y="81"/>
                  <a:pt x="35" y="81"/>
                </a:cubicBezTo>
                <a:cubicBezTo>
                  <a:pt x="35" y="79"/>
                  <a:pt x="33" y="77"/>
                  <a:pt x="31" y="77"/>
                </a:cubicBezTo>
                <a:cubicBezTo>
                  <a:pt x="16" y="77"/>
                  <a:pt x="16" y="77"/>
                  <a:pt x="16" y="77"/>
                </a:cubicBezTo>
                <a:cubicBezTo>
                  <a:pt x="18" y="43"/>
                  <a:pt x="46" y="15"/>
                  <a:pt x="79" y="15"/>
                </a:cubicBezTo>
                <a:cubicBezTo>
                  <a:pt x="111" y="15"/>
                  <a:pt x="139" y="43"/>
                  <a:pt x="141" y="77"/>
                </a:cubicBezTo>
                <a:cubicBezTo>
                  <a:pt x="126" y="77"/>
                  <a:pt x="126" y="77"/>
                  <a:pt x="126" y="77"/>
                </a:cubicBezTo>
                <a:cubicBezTo>
                  <a:pt x="124" y="77"/>
                  <a:pt x="122" y="79"/>
                  <a:pt x="122" y="81"/>
                </a:cubicBezTo>
                <a:cubicBezTo>
                  <a:pt x="122" y="136"/>
                  <a:pt x="122" y="136"/>
                  <a:pt x="122" y="136"/>
                </a:cubicBezTo>
                <a:cubicBezTo>
                  <a:pt x="122" y="138"/>
                  <a:pt x="124" y="140"/>
                  <a:pt x="126" y="140"/>
                </a:cubicBezTo>
                <a:cubicBezTo>
                  <a:pt x="153" y="140"/>
                  <a:pt x="153" y="140"/>
                  <a:pt x="153" y="140"/>
                </a:cubicBezTo>
                <a:cubicBezTo>
                  <a:pt x="155" y="140"/>
                  <a:pt x="157" y="138"/>
                  <a:pt x="157" y="136"/>
                </a:cubicBezTo>
                <a:cubicBezTo>
                  <a:pt x="157" y="81"/>
                  <a:pt x="157" y="81"/>
                  <a:pt x="157" y="81"/>
                </a:cubicBezTo>
                <a:cubicBezTo>
                  <a:pt x="157" y="80"/>
                  <a:pt x="157" y="79"/>
                  <a:pt x="156" y="78"/>
                </a:cubicBezTo>
                <a:cubicBezTo>
                  <a:pt x="155" y="36"/>
                  <a:pt x="120" y="0"/>
                  <a:pt x="79" y="0"/>
                </a:cubicBezTo>
                <a:cubicBezTo>
                  <a:pt x="38" y="0"/>
                  <a:pt x="3" y="36"/>
                  <a:pt x="1" y="78"/>
                </a:cubicBezTo>
                <a:cubicBezTo>
                  <a:pt x="0" y="78"/>
                  <a:pt x="0" y="80"/>
                  <a:pt x="0" y="81"/>
                </a:cubicBezTo>
                <a:cubicBezTo>
                  <a:pt x="0" y="136"/>
                  <a:pt x="0" y="136"/>
                  <a:pt x="0" y="136"/>
                </a:cubicBezTo>
                <a:cubicBezTo>
                  <a:pt x="0" y="138"/>
                  <a:pt x="2" y="140"/>
                  <a:pt x="4" y="140"/>
                </a:cubicBezTo>
                <a:close/>
                <a:moveTo>
                  <a:pt x="4" y="140"/>
                </a:moveTo>
                <a:cubicBezTo>
                  <a:pt x="4" y="140"/>
                  <a:pt x="4" y="140"/>
                  <a:pt x="4" y="14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136" name="iSḻïdê">
            <a:extLst>
              <a:ext uri="{FF2B5EF4-FFF2-40B4-BE49-F238E27FC236}">
                <a16:creationId xmlns:a16="http://schemas.microsoft.com/office/drawing/2014/main" id="{A3E9C3F3-384C-4776-B3B8-2F43B7471781}"/>
              </a:ext>
            </a:extLst>
          </p:cNvPr>
          <p:cNvSpPr>
            <a:spLocks/>
          </p:cNvSpPr>
          <p:nvPr/>
        </p:nvSpPr>
        <p:spPr bwMode="auto">
          <a:xfrm>
            <a:off x="7808014" y="2773455"/>
            <a:ext cx="219596" cy="243082"/>
          </a:xfrm>
          <a:custGeom>
            <a:avLst/>
            <a:gdLst>
              <a:gd name="T0" fmla="*/ 5 w 158"/>
              <a:gd name="T1" fmla="*/ 140 h 175"/>
              <a:gd name="T2" fmla="*/ 12 w 158"/>
              <a:gd name="T3" fmla="*/ 140 h 175"/>
              <a:gd name="T4" fmla="*/ 63 w 158"/>
              <a:gd name="T5" fmla="*/ 173 h 175"/>
              <a:gd name="T6" fmla="*/ 68 w 158"/>
              <a:gd name="T7" fmla="*/ 175 h 175"/>
              <a:gd name="T8" fmla="*/ 91 w 158"/>
              <a:gd name="T9" fmla="*/ 175 h 175"/>
              <a:gd name="T10" fmla="*/ 97 w 158"/>
              <a:gd name="T11" fmla="*/ 170 h 175"/>
              <a:gd name="T12" fmla="*/ 97 w 158"/>
              <a:gd name="T13" fmla="*/ 165 h 175"/>
              <a:gd name="T14" fmla="*/ 91 w 158"/>
              <a:gd name="T15" fmla="*/ 160 h 175"/>
              <a:gd name="T16" fmla="*/ 68 w 158"/>
              <a:gd name="T17" fmla="*/ 160 h 175"/>
              <a:gd name="T18" fmla="*/ 63 w 158"/>
              <a:gd name="T19" fmla="*/ 164 h 175"/>
              <a:gd name="T20" fmla="*/ 21 w 158"/>
              <a:gd name="T21" fmla="*/ 140 h 175"/>
              <a:gd name="T22" fmla="*/ 31 w 158"/>
              <a:gd name="T23" fmla="*/ 140 h 175"/>
              <a:gd name="T24" fmla="*/ 36 w 158"/>
              <a:gd name="T25" fmla="*/ 135 h 175"/>
              <a:gd name="T26" fmla="*/ 36 w 158"/>
              <a:gd name="T27" fmla="*/ 81 h 175"/>
              <a:gd name="T28" fmla="*/ 31 w 158"/>
              <a:gd name="T29" fmla="*/ 76 h 175"/>
              <a:gd name="T30" fmla="*/ 17 w 158"/>
              <a:gd name="T31" fmla="*/ 76 h 175"/>
              <a:gd name="T32" fmla="*/ 79 w 158"/>
              <a:gd name="T33" fmla="*/ 15 h 175"/>
              <a:gd name="T34" fmla="*/ 142 w 158"/>
              <a:gd name="T35" fmla="*/ 76 h 175"/>
              <a:gd name="T36" fmla="*/ 127 w 158"/>
              <a:gd name="T37" fmla="*/ 76 h 175"/>
              <a:gd name="T38" fmla="*/ 122 w 158"/>
              <a:gd name="T39" fmla="*/ 81 h 175"/>
              <a:gd name="T40" fmla="*/ 122 w 158"/>
              <a:gd name="T41" fmla="*/ 135 h 175"/>
              <a:gd name="T42" fmla="*/ 127 w 158"/>
              <a:gd name="T43" fmla="*/ 140 h 175"/>
              <a:gd name="T44" fmla="*/ 153 w 158"/>
              <a:gd name="T45" fmla="*/ 140 h 175"/>
              <a:gd name="T46" fmla="*/ 158 w 158"/>
              <a:gd name="T47" fmla="*/ 135 h 175"/>
              <a:gd name="T48" fmla="*/ 158 w 158"/>
              <a:gd name="T49" fmla="*/ 81 h 175"/>
              <a:gd name="T50" fmla="*/ 157 w 158"/>
              <a:gd name="T51" fmla="*/ 78 h 175"/>
              <a:gd name="T52" fmla="*/ 79 w 158"/>
              <a:gd name="T53" fmla="*/ 0 h 175"/>
              <a:gd name="T54" fmla="*/ 2 w 158"/>
              <a:gd name="T55" fmla="*/ 77 h 175"/>
              <a:gd name="T56" fmla="*/ 0 w 158"/>
              <a:gd name="T57" fmla="*/ 81 h 175"/>
              <a:gd name="T58" fmla="*/ 0 w 158"/>
              <a:gd name="T59" fmla="*/ 135 h 175"/>
              <a:gd name="T60" fmla="*/ 5 w 158"/>
              <a:gd name="T61" fmla="*/ 140 h 175"/>
              <a:gd name="T62" fmla="*/ 5 w 158"/>
              <a:gd name="T63" fmla="*/ 140 h 175"/>
              <a:gd name="T64" fmla="*/ 5 w 158"/>
              <a:gd name="T65" fmla="*/ 140 h 1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58" h="175">
                <a:moveTo>
                  <a:pt x="5" y="140"/>
                </a:moveTo>
                <a:cubicBezTo>
                  <a:pt x="12" y="140"/>
                  <a:pt x="12" y="140"/>
                  <a:pt x="12" y="140"/>
                </a:cubicBezTo>
                <a:cubicBezTo>
                  <a:pt x="11" y="168"/>
                  <a:pt x="40" y="174"/>
                  <a:pt x="63" y="173"/>
                </a:cubicBezTo>
                <a:cubicBezTo>
                  <a:pt x="64" y="174"/>
                  <a:pt x="66" y="175"/>
                  <a:pt x="68" y="175"/>
                </a:cubicBezTo>
                <a:cubicBezTo>
                  <a:pt x="91" y="175"/>
                  <a:pt x="91" y="175"/>
                  <a:pt x="91" y="175"/>
                </a:cubicBezTo>
                <a:cubicBezTo>
                  <a:pt x="94" y="175"/>
                  <a:pt x="97" y="173"/>
                  <a:pt x="97" y="170"/>
                </a:cubicBezTo>
                <a:cubicBezTo>
                  <a:pt x="97" y="165"/>
                  <a:pt x="97" y="165"/>
                  <a:pt x="97" y="165"/>
                </a:cubicBezTo>
                <a:cubicBezTo>
                  <a:pt x="97" y="162"/>
                  <a:pt x="94" y="160"/>
                  <a:pt x="91" y="160"/>
                </a:cubicBezTo>
                <a:cubicBezTo>
                  <a:pt x="68" y="160"/>
                  <a:pt x="68" y="160"/>
                  <a:pt x="68" y="160"/>
                </a:cubicBezTo>
                <a:cubicBezTo>
                  <a:pt x="65" y="160"/>
                  <a:pt x="63" y="162"/>
                  <a:pt x="63" y="164"/>
                </a:cubicBezTo>
                <a:cubicBezTo>
                  <a:pt x="44" y="165"/>
                  <a:pt x="20" y="162"/>
                  <a:pt x="21" y="140"/>
                </a:cubicBezTo>
                <a:cubicBezTo>
                  <a:pt x="31" y="140"/>
                  <a:pt x="31" y="140"/>
                  <a:pt x="31" y="140"/>
                </a:cubicBezTo>
                <a:cubicBezTo>
                  <a:pt x="34" y="140"/>
                  <a:pt x="36" y="138"/>
                  <a:pt x="36" y="135"/>
                </a:cubicBezTo>
                <a:cubicBezTo>
                  <a:pt x="36" y="81"/>
                  <a:pt x="36" y="81"/>
                  <a:pt x="36" y="81"/>
                </a:cubicBezTo>
                <a:cubicBezTo>
                  <a:pt x="36" y="78"/>
                  <a:pt x="34" y="76"/>
                  <a:pt x="31" y="76"/>
                </a:cubicBezTo>
                <a:cubicBezTo>
                  <a:pt x="17" y="76"/>
                  <a:pt x="17" y="76"/>
                  <a:pt x="17" y="76"/>
                </a:cubicBezTo>
                <a:cubicBezTo>
                  <a:pt x="19" y="43"/>
                  <a:pt x="47" y="15"/>
                  <a:pt x="79" y="15"/>
                </a:cubicBezTo>
                <a:cubicBezTo>
                  <a:pt x="112" y="15"/>
                  <a:pt x="140" y="43"/>
                  <a:pt x="142" y="76"/>
                </a:cubicBezTo>
                <a:cubicBezTo>
                  <a:pt x="127" y="76"/>
                  <a:pt x="127" y="76"/>
                  <a:pt x="127" y="76"/>
                </a:cubicBezTo>
                <a:cubicBezTo>
                  <a:pt x="124" y="76"/>
                  <a:pt x="122" y="78"/>
                  <a:pt x="122" y="81"/>
                </a:cubicBezTo>
                <a:cubicBezTo>
                  <a:pt x="122" y="135"/>
                  <a:pt x="122" y="135"/>
                  <a:pt x="122" y="135"/>
                </a:cubicBezTo>
                <a:cubicBezTo>
                  <a:pt x="122" y="138"/>
                  <a:pt x="124" y="140"/>
                  <a:pt x="127" y="140"/>
                </a:cubicBezTo>
                <a:cubicBezTo>
                  <a:pt x="153" y="140"/>
                  <a:pt x="153" y="140"/>
                  <a:pt x="153" y="140"/>
                </a:cubicBezTo>
                <a:cubicBezTo>
                  <a:pt x="156" y="140"/>
                  <a:pt x="158" y="138"/>
                  <a:pt x="158" y="135"/>
                </a:cubicBezTo>
                <a:cubicBezTo>
                  <a:pt x="158" y="81"/>
                  <a:pt x="158" y="81"/>
                  <a:pt x="158" y="81"/>
                </a:cubicBezTo>
                <a:cubicBezTo>
                  <a:pt x="158" y="80"/>
                  <a:pt x="157" y="79"/>
                  <a:pt x="157" y="78"/>
                </a:cubicBezTo>
                <a:cubicBezTo>
                  <a:pt x="156" y="35"/>
                  <a:pt x="121" y="0"/>
                  <a:pt x="79" y="0"/>
                </a:cubicBezTo>
                <a:cubicBezTo>
                  <a:pt x="38" y="0"/>
                  <a:pt x="3" y="35"/>
                  <a:pt x="2" y="77"/>
                </a:cubicBezTo>
                <a:cubicBezTo>
                  <a:pt x="1" y="78"/>
                  <a:pt x="0" y="79"/>
                  <a:pt x="0" y="81"/>
                </a:cubicBezTo>
                <a:cubicBezTo>
                  <a:pt x="0" y="135"/>
                  <a:pt x="0" y="135"/>
                  <a:pt x="0" y="135"/>
                </a:cubicBezTo>
                <a:cubicBezTo>
                  <a:pt x="0" y="138"/>
                  <a:pt x="2" y="140"/>
                  <a:pt x="5" y="140"/>
                </a:cubicBezTo>
                <a:close/>
                <a:moveTo>
                  <a:pt x="5" y="140"/>
                </a:moveTo>
                <a:cubicBezTo>
                  <a:pt x="5" y="140"/>
                  <a:pt x="5" y="140"/>
                  <a:pt x="5" y="14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137" name="í$ḻîḍê">
            <a:extLst>
              <a:ext uri="{FF2B5EF4-FFF2-40B4-BE49-F238E27FC236}">
                <a16:creationId xmlns:a16="http://schemas.microsoft.com/office/drawing/2014/main" id="{7665F4DA-BB9E-46A4-8D84-9C0F9749CF61}"/>
              </a:ext>
            </a:extLst>
          </p:cNvPr>
          <p:cNvSpPr>
            <a:spLocks/>
          </p:cNvSpPr>
          <p:nvPr/>
        </p:nvSpPr>
        <p:spPr bwMode="auto">
          <a:xfrm>
            <a:off x="10065622" y="2200393"/>
            <a:ext cx="207852" cy="174972"/>
          </a:xfrm>
          <a:custGeom>
            <a:avLst/>
            <a:gdLst>
              <a:gd name="T0" fmla="*/ 91 w 150"/>
              <a:gd name="T1" fmla="*/ 22 h 126"/>
              <a:gd name="T2" fmla="*/ 103 w 150"/>
              <a:gd name="T3" fmla="*/ 42 h 126"/>
              <a:gd name="T4" fmla="*/ 113 w 150"/>
              <a:gd name="T5" fmla="*/ 44 h 126"/>
              <a:gd name="T6" fmla="*/ 135 w 150"/>
              <a:gd name="T7" fmla="*/ 22 h 126"/>
              <a:gd name="T8" fmla="*/ 113 w 150"/>
              <a:gd name="T9" fmla="*/ 0 h 126"/>
              <a:gd name="T10" fmla="*/ 91 w 150"/>
              <a:gd name="T11" fmla="*/ 22 h 126"/>
              <a:gd name="T12" fmla="*/ 76 w 150"/>
              <a:gd name="T13" fmla="*/ 67 h 126"/>
              <a:gd name="T14" fmla="*/ 98 w 150"/>
              <a:gd name="T15" fmla="*/ 45 h 126"/>
              <a:gd name="T16" fmla="*/ 76 w 150"/>
              <a:gd name="T17" fmla="*/ 23 h 126"/>
              <a:gd name="T18" fmla="*/ 54 w 150"/>
              <a:gd name="T19" fmla="*/ 45 h 126"/>
              <a:gd name="T20" fmla="*/ 76 w 150"/>
              <a:gd name="T21" fmla="*/ 67 h 126"/>
              <a:gd name="T22" fmla="*/ 86 w 150"/>
              <a:gd name="T23" fmla="*/ 68 h 126"/>
              <a:gd name="T24" fmla="*/ 67 w 150"/>
              <a:gd name="T25" fmla="*/ 68 h 126"/>
              <a:gd name="T26" fmla="*/ 39 w 150"/>
              <a:gd name="T27" fmla="*/ 96 h 126"/>
              <a:gd name="T28" fmla="*/ 39 w 150"/>
              <a:gd name="T29" fmla="*/ 119 h 126"/>
              <a:gd name="T30" fmla="*/ 39 w 150"/>
              <a:gd name="T31" fmla="*/ 119 h 126"/>
              <a:gd name="T32" fmla="*/ 40 w 150"/>
              <a:gd name="T33" fmla="*/ 120 h 126"/>
              <a:gd name="T34" fmla="*/ 79 w 150"/>
              <a:gd name="T35" fmla="*/ 126 h 126"/>
              <a:gd name="T36" fmla="*/ 112 w 150"/>
              <a:gd name="T37" fmla="*/ 120 h 126"/>
              <a:gd name="T38" fmla="*/ 114 w 150"/>
              <a:gd name="T39" fmla="*/ 119 h 126"/>
              <a:gd name="T40" fmla="*/ 114 w 150"/>
              <a:gd name="T41" fmla="*/ 119 h 126"/>
              <a:gd name="T42" fmla="*/ 114 w 150"/>
              <a:gd name="T43" fmla="*/ 96 h 126"/>
              <a:gd name="T44" fmla="*/ 86 w 150"/>
              <a:gd name="T45" fmla="*/ 68 h 126"/>
              <a:gd name="T46" fmla="*/ 122 w 150"/>
              <a:gd name="T47" fmla="*/ 46 h 126"/>
              <a:gd name="T48" fmla="*/ 103 w 150"/>
              <a:gd name="T49" fmla="*/ 46 h 126"/>
              <a:gd name="T50" fmla="*/ 95 w 150"/>
              <a:gd name="T51" fmla="*/ 64 h 126"/>
              <a:gd name="T52" fmla="*/ 119 w 150"/>
              <a:gd name="T53" fmla="*/ 96 h 126"/>
              <a:gd name="T54" fmla="*/ 119 w 150"/>
              <a:gd name="T55" fmla="*/ 103 h 126"/>
              <a:gd name="T56" fmla="*/ 148 w 150"/>
              <a:gd name="T57" fmla="*/ 97 h 126"/>
              <a:gd name="T58" fmla="*/ 150 w 150"/>
              <a:gd name="T59" fmla="*/ 96 h 126"/>
              <a:gd name="T60" fmla="*/ 150 w 150"/>
              <a:gd name="T61" fmla="*/ 96 h 126"/>
              <a:gd name="T62" fmla="*/ 150 w 150"/>
              <a:gd name="T63" fmla="*/ 74 h 126"/>
              <a:gd name="T64" fmla="*/ 122 w 150"/>
              <a:gd name="T65" fmla="*/ 46 h 126"/>
              <a:gd name="T66" fmla="*/ 38 w 150"/>
              <a:gd name="T67" fmla="*/ 44 h 126"/>
              <a:gd name="T68" fmla="*/ 49 w 150"/>
              <a:gd name="T69" fmla="*/ 41 h 126"/>
              <a:gd name="T70" fmla="*/ 60 w 150"/>
              <a:gd name="T71" fmla="*/ 23 h 126"/>
              <a:gd name="T72" fmla="*/ 60 w 150"/>
              <a:gd name="T73" fmla="*/ 22 h 126"/>
              <a:gd name="T74" fmla="*/ 38 w 150"/>
              <a:gd name="T75" fmla="*/ 0 h 126"/>
              <a:gd name="T76" fmla="*/ 16 w 150"/>
              <a:gd name="T77" fmla="*/ 22 h 126"/>
              <a:gd name="T78" fmla="*/ 38 w 150"/>
              <a:gd name="T79" fmla="*/ 44 h 126"/>
              <a:gd name="T80" fmla="*/ 57 w 150"/>
              <a:gd name="T81" fmla="*/ 64 h 126"/>
              <a:gd name="T82" fmla="*/ 49 w 150"/>
              <a:gd name="T83" fmla="*/ 46 h 126"/>
              <a:gd name="T84" fmla="*/ 47 w 150"/>
              <a:gd name="T85" fmla="*/ 46 h 126"/>
              <a:gd name="T86" fmla="*/ 28 w 150"/>
              <a:gd name="T87" fmla="*/ 46 h 126"/>
              <a:gd name="T88" fmla="*/ 0 w 150"/>
              <a:gd name="T89" fmla="*/ 74 h 126"/>
              <a:gd name="T90" fmla="*/ 0 w 150"/>
              <a:gd name="T91" fmla="*/ 96 h 126"/>
              <a:gd name="T92" fmla="*/ 0 w 150"/>
              <a:gd name="T93" fmla="*/ 97 h 126"/>
              <a:gd name="T94" fmla="*/ 2 w 150"/>
              <a:gd name="T95" fmla="*/ 97 h 126"/>
              <a:gd name="T96" fmla="*/ 34 w 150"/>
              <a:gd name="T97" fmla="*/ 103 h 126"/>
              <a:gd name="T98" fmla="*/ 34 w 150"/>
              <a:gd name="T99" fmla="*/ 96 h 126"/>
              <a:gd name="T100" fmla="*/ 57 w 150"/>
              <a:gd name="T101" fmla="*/ 64 h 126"/>
              <a:gd name="T102" fmla="*/ 57 w 150"/>
              <a:gd name="T103" fmla="*/ 64 h 126"/>
              <a:gd name="T104" fmla="*/ 57 w 150"/>
              <a:gd name="T105" fmla="*/ 64 h 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50" h="126">
                <a:moveTo>
                  <a:pt x="91" y="22"/>
                </a:moveTo>
                <a:cubicBezTo>
                  <a:pt x="98" y="26"/>
                  <a:pt x="102" y="33"/>
                  <a:pt x="103" y="42"/>
                </a:cubicBezTo>
                <a:cubicBezTo>
                  <a:pt x="106" y="43"/>
                  <a:pt x="109" y="44"/>
                  <a:pt x="113" y="44"/>
                </a:cubicBezTo>
                <a:cubicBezTo>
                  <a:pt x="125" y="44"/>
                  <a:pt x="135" y="34"/>
                  <a:pt x="135" y="22"/>
                </a:cubicBezTo>
                <a:cubicBezTo>
                  <a:pt x="135" y="10"/>
                  <a:pt x="125" y="0"/>
                  <a:pt x="113" y="0"/>
                </a:cubicBezTo>
                <a:cubicBezTo>
                  <a:pt x="101" y="0"/>
                  <a:pt x="91" y="10"/>
                  <a:pt x="91" y="22"/>
                </a:cubicBezTo>
                <a:close/>
                <a:moveTo>
                  <a:pt x="76" y="67"/>
                </a:moveTo>
                <a:cubicBezTo>
                  <a:pt x="88" y="67"/>
                  <a:pt x="98" y="57"/>
                  <a:pt x="98" y="45"/>
                </a:cubicBezTo>
                <a:cubicBezTo>
                  <a:pt x="98" y="33"/>
                  <a:pt x="88" y="23"/>
                  <a:pt x="76" y="23"/>
                </a:cubicBezTo>
                <a:cubicBezTo>
                  <a:pt x="64" y="23"/>
                  <a:pt x="54" y="33"/>
                  <a:pt x="54" y="45"/>
                </a:cubicBezTo>
                <a:cubicBezTo>
                  <a:pt x="54" y="57"/>
                  <a:pt x="64" y="67"/>
                  <a:pt x="76" y="67"/>
                </a:cubicBezTo>
                <a:close/>
                <a:moveTo>
                  <a:pt x="86" y="68"/>
                </a:moveTo>
                <a:cubicBezTo>
                  <a:pt x="67" y="68"/>
                  <a:pt x="67" y="68"/>
                  <a:pt x="67" y="68"/>
                </a:cubicBezTo>
                <a:cubicBezTo>
                  <a:pt x="51" y="68"/>
                  <a:pt x="39" y="81"/>
                  <a:pt x="39" y="96"/>
                </a:cubicBezTo>
                <a:cubicBezTo>
                  <a:pt x="39" y="119"/>
                  <a:pt x="39" y="119"/>
                  <a:pt x="39" y="119"/>
                </a:cubicBezTo>
                <a:cubicBezTo>
                  <a:pt x="39" y="119"/>
                  <a:pt x="39" y="119"/>
                  <a:pt x="39" y="119"/>
                </a:cubicBezTo>
                <a:cubicBezTo>
                  <a:pt x="40" y="120"/>
                  <a:pt x="40" y="120"/>
                  <a:pt x="40" y="120"/>
                </a:cubicBezTo>
                <a:cubicBezTo>
                  <a:pt x="55" y="125"/>
                  <a:pt x="68" y="126"/>
                  <a:pt x="79" y="126"/>
                </a:cubicBezTo>
                <a:cubicBezTo>
                  <a:pt x="99" y="126"/>
                  <a:pt x="111" y="120"/>
                  <a:pt x="112" y="120"/>
                </a:cubicBezTo>
                <a:cubicBezTo>
                  <a:pt x="114" y="119"/>
                  <a:pt x="114" y="119"/>
                  <a:pt x="114" y="119"/>
                </a:cubicBezTo>
                <a:cubicBezTo>
                  <a:pt x="114" y="119"/>
                  <a:pt x="114" y="119"/>
                  <a:pt x="114" y="119"/>
                </a:cubicBezTo>
                <a:cubicBezTo>
                  <a:pt x="114" y="96"/>
                  <a:pt x="114" y="96"/>
                  <a:pt x="114" y="96"/>
                </a:cubicBezTo>
                <a:cubicBezTo>
                  <a:pt x="114" y="81"/>
                  <a:pt x="101" y="68"/>
                  <a:pt x="86" y="68"/>
                </a:cubicBezTo>
                <a:close/>
                <a:moveTo>
                  <a:pt x="122" y="46"/>
                </a:moveTo>
                <a:cubicBezTo>
                  <a:pt x="103" y="46"/>
                  <a:pt x="103" y="46"/>
                  <a:pt x="103" y="46"/>
                </a:cubicBezTo>
                <a:cubicBezTo>
                  <a:pt x="103" y="53"/>
                  <a:pt x="100" y="60"/>
                  <a:pt x="95" y="64"/>
                </a:cubicBezTo>
                <a:cubicBezTo>
                  <a:pt x="109" y="68"/>
                  <a:pt x="119" y="81"/>
                  <a:pt x="119" y="96"/>
                </a:cubicBezTo>
                <a:cubicBezTo>
                  <a:pt x="119" y="103"/>
                  <a:pt x="119" y="103"/>
                  <a:pt x="119" y="103"/>
                </a:cubicBezTo>
                <a:cubicBezTo>
                  <a:pt x="137" y="103"/>
                  <a:pt x="148" y="98"/>
                  <a:pt x="148" y="97"/>
                </a:cubicBezTo>
                <a:cubicBezTo>
                  <a:pt x="150" y="96"/>
                  <a:pt x="150" y="96"/>
                  <a:pt x="150" y="96"/>
                </a:cubicBezTo>
                <a:cubicBezTo>
                  <a:pt x="150" y="96"/>
                  <a:pt x="150" y="96"/>
                  <a:pt x="150" y="96"/>
                </a:cubicBezTo>
                <a:cubicBezTo>
                  <a:pt x="150" y="74"/>
                  <a:pt x="150" y="74"/>
                  <a:pt x="150" y="74"/>
                </a:cubicBezTo>
                <a:cubicBezTo>
                  <a:pt x="150" y="58"/>
                  <a:pt x="137" y="46"/>
                  <a:pt x="122" y="46"/>
                </a:cubicBezTo>
                <a:close/>
                <a:moveTo>
                  <a:pt x="38" y="44"/>
                </a:moveTo>
                <a:cubicBezTo>
                  <a:pt x="42" y="44"/>
                  <a:pt x="46" y="43"/>
                  <a:pt x="49" y="41"/>
                </a:cubicBezTo>
                <a:cubicBezTo>
                  <a:pt x="50" y="34"/>
                  <a:pt x="54" y="27"/>
                  <a:pt x="60" y="23"/>
                </a:cubicBezTo>
                <a:cubicBezTo>
                  <a:pt x="60" y="23"/>
                  <a:pt x="60" y="22"/>
                  <a:pt x="60" y="22"/>
                </a:cubicBezTo>
                <a:cubicBezTo>
                  <a:pt x="60" y="10"/>
                  <a:pt x="50" y="0"/>
                  <a:pt x="38" y="0"/>
                </a:cubicBezTo>
                <a:cubicBezTo>
                  <a:pt x="26" y="0"/>
                  <a:pt x="16" y="10"/>
                  <a:pt x="16" y="22"/>
                </a:cubicBezTo>
                <a:cubicBezTo>
                  <a:pt x="16" y="34"/>
                  <a:pt x="26" y="44"/>
                  <a:pt x="38" y="44"/>
                </a:cubicBezTo>
                <a:close/>
                <a:moveTo>
                  <a:pt x="57" y="64"/>
                </a:moveTo>
                <a:cubicBezTo>
                  <a:pt x="52" y="60"/>
                  <a:pt x="49" y="53"/>
                  <a:pt x="49" y="46"/>
                </a:cubicBezTo>
                <a:cubicBezTo>
                  <a:pt x="48" y="46"/>
                  <a:pt x="48" y="46"/>
                  <a:pt x="47" y="46"/>
                </a:cubicBezTo>
                <a:cubicBezTo>
                  <a:pt x="28" y="46"/>
                  <a:pt x="28" y="46"/>
                  <a:pt x="28" y="46"/>
                </a:cubicBezTo>
                <a:cubicBezTo>
                  <a:pt x="13" y="46"/>
                  <a:pt x="0" y="58"/>
                  <a:pt x="0" y="74"/>
                </a:cubicBezTo>
                <a:cubicBezTo>
                  <a:pt x="0" y="96"/>
                  <a:pt x="0" y="96"/>
                  <a:pt x="0" y="96"/>
                </a:cubicBezTo>
                <a:cubicBezTo>
                  <a:pt x="0" y="97"/>
                  <a:pt x="0" y="97"/>
                  <a:pt x="0" y="97"/>
                </a:cubicBezTo>
                <a:cubicBezTo>
                  <a:pt x="2" y="97"/>
                  <a:pt x="2" y="97"/>
                  <a:pt x="2" y="97"/>
                </a:cubicBezTo>
                <a:cubicBezTo>
                  <a:pt x="14" y="101"/>
                  <a:pt x="24" y="103"/>
                  <a:pt x="34" y="103"/>
                </a:cubicBezTo>
                <a:cubicBezTo>
                  <a:pt x="34" y="96"/>
                  <a:pt x="34" y="96"/>
                  <a:pt x="34" y="96"/>
                </a:cubicBezTo>
                <a:cubicBezTo>
                  <a:pt x="34" y="81"/>
                  <a:pt x="44" y="68"/>
                  <a:pt x="57" y="64"/>
                </a:cubicBezTo>
                <a:close/>
                <a:moveTo>
                  <a:pt x="57" y="64"/>
                </a:moveTo>
                <a:cubicBezTo>
                  <a:pt x="57" y="64"/>
                  <a:pt x="57" y="64"/>
                  <a:pt x="57" y="64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138" name="iṣlîḋè">
            <a:extLst>
              <a:ext uri="{FF2B5EF4-FFF2-40B4-BE49-F238E27FC236}">
                <a16:creationId xmlns:a16="http://schemas.microsoft.com/office/drawing/2014/main" id="{C3F1090A-EB64-4298-9D14-F7538FF7534C}"/>
              </a:ext>
            </a:extLst>
          </p:cNvPr>
          <p:cNvSpPr>
            <a:spLocks/>
          </p:cNvSpPr>
          <p:nvPr/>
        </p:nvSpPr>
        <p:spPr bwMode="auto">
          <a:xfrm>
            <a:off x="9137918" y="2329566"/>
            <a:ext cx="208440" cy="174972"/>
          </a:xfrm>
          <a:custGeom>
            <a:avLst/>
            <a:gdLst>
              <a:gd name="T0" fmla="*/ 91 w 150"/>
              <a:gd name="T1" fmla="*/ 22 h 126"/>
              <a:gd name="T2" fmla="*/ 103 w 150"/>
              <a:gd name="T3" fmla="*/ 42 h 126"/>
              <a:gd name="T4" fmla="*/ 112 w 150"/>
              <a:gd name="T5" fmla="*/ 44 h 126"/>
              <a:gd name="T6" fmla="*/ 134 w 150"/>
              <a:gd name="T7" fmla="*/ 22 h 126"/>
              <a:gd name="T8" fmla="*/ 112 w 150"/>
              <a:gd name="T9" fmla="*/ 0 h 126"/>
              <a:gd name="T10" fmla="*/ 91 w 150"/>
              <a:gd name="T11" fmla="*/ 22 h 126"/>
              <a:gd name="T12" fmla="*/ 76 w 150"/>
              <a:gd name="T13" fmla="*/ 67 h 126"/>
              <a:gd name="T14" fmla="*/ 98 w 150"/>
              <a:gd name="T15" fmla="*/ 45 h 126"/>
              <a:gd name="T16" fmla="*/ 76 w 150"/>
              <a:gd name="T17" fmla="*/ 23 h 126"/>
              <a:gd name="T18" fmla="*/ 54 w 150"/>
              <a:gd name="T19" fmla="*/ 45 h 126"/>
              <a:gd name="T20" fmla="*/ 76 w 150"/>
              <a:gd name="T21" fmla="*/ 67 h 126"/>
              <a:gd name="T22" fmla="*/ 85 w 150"/>
              <a:gd name="T23" fmla="*/ 68 h 126"/>
              <a:gd name="T24" fmla="*/ 67 w 150"/>
              <a:gd name="T25" fmla="*/ 68 h 126"/>
              <a:gd name="T26" fmla="*/ 39 w 150"/>
              <a:gd name="T27" fmla="*/ 97 h 126"/>
              <a:gd name="T28" fmla="*/ 39 w 150"/>
              <a:gd name="T29" fmla="*/ 119 h 126"/>
              <a:gd name="T30" fmla="*/ 39 w 150"/>
              <a:gd name="T31" fmla="*/ 120 h 126"/>
              <a:gd name="T32" fmla="*/ 40 w 150"/>
              <a:gd name="T33" fmla="*/ 120 h 126"/>
              <a:gd name="T34" fmla="*/ 79 w 150"/>
              <a:gd name="T35" fmla="*/ 126 h 126"/>
              <a:gd name="T36" fmla="*/ 112 w 150"/>
              <a:gd name="T37" fmla="*/ 120 h 126"/>
              <a:gd name="T38" fmla="*/ 113 w 150"/>
              <a:gd name="T39" fmla="*/ 119 h 126"/>
              <a:gd name="T40" fmla="*/ 114 w 150"/>
              <a:gd name="T41" fmla="*/ 119 h 126"/>
              <a:gd name="T42" fmla="*/ 114 w 150"/>
              <a:gd name="T43" fmla="*/ 97 h 126"/>
              <a:gd name="T44" fmla="*/ 85 w 150"/>
              <a:gd name="T45" fmla="*/ 68 h 126"/>
              <a:gd name="T46" fmla="*/ 122 w 150"/>
              <a:gd name="T47" fmla="*/ 46 h 126"/>
              <a:gd name="T48" fmla="*/ 103 w 150"/>
              <a:gd name="T49" fmla="*/ 46 h 126"/>
              <a:gd name="T50" fmla="*/ 95 w 150"/>
              <a:gd name="T51" fmla="*/ 65 h 126"/>
              <a:gd name="T52" fmla="*/ 119 w 150"/>
              <a:gd name="T53" fmla="*/ 97 h 126"/>
              <a:gd name="T54" fmla="*/ 119 w 150"/>
              <a:gd name="T55" fmla="*/ 104 h 126"/>
              <a:gd name="T56" fmla="*/ 148 w 150"/>
              <a:gd name="T57" fmla="*/ 97 h 126"/>
              <a:gd name="T58" fmla="*/ 150 w 150"/>
              <a:gd name="T59" fmla="*/ 97 h 126"/>
              <a:gd name="T60" fmla="*/ 150 w 150"/>
              <a:gd name="T61" fmla="*/ 97 h 126"/>
              <a:gd name="T62" fmla="*/ 150 w 150"/>
              <a:gd name="T63" fmla="*/ 74 h 126"/>
              <a:gd name="T64" fmla="*/ 122 w 150"/>
              <a:gd name="T65" fmla="*/ 46 h 126"/>
              <a:gd name="T66" fmla="*/ 38 w 150"/>
              <a:gd name="T67" fmla="*/ 44 h 126"/>
              <a:gd name="T68" fmla="*/ 49 w 150"/>
              <a:gd name="T69" fmla="*/ 41 h 126"/>
              <a:gd name="T70" fmla="*/ 59 w 150"/>
              <a:gd name="T71" fmla="*/ 24 h 126"/>
              <a:gd name="T72" fmla="*/ 60 w 150"/>
              <a:gd name="T73" fmla="*/ 22 h 126"/>
              <a:gd name="T74" fmla="*/ 38 w 150"/>
              <a:gd name="T75" fmla="*/ 0 h 126"/>
              <a:gd name="T76" fmla="*/ 16 w 150"/>
              <a:gd name="T77" fmla="*/ 22 h 126"/>
              <a:gd name="T78" fmla="*/ 38 w 150"/>
              <a:gd name="T79" fmla="*/ 44 h 126"/>
              <a:gd name="T80" fmla="*/ 57 w 150"/>
              <a:gd name="T81" fmla="*/ 65 h 126"/>
              <a:gd name="T82" fmla="*/ 49 w 150"/>
              <a:gd name="T83" fmla="*/ 46 h 126"/>
              <a:gd name="T84" fmla="*/ 47 w 150"/>
              <a:gd name="T85" fmla="*/ 46 h 126"/>
              <a:gd name="T86" fmla="*/ 28 w 150"/>
              <a:gd name="T87" fmla="*/ 46 h 126"/>
              <a:gd name="T88" fmla="*/ 0 w 150"/>
              <a:gd name="T89" fmla="*/ 74 h 126"/>
              <a:gd name="T90" fmla="*/ 0 w 150"/>
              <a:gd name="T91" fmla="*/ 97 h 126"/>
              <a:gd name="T92" fmla="*/ 0 w 150"/>
              <a:gd name="T93" fmla="*/ 97 h 126"/>
              <a:gd name="T94" fmla="*/ 2 w 150"/>
              <a:gd name="T95" fmla="*/ 98 h 126"/>
              <a:gd name="T96" fmla="*/ 33 w 150"/>
              <a:gd name="T97" fmla="*/ 103 h 126"/>
              <a:gd name="T98" fmla="*/ 33 w 150"/>
              <a:gd name="T99" fmla="*/ 97 h 126"/>
              <a:gd name="T100" fmla="*/ 57 w 150"/>
              <a:gd name="T101" fmla="*/ 65 h 126"/>
              <a:gd name="T102" fmla="*/ 57 w 150"/>
              <a:gd name="T103" fmla="*/ 65 h 126"/>
              <a:gd name="T104" fmla="*/ 57 w 150"/>
              <a:gd name="T105" fmla="*/ 65 h 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50" h="126">
                <a:moveTo>
                  <a:pt x="91" y="22"/>
                </a:moveTo>
                <a:cubicBezTo>
                  <a:pt x="97" y="26"/>
                  <a:pt x="102" y="34"/>
                  <a:pt x="103" y="42"/>
                </a:cubicBezTo>
                <a:cubicBezTo>
                  <a:pt x="106" y="43"/>
                  <a:pt x="109" y="44"/>
                  <a:pt x="112" y="44"/>
                </a:cubicBezTo>
                <a:cubicBezTo>
                  <a:pt x="125" y="44"/>
                  <a:pt x="134" y="34"/>
                  <a:pt x="134" y="22"/>
                </a:cubicBezTo>
                <a:cubicBezTo>
                  <a:pt x="134" y="10"/>
                  <a:pt x="125" y="0"/>
                  <a:pt x="112" y="0"/>
                </a:cubicBezTo>
                <a:cubicBezTo>
                  <a:pt x="100" y="0"/>
                  <a:pt x="91" y="10"/>
                  <a:pt x="91" y="22"/>
                </a:cubicBezTo>
                <a:close/>
                <a:moveTo>
                  <a:pt x="76" y="67"/>
                </a:moveTo>
                <a:cubicBezTo>
                  <a:pt x="88" y="67"/>
                  <a:pt x="98" y="57"/>
                  <a:pt x="98" y="45"/>
                </a:cubicBezTo>
                <a:cubicBezTo>
                  <a:pt x="98" y="33"/>
                  <a:pt x="88" y="23"/>
                  <a:pt x="76" y="23"/>
                </a:cubicBezTo>
                <a:cubicBezTo>
                  <a:pt x="64" y="23"/>
                  <a:pt x="54" y="33"/>
                  <a:pt x="54" y="45"/>
                </a:cubicBezTo>
                <a:cubicBezTo>
                  <a:pt x="54" y="57"/>
                  <a:pt x="64" y="67"/>
                  <a:pt x="76" y="67"/>
                </a:cubicBezTo>
                <a:close/>
                <a:moveTo>
                  <a:pt x="85" y="68"/>
                </a:moveTo>
                <a:cubicBezTo>
                  <a:pt x="67" y="68"/>
                  <a:pt x="67" y="68"/>
                  <a:pt x="67" y="68"/>
                </a:cubicBezTo>
                <a:cubicBezTo>
                  <a:pt x="51" y="68"/>
                  <a:pt x="39" y="81"/>
                  <a:pt x="39" y="97"/>
                </a:cubicBezTo>
                <a:cubicBezTo>
                  <a:pt x="39" y="119"/>
                  <a:pt x="39" y="119"/>
                  <a:pt x="39" y="119"/>
                </a:cubicBezTo>
                <a:cubicBezTo>
                  <a:pt x="39" y="120"/>
                  <a:pt x="39" y="120"/>
                  <a:pt x="39" y="120"/>
                </a:cubicBezTo>
                <a:cubicBezTo>
                  <a:pt x="40" y="120"/>
                  <a:pt x="40" y="120"/>
                  <a:pt x="40" y="120"/>
                </a:cubicBezTo>
                <a:cubicBezTo>
                  <a:pt x="55" y="125"/>
                  <a:pt x="68" y="126"/>
                  <a:pt x="79" y="126"/>
                </a:cubicBezTo>
                <a:cubicBezTo>
                  <a:pt x="99" y="126"/>
                  <a:pt x="111" y="120"/>
                  <a:pt x="112" y="120"/>
                </a:cubicBezTo>
                <a:cubicBezTo>
                  <a:pt x="113" y="119"/>
                  <a:pt x="113" y="119"/>
                  <a:pt x="113" y="119"/>
                </a:cubicBezTo>
                <a:cubicBezTo>
                  <a:pt x="114" y="119"/>
                  <a:pt x="114" y="119"/>
                  <a:pt x="114" y="119"/>
                </a:cubicBezTo>
                <a:cubicBezTo>
                  <a:pt x="114" y="97"/>
                  <a:pt x="114" y="97"/>
                  <a:pt x="114" y="97"/>
                </a:cubicBezTo>
                <a:cubicBezTo>
                  <a:pt x="114" y="81"/>
                  <a:pt x="101" y="68"/>
                  <a:pt x="85" y="68"/>
                </a:cubicBezTo>
                <a:close/>
                <a:moveTo>
                  <a:pt x="122" y="46"/>
                </a:moveTo>
                <a:cubicBezTo>
                  <a:pt x="103" y="46"/>
                  <a:pt x="103" y="46"/>
                  <a:pt x="103" y="46"/>
                </a:cubicBezTo>
                <a:cubicBezTo>
                  <a:pt x="103" y="53"/>
                  <a:pt x="100" y="60"/>
                  <a:pt x="95" y="65"/>
                </a:cubicBezTo>
                <a:cubicBezTo>
                  <a:pt x="109" y="69"/>
                  <a:pt x="119" y="81"/>
                  <a:pt x="119" y="97"/>
                </a:cubicBezTo>
                <a:cubicBezTo>
                  <a:pt x="119" y="104"/>
                  <a:pt x="119" y="104"/>
                  <a:pt x="119" y="104"/>
                </a:cubicBezTo>
                <a:cubicBezTo>
                  <a:pt x="137" y="103"/>
                  <a:pt x="148" y="98"/>
                  <a:pt x="148" y="97"/>
                </a:cubicBezTo>
                <a:cubicBezTo>
                  <a:pt x="150" y="97"/>
                  <a:pt x="150" y="97"/>
                  <a:pt x="150" y="97"/>
                </a:cubicBezTo>
                <a:cubicBezTo>
                  <a:pt x="150" y="97"/>
                  <a:pt x="150" y="97"/>
                  <a:pt x="150" y="97"/>
                </a:cubicBezTo>
                <a:cubicBezTo>
                  <a:pt x="150" y="74"/>
                  <a:pt x="150" y="74"/>
                  <a:pt x="150" y="74"/>
                </a:cubicBezTo>
                <a:cubicBezTo>
                  <a:pt x="150" y="58"/>
                  <a:pt x="137" y="46"/>
                  <a:pt x="122" y="46"/>
                </a:cubicBezTo>
                <a:close/>
                <a:moveTo>
                  <a:pt x="38" y="44"/>
                </a:moveTo>
                <a:cubicBezTo>
                  <a:pt x="42" y="44"/>
                  <a:pt x="46" y="43"/>
                  <a:pt x="49" y="41"/>
                </a:cubicBezTo>
                <a:cubicBezTo>
                  <a:pt x="50" y="34"/>
                  <a:pt x="54" y="28"/>
                  <a:pt x="59" y="24"/>
                </a:cubicBezTo>
                <a:cubicBezTo>
                  <a:pt x="60" y="23"/>
                  <a:pt x="60" y="23"/>
                  <a:pt x="60" y="22"/>
                </a:cubicBezTo>
                <a:cubicBezTo>
                  <a:pt x="60" y="10"/>
                  <a:pt x="50" y="0"/>
                  <a:pt x="38" y="0"/>
                </a:cubicBezTo>
                <a:cubicBezTo>
                  <a:pt x="25" y="0"/>
                  <a:pt x="16" y="10"/>
                  <a:pt x="16" y="22"/>
                </a:cubicBezTo>
                <a:cubicBezTo>
                  <a:pt x="16" y="34"/>
                  <a:pt x="25" y="44"/>
                  <a:pt x="38" y="44"/>
                </a:cubicBezTo>
                <a:close/>
                <a:moveTo>
                  <a:pt x="57" y="65"/>
                </a:moveTo>
                <a:cubicBezTo>
                  <a:pt x="52" y="60"/>
                  <a:pt x="49" y="53"/>
                  <a:pt x="49" y="46"/>
                </a:cubicBezTo>
                <a:cubicBezTo>
                  <a:pt x="48" y="46"/>
                  <a:pt x="48" y="46"/>
                  <a:pt x="47" y="46"/>
                </a:cubicBezTo>
                <a:cubicBezTo>
                  <a:pt x="28" y="46"/>
                  <a:pt x="28" y="46"/>
                  <a:pt x="28" y="46"/>
                </a:cubicBezTo>
                <a:cubicBezTo>
                  <a:pt x="13" y="46"/>
                  <a:pt x="0" y="58"/>
                  <a:pt x="0" y="74"/>
                </a:cubicBezTo>
                <a:cubicBezTo>
                  <a:pt x="0" y="97"/>
                  <a:pt x="0" y="97"/>
                  <a:pt x="0" y="97"/>
                </a:cubicBezTo>
                <a:cubicBezTo>
                  <a:pt x="0" y="97"/>
                  <a:pt x="0" y="97"/>
                  <a:pt x="0" y="97"/>
                </a:cubicBezTo>
                <a:cubicBezTo>
                  <a:pt x="2" y="98"/>
                  <a:pt x="2" y="98"/>
                  <a:pt x="2" y="98"/>
                </a:cubicBezTo>
                <a:cubicBezTo>
                  <a:pt x="14" y="101"/>
                  <a:pt x="24" y="103"/>
                  <a:pt x="33" y="103"/>
                </a:cubicBezTo>
                <a:cubicBezTo>
                  <a:pt x="33" y="97"/>
                  <a:pt x="33" y="97"/>
                  <a:pt x="33" y="97"/>
                </a:cubicBezTo>
                <a:cubicBezTo>
                  <a:pt x="33" y="81"/>
                  <a:pt x="44" y="69"/>
                  <a:pt x="57" y="65"/>
                </a:cubicBezTo>
                <a:close/>
                <a:moveTo>
                  <a:pt x="57" y="65"/>
                </a:moveTo>
                <a:cubicBezTo>
                  <a:pt x="57" y="65"/>
                  <a:pt x="57" y="65"/>
                  <a:pt x="57" y="65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139" name="íSļîḑé">
            <a:extLst>
              <a:ext uri="{FF2B5EF4-FFF2-40B4-BE49-F238E27FC236}">
                <a16:creationId xmlns:a16="http://schemas.microsoft.com/office/drawing/2014/main" id="{FA3C2E1B-AB21-4DE9-8DF0-E78691FFD64D}"/>
              </a:ext>
            </a:extLst>
          </p:cNvPr>
          <p:cNvSpPr>
            <a:spLocks/>
          </p:cNvSpPr>
          <p:nvPr/>
        </p:nvSpPr>
        <p:spPr bwMode="auto">
          <a:xfrm>
            <a:off x="9088010" y="1626743"/>
            <a:ext cx="208440" cy="174972"/>
          </a:xfrm>
          <a:custGeom>
            <a:avLst/>
            <a:gdLst>
              <a:gd name="T0" fmla="*/ 90 w 150"/>
              <a:gd name="T1" fmla="*/ 22 h 126"/>
              <a:gd name="T2" fmla="*/ 103 w 150"/>
              <a:gd name="T3" fmla="*/ 42 h 126"/>
              <a:gd name="T4" fmla="*/ 112 w 150"/>
              <a:gd name="T5" fmla="*/ 44 h 126"/>
              <a:gd name="T6" fmla="*/ 134 w 150"/>
              <a:gd name="T7" fmla="*/ 22 h 126"/>
              <a:gd name="T8" fmla="*/ 112 w 150"/>
              <a:gd name="T9" fmla="*/ 0 h 126"/>
              <a:gd name="T10" fmla="*/ 90 w 150"/>
              <a:gd name="T11" fmla="*/ 22 h 126"/>
              <a:gd name="T12" fmla="*/ 76 w 150"/>
              <a:gd name="T13" fmla="*/ 67 h 126"/>
              <a:gd name="T14" fmla="*/ 98 w 150"/>
              <a:gd name="T15" fmla="*/ 45 h 126"/>
              <a:gd name="T16" fmla="*/ 76 w 150"/>
              <a:gd name="T17" fmla="*/ 23 h 126"/>
              <a:gd name="T18" fmla="*/ 54 w 150"/>
              <a:gd name="T19" fmla="*/ 45 h 126"/>
              <a:gd name="T20" fmla="*/ 76 w 150"/>
              <a:gd name="T21" fmla="*/ 67 h 126"/>
              <a:gd name="T22" fmla="*/ 85 w 150"/>
              <a:gd name="T23" fmla="*/ 68 h 126"/>
              <a:gd name="T24" fmla="*/ 66 w 150"/>
              <a:gd name="T25" fmla="*/ 68 h 126"/>
              <a:gd name="T26" fmla="*/ 38 w 150"/>
              <a:gd name="T27" fmla="*/ 97 h 126"/>
              <a:gd name="T28" fmla="*/ 38 w 150"/>
              <a:gd name="T29" fmla="*/ 119 h 126"/>
              <a:gd name="T30" fmla="*/ 38 w 150"/>
              <a:gd name="T31" fmla="*/ 120 h 126"/>
              <a:gd name="T32" fmla="*/ 40 w 150"/>
              <a:gd name="T33" fmla="*/ 120 h 126"/>
              <a:gd name="T34" fmla="*/ 78 w 150"/>
              <a:gd name="T35" fmla="*/ 126 h 126"/>
              <a:gd name="T36" fmla="*/ 112 w 150"/>
              <a:gd name="T37" fmla="*/ 120 h 126"/>
              <a:gd name="T38" fmla="*/ 113 w 150"/>
              <a:gd name="T39" fmla="*/ 119 h 126"/>
              <a:gd name="T40" fmla="*/ 113 w 150"/>
              <a:gd name="T41" fmla="*/ 119 h 126"/>
              <a:gd name="T42" fmla="*/ 113 w 150"/>
              <a:gd name="T43" fmla="*/ 97 h 126"/>
              <a:gd name="T44" fmla="*/ 85 w 150"/>
              <a:gd name="T45" fmla="*/ 68 h 126"/>
              <a:gd name="T46" fmla="*/ 121 w 150"/>
              <a:gd name="T47" fmla="*/ 46 h 126"/>
              <a:gd name="T48" fmla="*/ 103 w 150"/>
              <a:gd name="T49" fmla="*/ 46 h 126"/>
              <a:gd name="T50" fmla="*/ 95 w 150"/>
              <a:gd name="T51" fmla="*/ 65 h 126"/>
              <a:gd name="T52" fmla="*/ 118 w 150"/>
              <a:gd name="T53" fmla="*/ 97 h 126"/>
              <a:gd name="T54" fmla="*/ 118 w 150"/>
              <a:gd name="T55" fmla="*/ 104 h 126"/>
              <a:gd name="T56" fmla="*/ 148 w 150"/>
              <a:gd name="T57" fmla="*/ 97 h 126"/>
              <a:gd name="T58" fmla="*/ 149 w 150"/>
              <a:gd name="T59" fmla="*/ 97 h 126"/>
              <a:gd name="T60" fmla="*/ 150 w 150"/>
              <a:gd name="T61" fmla="*/ 97 h 126"/>
              <a:gd name="T62" fmla="*/ 150 w 150"/>
              <a:gd name="T63" fmla="*/ 74 h 126"/>
              <a:gd name="T64" fmla="*/ 121 w 150"/>
              <a:gd name="T65" fmla="*/ 46 h 126"/>
              <a:gd name="T66" fmla="*/ 37 w 150"/>
              <a:gd name="T67" fmla="*/ 44 h 126"/>
              <a:gd name="T68" fmla="*/ 49 w 150"/>
              <a:gd name="T69" fmla="*/ 41 h 126"/>
              <a:gd name="T70" fmla="*/ 59 w 150"/>
              <a:gd name="T71" fmla="*/ 24 h 126"/>
              <a:gd name="T72" fmla="*/ 59 w 150"/>
              <a:gd name="T73" fmla="*/ 22 h 126"/>
              <a:gd name="T74" fmla="*/ 37 w 150"/>
              <a:gd name="T75" fmla="*/ 0 h 126"/>
              <a:gd name="T76" fmla="*/ 15 w 150"/>
              <a:gd name="T77" fmla="*/ 22 h 126"/>
              <a:gd name="T78" fmla="*/ 37 w 150"/>
              <a:gd name="T79" fmla="*/ 44 h 126"/>
              <a:gd name="T80" fmla="*/ 57 w 150"/>
              <a:gd name="T81" fmla="*/ 65 h 126"/>
              <a:gd name="T82" fmla="*/ 49 w 150"/>
              <a:gd name="T83" fmla="*/ 46 h 126"/>
              <a:gd name="T84" fmla="*/ 46 w 150"/>
              <a:gd name="T85" fmla="*/ 46 h 126"/>
              <a:gd name="T86" fmla="*/ 28 w 150"/>
              <a:gd name="T87" fmla="*/ 46 h 126"/>
              <a:gd name="T88" fmla="*/ 0 w 150"/>
              <a:gd name="T89" fmla="*/ 74 h 126"/>
              <a:gd name="T90" fmla="*/ 0 w 150"/>
              <a:gd name="T91" fmla="*/ 97 h 126"/>
              <a:gd name="T92" fmla="*/ 0 w 150"/>
              <a:gd name="T93" fmla="*/ 97 h 126"/>
              <a:gd name="T94" fmla="*/ 1 w 150"/>
              <a:gd name="T95" fmla="*/ 98 h 126"/>
              <a:gd name="T96" fmla="*/ 33 w 150"/>
              <a:gd name="T97" fmla="*/ 104 h 126"/>
              <a:gd name="T98" fmla="*/ 33 w 150"/>
              <a:gd name="T99" fmla="*/ 97 h 126"/>
              <a:gd name="T100" fmla="*/ 57 w 150"/>
              <a:gd name="T101" fmla="*/ 65 h 126"/>
              <a:gd name="T102" fmla="*/ 57 w 150"/>
              <a:gd name="T103" fmla="*/ 65 h 126"/>
              <a:gd name="T104" fmla="*/ 57 w 150"/>
              <a:gd name="T105" fmla="*/ 65 h 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50" h="126">
                <a:moveTo>
                  <a:pt x="90" y="22"/>
                </a:moveTo>
                <a:cubicBezTo>
                  <a:pt x="97" y="26"/>
                  <a:pt x="102" y="34"/>
                  <a:pt x="103" y="42"/>
                </a:cubicBezTo>
                <a:cubicBezTo>
                  <a:pt x="106" y="44"/>
                  <a:pt x="109" y="44"/>
                  <a:pt x="112" y="44"/>
                </a:cubicBezTo>
                <a:cubicBezTo>
                  <a:pt x="124" y="44"/>
                  <a:pt x="134" y="34"/>
                  <a:pt x="134" y="22"/>
                </a:cubicBezTo>
                <a:cubicBezTo>
                  <a:pt x="134" y="10"/>
                  <a:pt x="124" y="0"/>
                  <a:pt x="112" y="0"/>
                </a:cubicBezTo>
                <a:cubicBezTo>
                  <a:pt x="100" y="0"/>
                  <a:pt x="90" y="10"/>
                  <a:pt x="90" y="22"/>
                </a:cubicBezTo>
                <a:close/>
                <a:moveTo>
                  <a:pt x="76" y="67"/>
                </a:moveTo>
                <a:cubicBezTo>
                  <a:pt x="88" y="67"/>
                  <a:pt x="98" y="57"/>
                  <a:pt x="98" y="45"/>
                </a:cubicBezTo>
                <a:cubicBezTo>
                  <a:pt x="98" y="33"/>
                  <a:pt x="88" y="23"/>
                  <a:pt x="76" y="23"/>
                </a:cubicBezTo>
                <a:cubicBezTo>
                  <a:pt x="64" y="23"/>
                  <a:pt x="54" y="33"/>
                  <a:pt x="54" y="45"/>
                </a:cubicBezTo>
                <a:cubicBezTo>
                  <a:pt x="54" y="57"/>
                  <a:pt x="64" y="67"/>
                  <a:pt x="76" y="67"/>
                </a:cubicBezTo>
                <a:close/>
                <a:moveTo>
                  <a:pt x="85" y="68"/>
                </a:moveTo>
                <a:cubicBezTo>
                  <a:pt x="66" y="68"/>
                  <a:pt x="66" y="68"/>
                  <a:pt x="66" y="68"/>
                </a:cubicBezTo>
                <a:cubicBezTo>
                  <a:pt x="51" y="68"/>
                  <a:pt x="38" y="81"/>
                  <a:pt x="38" y="97"/>
                </a:cubicBezTo>
                <a:cubicBezTo>
                  <a:pt x="38" y="119"/>
                  <a:pt x="38" y="119"/>
                  <a:pt x="38" y="119"/>
                </a:cubicBezTo>
                <a:cubicBezTo>
                  <a:pt x="38" y="120"/>
                  <a:pt x="38" y="120"/>
                  <a:pt x="38" y="120"/>
                </a:cubicBezTo>
                <a:cubicBezTo>
                  <a:pt x="40" y="120"/>
                  <a:pt x="40" y="120"/>
                  <a:pt x="40" y="120"/>
                </a:cubicBezTo>
                <a:cubicBezTo>
                  <a:pt x="55" y="125"/>
                  <a:pt x="68" y="126"/>
                  <a:pt x="78" y="126"/>
                </a:cubicBezTo>
                <a:cubicBezTo>
                  <a:pt x="99" y="126"/>
                  <a:pt x="111" y="121"/>
                  <a:pt x="112" y="120"/>
                </a:cubicBezTo>
                <a:cubicBezTo>
                  <a:pt x="113" y="119"/>
                  <a:pt x="113" y="119"/>
                  <a:pt x="113" y="119"/>
                </a:cubicBezTo>
                <a:cubicBezTo>
                  <a:pt x="113" y="119"/>
                  <a:pt x="113" y="119"/>
                  <a:pt x="113" y="119"/>
                </a:cubicBezTo>
                <a:cubicBezTo>
                  <a:pt x="113" y="97"/>
                  <a:pt x="113" y="97"/>
                  <a:pt x="113" y="97"/>
                </a:cubicBezTo>
                <a:cubicBezTo>
                  <a:pt x="113" y="81"/>
                  <a:pt x="101" y="68"/>
                  <a:pt x="85" y="68"/>
                </a:cubicBezTo>
                <a:close/>
                <a:moveTo>
                  <a:pt x="121" y="46"/>
                </a:moveTo>
                <a:cubicBezTo>
                  <a:pt x="103" y="46"/>
                  <a:pt x="103" y="46"/>
                  <a:pt x="103" y="46"/>
                </a:cubicBezTo>
                <a:cubicBezTo>
                  <a:pt x="103" y="53"/>
                  <a:pt x="100" y="60"/>
                  <a:pt x="95" y="65"/>
                </a:cubicBezTo>
                <a:cubicBezTo>
                  <a:pt x="108" y="69"/>
                  <a:pt x="118" y="82"/>
                  <a:pt x="118" y="97"/>
                </a:cubicBezTo>
                <a:cubicBezTo>
                  <a:pt x="118" y="104"/>
                  <a:pt x="118" y="104"/>
                  <a:pt x="118" y="104"/>
                </a:cubicBezTo>
                <a:cubicBezTo>
                  <a:pt x="137" y="103"/>
                  <a:pt x="147" y="98"/>
                  <a:pt x="148" y="97"/>
                </a:cubicBezTo>
                <a:cubicBezTo>
                  <a:pt x="149" y="97"/>
                  <a:pt x="149" y="97"/>
                  <a:pt x="149" y="97"/>
                </a:cubicBezTo>
                <a:cubicBezTo>
                  <a:pt x="150" y="97"/>
                  <a:pt x="150" y="97"/>
                  <a:pt x="150" y="97"/>
                </a:cubicBezTo>
                <a:cubicBezTo>
                  <a:pt x="150" y="74"/>
                  <a:pt x="150" y="74"/>
                  <a:pt x="150" y="74"/>
                </a:cubicBezTo>
                <a:cubicBezTo>
                  <a:pt x="150" y="58"/>
                  <a:pt x="137" y="46"/>
                  <a:pt x="121" y="46"/>
                </a:cubicBezTo>
                <a:close/>
                <a:moveTo>
                  <a:pt x="37" y="44"/>
                </a:moveTo>
                <a:cubicBezTo>
                  <a:pt x="41" y="44"/>
                  <a:pt x="45" y="43"/>
                  <a:pt x="49" y="41"/>
                </a:cubicBezTo>
                <a:cubicBezTo>
                  <a:pt x="50" y="34"/>
                  <a:pt x="54" y="28"/>
                  <a:pt x="59" y="24"/>
                </a:cubicBezTo>
                <a:cubicBezTo>
                  <a:pt x="59" y="23"/>
                  <a:pt x="59" y="23"/>
                  <a:pt x="59" y="22"/>
                </a:cubicBezTo>
                <a:cubicBezTo>
                  <a:pt x="59" y="10"/>
                  <a:pt x="49" y="0"/>
                  <a:pt x="37" y="0"/>
                </a:cubicBezTo>
                <a:cubicBezTo>
                  <a:pt x="25" y="0"/>
                  <a:pt x="15" y="10"/>
                  <a:pt x="15" y="22"/>
                </a:cubicBezTo>
                <a:cubicBezTo>
                  <a:pt x="15" y="34"/>
                  <a:pt x="25" y="44"/>
                  <a:pt x="37" y="44"/>
                </a:cubicBezTo>
                <a:close/>
                <a:moveTo>
                  <a:pt x="57" y="65"/>
                </a:moveTo>
                <a:cubicBezTo>
                  <a:pt x="52" y="60"/>
                  <a:pt x="49" y="53"/>
                  <a:pt x="49" y="46"/>
                </a:cubicBezTo>
                <a:cubicBezTo>
                  <a:pt x="48" y="46"/>
                  <a:pt x="47" y="46"/>
                  <a:pt x="46" y="46"/>
                </a:cubicBezTo>
                <a:cubicBezTo>
                  <a:pt x="28" y="46"/>
                  <a:pt x="28" y="46"/>
                  <a:pt x="28" y="46"/>
                </a:cubicBezTo>
                <a:cubicBezTo>
                  <a:pt x="12" y="46"/>
                  <a:pt x="0" y="58"/>
                  <a:pt x="0" y="74"/>
                </a:cubicBezTo>
                <a:cubicBezTo>
                  <a:pt x="0" y="97"/>
                  <a:pt x="0" y="97"/>
                  <a:pt x="0" y="97"/>
                </a:cubicBezTo>
                <a:cubicBezTo>
                  <a:pt x="0" y="97"/>
                  <a:pt x="0" y="97"/>
                  <a:pt x="0" y="97"/>
                </a:cubicBezTo>
                <a:cubicBezTo>
                  <a:pt x="1" y="98"/>
                  <a:pt x="1" y="98"/>
                  <a:pt x="1" y="98"/>
                </a:cubicBezTo>
                <a:cubicBezTo>
                  <a:pt x="13" y="101"/>
                  <a:pt x="24" y="103"/>
                  <a:pt x="33" y="104"/>
                </a:cubicBezTo>
                <a:cubicBezTo>
                  <a:pt x="33" y="97"/>
                  <a:pt x="33" y="97"/>
                  <a:pt x="33" y="97"/>
                </a:cubicBezTo>
                <a:cubicBezTo>
                  <a:pt x="33" y="82"/>
                  <a:pt x="43" y="69"/>
                  <a:pt x="57" y="65"/>
                </a:cubicBezTo>
                <a:close/>
                <a:moveTo>
                  <a:pt x="57" y="65"/>
                </a:moveTo>
                <a:cubicBezTo>
                  <a:pt x="57" y="65"/>
                  <a:pt x="57" y="65"/>
                  <a:pt x="57" y="65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140" name="iṧļíďê">
            <a:extLst>
              <a:ext uri="{FF2B5EF4-FFF2-40B4-BE49-F238E27FC236}">
                <a16:creationId xmlns:a16="http://schemas.microsoft.com/office/drawing/2014/main" id="{F4B2CC40-4CD8-472A-855A-5F854DC8B907}"/>
              </a:ext>
            </a:extLst>
          </p:cNvPr>
          <p:cNvSpPr>
            <a:spLocks/>
          </p:cNvSpPr>
          <p:nvPr/>
        </p:nvSpPr>
        <p:spPr bwMode="auto">
          <a:xfrm>
            <a:off x="8060490" y="2573823"/>
            <a:ext cx="208440" cy="174972"/>
          </a:xfrm>
          <a:custGeom>
            <a:avLst/>
            <a:gdLst>
              <a:gd name="T0" fmla="*/ 91 w 150"/>
              <a:gd name="T1" fmla="*/ 22 h 126"/>
              <a:gd name="T2" fmla="*/ 103 w 150"/>
              <a:gd name="T3" fmla="*/ 42 h 126"/>
              <a:gd name="T4" fmla="*/ 113 w 150"/>
              <a:gd name="T5" fmla="*/ 44 h 126"/>
              <a:gd name="T6" fmla="*/ 135 w 150"/>
              <a:gd name="T7" fmla="*/ 22 h 126"/>
              <a:gd name="T8" fmla="*/ 113 w 150"/>
              <a:gd name="T9" fmla="*/ 0 h 126"/>
              <a:gd name="T10" fmla="*/ 91 w 150"/>
              <a:gd name="T11" fmla="*/ 22 h 126"/>
              <a:gd name="T12" fmla="*/ 76 w 150"/>
              <a:gd name="T13" fmla="*/ 67 h 126"/>
              <a:gd name="T14" fmla="*/ 98 w 150"/>
              <a:gd name="T15" fmla="*/ 45 h 126"/>
              <a:gd name="T16" fmla="*/ 76 w 150"/>
              <a:gd name="T17" fmla="*/ 23 h 126"/>
              <a:gd name="T18" fmla="*/ 54 w 150"/>
              <a:gd name="T19" fmla="*/ 45 h 126"/>
              <a:gd name="T20" fmla="*/ 76 w 150"/>
              <a:gd name="T21" fmla="*/ 67 h 126"/>
              <a:gd name="T22" fmla="*/ 85 w 150"/>
              <a:gd name="T23" fmla="*/ 68 h 126"/>
              <a:gd name="T24" fmla="*/ 67 w 150"/>
              <a:gd name="T25" fmla="*/ 68 h 126"/>
              <a:gd name="T26" fmla="*/ 39 w 150"/>
              <a:gd name="T27" fmla="*/ 97 h 126"/>
              <a:gd name="T28" fmla="*/ 39 w 150"/>
              <a:gd name="T29" fmla="*/ 119 h 126"/>
              <a:gd name="T30" fmla="*/ 39 w 150"/>
              <a:gd name="T31" fmla="*/ 120 h 126"/>
              <a:gd name="T32" fmla="*/ 40 w 150"/>
              <a:gd name="T33" fmla="*/ 120 h 126"/>
              <a:gd name="T34" fmla="*/ 79 w 150"/>
              <a:gd name="T35" fmla="*/ 126 h 126"/>
              <a:gd name="T36" fmla="*/ 112 w 150"/>
              <a:gd name="T37" fmla="*/ 120 h 126"/>
              <a:gd name="T38" fmla="*/ 113 w 150"/>
              <a:gd name="T39" fmla="*/ 119 h 126"/>
              <a:gd name="T40" fmla="*/ 114 w 150"/>
              <a:gd name="T41" fmla="*/ 119 h 126"/>
              <a:gd name="T42" fmla="*/ 114 w 150"/>
              <a:gd name="T43" fmla="*/ 97 h 126"/>
              <a:gd name="T44" fmla="*/ 85 w 150"/>
              <a:gd name="T45" fmla="*/ 68 h 126"/>
              <a:gd name="T46" fmla="*/ 122 w 150"/>
              <a:gd name="T47" fmla="*/ 46 h 126"/>
              <a:gd name="T48" fmla="*/ 103 w 150"/>
              <a:gd name="T49" fmla="*/ 46 h 126"/>
              <a:gd name="T50" fmla="*/ 95 w 150"/>
              <a:gd name="T51" fmla="*/ 65 h 126"/>
              <a:gd name="T52" fmla="*/ 119 w 150"/>
              <a:gd name="T53" fmla="*/ 97 h 126"/>
              <a:gd name="T54" fmla="*/ 119 w 150"/>
              <a:gd name="T55" fmla="*/ 104 h 126"/>
              <a:gd name="T56" fmla="*/ 148 w 150"/>
              <a:gd name="T57" fmla="*/ 97 h 126"/>
              <a:gd name="T58" fmla="*/ 150 w 150"/>
              <a:gd name="T59" fmla="*/ 97 h 126"/>
              <a:gd name="T60" fmla="*/ 150 w 150"/>
              <a:gd name="T61" fmla="*/ 97 h 126"/>
              <a:gd name="T62" fmla="*/ 150 w 150"/>
              <a:gd name="T63" fmla="*/ 74 h 126"/>
              <a:gd name="T64" fmla="*/ 122 w 150"/>
              <a:gd name="T65" fmla="*/ 46 h 126"/>
              <a:gd name="T66" fmla="*/ 38 w 150"/>
              <a:gd name="T67" fmla="*/ 44 h 126"/>
              <a:gd name="T68" fmla="*/ 49 w 150"/>
              <a:gd name="T69" fmla="*/ 41 h 126"/>
              <a:gd name="T70" fmla="*/ 60 w 150"/>
              <a:gd name="T71" fmla="*/ 24 h 126"/>
              <a:gd name="T72" fmla="*/ 60 w 150"/>
              <a:gd name="T73" fmla="*/ 22 h 126"/>
              <a:gd name="T74" fmla="*/ 38 w 150"/>
              <a:gd name="T75" fmla="*/ 0 h 126"/>
              <a:gd name="T76" fmla="*/ 16 w 150"/>
              <a:gd name="T77" fmla="*/ 22 h 126"/>
              <a:gd name="T78" fmla="*/ 38 w 150"/>
              <a:gd name="T79" fmla="*/ 44 h 126"/>
              <a:gd name="T80" fmla="*/ 57 w 150"/>
              <a:gd name="T81" fmla="*/ 65 h 126"/>
              <a:gd name="T82" fmla="*/ 49 w 150"/>
              <a:gd name="T83" fmla="*/ 46 h 126"/>
              <a:gd name="T84" fmla="*/ 47 w 150"/>
              <a:gd name="T85" fmla="*/ 46 h 126"/>
              <a:gd name="T86" fmla="*/ 28 w 150"/>
              <a:gd name="T87" fmla="*/ 46 h 126"/>
              <a:gd name="T88" fmla="*/ 0 w 150"/>
              <a:gd name="T89" fmla="*/ 74 h 126"/>
              <a:gd name="T90" fmla="*/ 0 w 150"/>
              <a:gd name="T91" fmla="*/ 97 h 126"/>
              <a:gd name="T92" fmla="*/ 0 w 150"/>
              <a:gd name="T93" fmla="*/ 97 h 126"/>
              <a:gd name="T94" fmla="*/ 2 w 150"/>
              <a:gd name="T95" fmla="*/ 98 h 126"/>
              <a:gd name="T96" fmla="*/ 33 w 150"/>
              <a:gd name="T97" fmla="*/ 103 h 126"/>
              <a:gd name="T98" fmla="*/ 33 w 150"/>
              <a:gd name="T99" fmla="*/ 97 h 126"/>
              <a:gd name="T100" fmla="*/ 57 w 150"/>
              <a:gd name="T101" fmla="*/ 65 h 126"/>
              <a:gd name="T102" fmla="*/ 57 w 150"/>
              <a:gd name="T103" fmla="*/ 65 h 126"/>
              <a:gd name="T104" fmla="*/ 57 w 150"/>
              <a:gd name="T105" fmla="*/ 65 h 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50" h="126">
                <a:moveTo>
                  <a:pt x="91" y="22"/>
                </a:moveTo>
                <a:cubicBezTo>
                  <a:pt x="97" y="26"/>
                  <a:pt x="102" y="34"/>
                  <a:pt x="103" y="42"/>
                </a:cubicBezTo>
                <a:cubicBezTo>
                  <a:pt x="106" y="43"/>
                  <a:pt x="109" y="44"/>
                  <a:pt x="113" y="44"/>
                </a:cubicBezTo>
                <a:cubicBezTo>
                  <a:pt x="125" y="44"/>
                  <a:pt x="135" y="34"/>
                  <a:pt x="135" y="22"/>
                </a:cubicBezTo>
                <a:cubicBezTo>
                  <a:pt x="135" y="10"/>
                  <a:pt x="125" y="0"/>
                  <a:pt x="113" y="0"/>
                </a:cubicBezTo>
                <a:cubicBezTo>
                  <a:pt x="101" y="0"/>
                  <a:pt x="91" y="10"/>
                  <a:pt x="91" y="22"/>
                </a:cubicBezTo>
                <a:close/>
                <a:moveTo>
                  <a:pt x="76" y="67"/>
                </a:moveTo>
                <a:cubicBezTo>
                  <a:pt x="88" y="67"/>
                  <a:pt x="98" y="57"/>
                  <a:pt x="98" y="45"/>
                </a:cubicBezTo>
                <a:cubicBezTo>
                  <a:pt x="98" y="33"/>
                  <a:pt x="88" y="23"/>
                  <a:pt x="76" y="23"/>
                </a:cubicBezTo>
                <a:cubicBezTo>
                  <a:pt x="64" y="23"/>
                  <a:pt x="54" y="33"/>
                  <a:pt x="54" y="45"/>
                </a:cubicBezTo>
                <a:cubicBezTo>
                  <a:pt x="54" y="57"/>
                  <a:pt x="64" y="67"/>
                  <a:pt x="76" y="67"/>
                </a:cubicBezTo>
                <a:close/>
                <a:moveTo>
                  <a:pt x="85" y="68"/>
                </a:moveTo>
                <a:cubicBezTo>
                  <a:pt x="67" y="68"/>
                  <a:pt x="67" y="68"/>
                  <a:pt x="67" y="68"/>
                </a:cubicBezTo>
                <a:cubicBezTo>
                  <a:pt x="51" y="68"/>
                  <a:pt x="39" y="81"/>
                  <a:pt x="39" y="97"/>
                </a:cubicBezTo>
                <a:cubicBezTo>
                  <a:pt x="39" y="119"/>
                  <a:pt x="39" y="119"/>
                  <a:pt x="39" y="119"/>
                </a:cubicBezTo>
                <a:cubicBezTo>
                  <a:pt x="39" y="120"/>
                  <a:pt x="39" y="120"/>
                  <a:pt x="39" y="120"/>
                </a:cubicBezTo>
                <a:cubicBezTo>
                  <a:pt x="40" y="120"/>
                  <a:pt x="40" y="120"/>
                  <a:pt x="40" y="120"/>
                </a:cubicBezTo>
                <a:cubicBezTo>
                  <a:pt x="55" y="125"/>
                  <a:pt x="68" y="126"/>
                  <a:pt x="79" y="126"/>
                </a:cubicBezTo>
                <a:cubicBezTo>
                  <a:pt x="99" y="126"/>
                  <a:pt x="111" y="120"/>
                  <a:pt x="112" y="120"/>
                </a:cubicBezTo>
                <a:cubicBezTo>
                  <a:pt x="113" y="119"/>
                  <a:pt x="113" y="119"/>
                  <a:pt x="113" y="119"/>
                </a:cubicBezTo>
                <a:cubicBezTo>
                  <a:pt x="114" y="119"/>
                  <a:pt x="114" y="119"/>
                  <a:pt x="114" y="119"/>
                </a:cubicBezTo>
                <a:cubicBezTo>
                  <a:pt x="114" y="97"/>
                  <a:pt x="114" y="97"/>
                  <a:pt x="114" y="97"/>
                </a:cubicBezTo>
                <a:cubicBezTo>
                  <a:pt x="114" y="81"/>
                  <a:pt x="101" y="68"/>
                  <a:pt x="85" y="68"/>
                </a:cubicBezTo>
                <a:close/>
                <a:moveTo>
                  <a:pt x="122" y="46"/>
                </a:moveTo>
                <a:cubicBezTo>
                  <a:pt x="103" y="46"/>
                  <a:pt x="103" y="46"/>
                  <a:pt x="103" y="46"/>
                </a:cubicBezTo>
                <a:cubicBezTo>
                  <a:pt x="103" y="53"/>
                  <a:pt x="100" y="60"/>
                  <a:pt x="95" y="65"/>
                </a:cubicBezTo>
                <a:cubicBezTo>
                  <a:pt x="109" y="69"/>
                  <a:pt x="119" y="81"/>
                  <a:pt x="119" y="97"/>
                </a:cubicBezTo>
                <a:cubicBezTo>
                  <a:pt x="119" y="104"/>
                  <a:pt x="119" y="104"/>
                  <a:pt x="119" y="104"/>
                </a:cubicBezTo>
                <a:cubicBezTo>
                  <a:pt x="137" y="103"/>
                  <a:pt x="148" y="98"/>
                  <a:pt x="148" y="97"/>
                </a:cubicBezTo>
                <a:cubicBezTo>
                  <a:pt x="150" y="97"/>
                  <a:pt x="150" y="97"/>
                  <a:pt x="150" y="97"/>
                </a:cubicBezTo>
                <a:cubicBezTo>
                  <a:pt x="150" y="97"/>
                  <a:pt x="150" y="97"/>
                  <a:pt x="150" y="97"/>
                </a:cubicBezTo>
                <a:cubicBezTo>
                  <a:pt x="150" y="74"/>
                  <a:pt x="150" y="74"/>
                  <a:pt x="150" y="74"/>
                </a:cubicBezTo>
                <a:cubicBezTo>
                  <a:pt x="150" y="58"/>
                  <a:pt x="137" y="46"/>
                  <a:pt x="122" y="46"/>
                </a:cubicBezTo>
                <a:close/>
                <a:moveTo>
                  <a:pt x="38" y="44"/>
                </a:moveTo>
                <a:cubicBezTo>
                  <a:pt x="42" y="44"/>
                  <a:pt x="46" y="43"/>
                  <a:pt x="49" y="41"/>
                </a:cubicBezTo>
                <a:cubicBezTo>
                  <a:pt x="50" y="34"/>
                  <a:pt x="54" y="28"/>
                  <a:pt x="60" y="24"/>
                </a:cubicBezTo>
                <a:cubicBezTo>
                  <a:pt x="60" y="23"/>
                  <a:pt x="60" y="23"/>
                  <a:pt x="60" y="22"/>
                </a:cubicBezTo>
                <a:cubicBezTo>
                  <a:pt x="60" y="10"/>
                  <a:pt x="50" y="0"/>
                  <a:pt x="38" y="0"/>
                </a:cubicBezTo>
                <a:cubicBezTo>
                  <a:pt x="25" y="0"/>
                  <a:pt x="16" y="10"/>
                  <a:pt x="16" y="22"/>
                </a:cubicBezTo>
                <a:cubicBezTo>
                  <a:pt x="16" y="34"/>
                  <a:pt x="25" y="44"/>
                  <a:pt x="38" y="44"/>
                </a:cubicBezTo>
                <a:close/>
                <a:moveTo>
                  <a:pt x="57" y="65"/>
                </a:moveTo>
                <a:cubicBezTo>
                  <a:pt x="52" y="60"/>
                  <a:pt x="49" y="53"/>
                  <a:pt x="49" y="46"/>
                </a:cubicBezTo>
                <a:cubicBezTo>
                  <a:pt x="48" y="46"/>
                  <a:pt x="48" y="46"/>
                  <a:pt x="47" y="46"/>
                </a:cubicBezTo>
                <a:cubicBezTo>
                  <a:pt x="28" y="46"/>
                  <a:pt x="28" y="46"/>
                  <a:pt x="28" y="46"/>
                </a:cubicBezTo>
                <a:cubicBezTo>
                  <a:pt x="13" y="46"/>
                  <a:pt x="0" y="58"/>
                  <a:pt x="0" y="74"/>
                </a:cubicBezTo>
                <a:cubicBezTo>
                  <a:pt x="0" y="97"/>
                  <a:pt x="0" y="97"/>
                  <a:pt x="0" y="97"/>
                </a:cubicBezTo>
                <a:cubicBezTo>
                  <a:pt x="0" y="97"/>
                  <a:pt x="0" y="97"/>
                  <a:pt x="0" y="97"/>
                </a:cubicBezTo>
                <a:cubicBezTo>
                  <a:pt x="2" y="98"/>
                  <a:pt x="2" y="98"/>
                  <a:pt x="2" y="98"/>
                </a:cubicBezTo>
                <a:cubicBezTo>
                  <a:pt x="14" y="101"/>
                  <a:pt x="24" y="103"/>
                  <a:pt x="33" y="103"/>
                </a:cubicBezTo>
                <a:cubicBezTo>
                  <a:pt x="33" y="97"/>
                  <a:pt x="33" y="97"/>
                  <a:pt x="33" y="97"/>
                </a:cubicBezTo>
                <a:cubicBezTo>
                  <a:pt x="33" y="81"/>
                  <a:pt x="44" y="69"/>
                  <a:pt x="57" y="65"/>
                </a:cubicBezTo>
                <a:close/>
                <a:moveTo>
                  <a:pt x="57" y="65"/>
                </a:moveTo>
                <a:cubicBezTo>
                  <a:pt x="57" y="65"/>
                  <a:pt x="57" y="65"/>
                  <a:pt x="57" y="65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141" name="íş1ïḋé">
            <a:extLst>
              <a:ext uri="{FF2B5EF4-FFF2-40B4-BE49-F238E27FC236}">
                <a16:creationId xmlns:a16="http://schemas.microsoft.com/office/drawing/2014/main" id="{F69A319F-7D8A-484E-8DAA-5C71C825F5DC}"/>
              </a:ext>
            </a:extLst>
          </p:cNvPr>
          <p:cNvSpPr>
            <a:spLocks/>
          </p:cNvSpPr>
          <p:nvPr/>
        </p:nvSpPr>
        <p:spPr bwMode="auto">
          <a:xfrm>
            <a:off x="9666944" y="1586816"/>
            <a:ext cx="156770" cy="88661"/>
          </a:xfrm>
          <a:custGeom>
            <a:avLst/>
            <a:gdLst>
              <a:gd name="T0" fmla="*/ 46 w 113"/>
              <a:gd name="T1" fmla="*/ 63 h 64"/>
              <a:gd name="T2" fmla="*/ 47 w 113"/>
              <a:gd name="T3" fmla="*/ 64 h 64"/>
              <a:gd name="T4" fmla="*/ 111 w 113"/>
              <a:gd name="T5" fmla="*/ 64 h 64"/>
              <a:gd name="T6" fmla="*/ 112 w 113"/>
              <a:gd name="T7" fmla="*/ 63 h 64"/>
              <a:gd name="T8" fmla="*/ 113 w 113"/>
              <a:gd name="T9" fmla="*/ 61 h 64"/>
              <a:gd name="T10" fmla="*/ 91 w 113"/>
              <a:gd name="T11" fmla="*/ 17 h 64"/>
              <a:gd name="T12" fmla="*/ 44 w 113"/>
              <a:gd name="T13" fmla="*/ 0 h 64"/>
              <a:gd name="T14" fmla="*/ 1 w 113"/>
              <a:gd name="T15" fmla="*/ 15 h 64"/>
              <a:gd name="T16" fmla="*/ 0 w 113"/>
              <a:gd name="T17" fmla="*/ 17 h 64"/>
              <a:gd name="T18" fmla="*/ 1 w 113"/>
              <a:gd name="T19" fmla="*/ 18 h 64"/>
              <a:gd name="T20" fmla="*/ 46 w 113"/>
              <a:gd name="T21" fmla="*/ 63 h 64"/>
              <a:gd name="T22" fmla="*/ 37 w 113"/>
              <a:gd name="T23" fmla="*/ 39 h 64"/>
              <a:gd name="T24" fmla="*/ 56 w 113"/>
              <a:gd name="T25" fmla="*/ 12 h 64"/>
              <a:gd name="T26" fmla="*/ 62 w 113"/>
              <a:gd name="T27" fmla="*/ 14 h 64"/>
              <a:gd name="T28" fmla="*/ 42 w 113"/>
              <a:gd name="T29" fmla="*/ 43 h 64"/>
              <a:gd name="T30" fmla="*/ 37 w 113"/>
              <a:gd name="T31" fmla="*/ 39 h 64"/>
              <a:gd name="T32" fmla="*/ 44 w 113"/>
              <a:gd name="T33" fmla="*/ 11 h 64"/>
              <a:gd name="T34" fmla="*/ 46 w 113"/>
              <a:gd name="T35" fmla="*/ 11 h 64"/>
              <a:gd name="T36" fmla="*/ 31 w 113"/>
              <a:gd name="T37" fmla="*/ 33 h 64"/>
              <a:gd name="T38" fmla="*/ 26 w 113"/>
              <a:gd name="T39" fmla="*/ 28 h 64"/>
              <a:gd name="T40" fmla="*/ 38 w 113"/>
              <a:gd name="T41" fmla="*/ 11 h 64"/>
              <a:gd name="T42" fmla="*/ 44 w 113"/>
              <a:gd name="T43" fmla="*/ 11 h 64"/>
              <a:gd name="T44" fmla="*/ 26 w 113"/>
              <a:gd name="T45" fmla="*/ 14 h 64"/>
              <a:gd name="T46" fmla="*/ 20 w 113"/>
              <a:gd name="T47" fmla="*/ 22 h 64"/>
              <a:gd name="T48" fmla="*/ 16 w 113"/>
              <a:gd name="T49" fmla="*/ 18 h 64"/>
              <a:gd name="T50" fmla="*/ 24 w 113"/>
              <a:gd name="T51" fmla="*/ 14 h 64"/>
              <a:gd name="T52" fmla="*/ 26 w 113"/>
              <a:gd name="T53" fmla="*/ 14 h 64"/>
              <a:gd name="T54" fmla="*/ 80 w 113"/>
              <a:gd name="T55" fmla="*/ 53 h 64"/>
              <a:gd name="T56" fmla="*/ 92 w 113"/>
              <a:gd name="T57" fmla="*/ 35 h 64"/>
              <a:gd name="T58" fmla="*/ 94 w 113"/>
              <a:gd name="T59" fmla="*/ 39 h 64"/>
              <a:gd name="T60" fmla="*/ 84 w 113"/>
              <a:gd name="T61" fmla="*/ 53 h 64"/>
              <a:gd name="T62" fmla="*/ 80 w 113"/>
              <a:gd name="T63" fmla="*/ 53 h 64"/>
              <a:gd name="T64" fmla="*/ 95 w 113"/>
              <a:gd name="T65" fmla="*/ 53 h 64"/>
              <a:gd name="T66" fmla="*/ 98 w 113"/>
              <a:gd name="T67" fmla="*/ 47 h 64"/>
              <a:gd name="T68" fmla="*/ 100 w 113"/>
              <a:gd name="T69" fmla="*/ 53 h 64"/>
              <a:gd name="T70" fmla="*/ 95 w 113"/>
              <a:gd name="T71" fmla="*/ 53 h 64"/>
              <a:gd name="T72" fmla="*/ 63 w 113"/>
              <a:gd name="T73" fmla="*/ 53 h 64"/>
              <a:gd name="T74" fmla="*/ 82 w 113"/>
              <a:gd name="T75" fmla="*/ 25 h 64"/>
              <a:gd name="T76" fmla="*/ 83 w 113"/>
              <a:gd name="T77" fmla="*/ 26 h 64"/>
              <a:gd name="T78" fmla="*/ 86 w 113"/>
              <a:gd name="T79" fmla="*/ 28 h 64"/>
              <a:gd name="T80" fmla="*/ 70 w 113"/>
              <a:gd name="T81" fmla="*/ 53 h 64"/>
              <a:gd name="T82" fmla="*/ 63 w 113"/>
              <a:gd name="T83" fmla="*/ 53 h 64"/>
              <a:gd name="T84" fmla="*/ 53 w 113"/>
              <a:gd name="T85" fmla="*/ 53 h 64"/>
              <a:gd name="T86" fmla="*/ 51 w 113"/>
              <a:gd name="T87" fmla="*/ 53 h 64"/>
              <a:gd name="T88" fmla="*/ 48 w 113"/>
              <a:gd name="T89" fmla="*/ 50 h 64"/>
              <a:gd name="T90" fmla="*/ 70 w 113"/>
              <a:gd name="T91" fmla="*/ 17 h 64"/>
              <a:gd name="T92" fmla="*/ 75 w 113"/>
              <a:gd name="T93" fmla="*/ 20 h 64"/>
              <a:gd name="T94" fmla="*/ 53 w 113"/>
              <a:gd name="T95" fmla="*/ 53 h 64"/>
              <a:gd name="T96" fmla="*/ 53 w 113"/>
              <a:gd name="T97" fmla="*/ 53 h 64"/>
              <a:gd name="T98" fmla="*/ 53 w 113"/>
              <a:gd name="T99" fmla="*/ 53 h 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113" h="64">
                <a:moveTo>
                  <a:pt x="46" y="63"/>
                </a:moveTo>
                <a:cubicBezTo>
                  <a:pt x="46" y="63"/>
                  <a:pt x="47" y="64"/>
                  <a:pt x="47" y="64"/>
                </a:cubicBezTo>
                <a:cubicBezTo>
                  <a:pt x="111" y="64"/>
                  <a:pt x="111" y="64"/>
                  <a:pt x="111" y="64"/>
                </a:cubicBezTo>
                <a:cubicBezTo>
                  <a:pt x="111" y="64"/>
                  <a:pt x="112" y="63"/>
                  <a:pt x="112" y="63"/>
                </a:cubicBezTo>
                <a:cubicBezTo>
                  <a:pt x="113" y="63"/>
                  <a:pt x="113" y="62"/>
                  <a:pt x="113" y="61"/>
                </a:cubicBezTo>
                <a:cubicBezTo>
                  <a:pt x="111" y="44"/>
                  <a:pt x="103" y="29"/>
                  <a:pt x="91" y="17"/>
                </a:cubicBezTo>
                <a:cubicBezTo>
                  <a:pt x="78" y="6"/>
                  <a:pt x="62" y="0"/>
                  <a:pt x="44" y="0"/>
                </a:cubicBezTo>
                <a:cubicBezTo>
                  <a:pt x="29" y="0"/>
                  <a:pt x="13" y="5"/>
                  <a:pt x="1" y="15"/>
                </a:cubicBezTo>
                <a:cubicBezTo>
                  <a:pt x="1" y="15"/>
                  <a:pt x="0" y="16"/>
                  <a:pt x="0" y="17"/>
                </a:cubicBezTo>
                <a:cubicBezTo>
                  <a:pt x="0" y="17"/>
                  <a:pt x="1" y="18"/>
                  <a:pt x="1" y="18"/>
                </a:cubicBezTo>
                <a:lnTo>
                  <a:pt x="46" y="63"/>
                </a:lnTo>
                <a:close/>
                <a:moveTo>
                  <a:pt x="37" y="39"/>
                </a:moveTo>
                <a:cubicBezTo>
                  <a:pt x="56" y="12"/>
                  <a:pt x="56" y="12"/>
                  <a:pt x="56" y="12"/>
                </a:cubicBezTo>
                <a:cubicBezTo>
                  <a:pt x="58" y="12"/>
                  <a:pt x="60" y="13"/>
                  <a:pt x="62" y="14"/>
                </a:cubicBezTo>
                <a:cubicBezTo>
                  <a:pt x="42" y="43"/>
                  <a:pt x="42" y="43"/>
                  <a:pt x="42" y="43"/>
                </a:cubicBezTo>
                <a:lnTo>
                  <a:pt x="37" y="39"/>
                </a:lnTo>
                <a:close/>
                <a:moveTo>
                  <a:pt x="44" y="11"/>
                </a:moveTo>
                <a:cubicBezTo>
                  <a:pt x="45" y="11"/>
                  <a:pt x="45" y="11"/>
                  <a:pt x="46" y="11"/>
                </a:cubicBezTo>
                <a:cubicBezTo>
                  <a:pt x="31" y="33"/>
                  <a:pt x="31" y="33"/>
                  <a:pt x="31" y="33"/>
                </a:cubicBezTo>
                <a:cubicBezTo>
                  <a:pt x="26" y="28"/>
                  <a:pt x="26" y="28"/>
                  <a:pt x="26" y="28"/>
                </a:cubicBezTo>
                <a:cubicBezTo>
                  <a:pt x="38" y="11"/>
                  <a:pt x="38" y="11"/>
                  <a:pt x="38" y="11"/>
                </a:cubicBezTo>
                <a:cubicBezTo>
                  <a:pt x="40" y="11"/>
                  <a:pt x="42" y="11"/>
                  <a:pt x="44" y="11"/>
                </a:cubicBezTo>
                <a:close/>
                <a:moveTo>
                  <a:pt x="26" y="14"/>
                </a:moveTo>
                <a:cubicBezTo>
                  <a:pt x="20" y="22"/>
                  <a:pt x="20" y="22"/>
                  <a:pt x="20" y="22"/>
                </a:cubicBezTo>
                <a:cubicBezTo>
                  <a:pt x="16" y="18"/>
                  <a:pt x="16" y="18"/>
                  <a:pt x="16" y="18"/>
                </a:cubicBezTo>
                <a:cubicBezTo>
                  <a:pt x="19" y="17"/>
                  <a:pt x="22" y="15"/>
                  <a:pt x="24" y="14"/>
                </a:cubicBezTo>
                <a:cubicBezTo>
                  <a:pt x="25" y="14"/>
                  <a:pt x="26" y="14"/>
                  <a:pt x="26" y="14"/>
                </a:cubicBezTo>
                <a:close/>
                <a:moveTo>
                  <a:pt x="80" y="53"/>
                </a:moveTo>
                <a:cubicBezTo>
                  <a:pt x="92" y="35"/>
                  <a:pt x="92" y="35"/>
                  <a:pt x="92" y="35"/>
                </a:cubicBezTo>
                <a:cubicBezTo>
                  <a:pt x="92" y="36"/>
                  <a:pt x="93" y="38"/>
                  <a:pt x="94" y="39"/>
                </a:cubicBezTo>
                <a:cubicBezTo>
                  <a:pt x="84" y="53"/>
                  <a:pt x="84" y="53"/>
                  <a:pt x="84" y="53"/>
                </a:cubicBezTo>
                <a:lnTo>
                  <a:pt x="80" y="53"/>
                </a:lnTo>
                <a:close/>
                <a:moveTo>
                  <a:pt x="95" y="53"/>
                </a:moveTo>
                <a:cubicBezTo>
                  <a:pt x="98" y="47"/>
                  <a:pt x="98" y="47"/>
                  <a:pt x="98" y="47"/>
                </a:cubicBezTo>
                <a:cubicBezTo>
                  <a:pt x="99" y="49"/>
                  <a:pt x="99" y="51"/>
                  <a:pt x="100" y="53"/>
                </a:cubicBezTo>
                <a:lnTo>
                  <a:pt x="95" y="53"/>
                </a:lnTo>
                <a:close/>
                <a:moveTo>
                  <a:pt x="63" y="53"/>
                </a:moveTo>
                <a:cubicBezTo>
                  <a:pt x="82" y="25"/>
                  <a:pt x="82" y="25"/>
                  <a:pt x="82" y="25"/>
                </a:cubicBezTo>
                <a:cubicBezTo>
                  <a:pt x="82" y="25"/>
                  <a:pt x="83" y="26"/>
                  <a:pt x="83" y="26"/>
                </a:cubicBezTo>
                <a:cubicBezTo>
                  <a:pt x="84" y="27"/>
                  <a:pt x="85" y="28"/>
                  <a:pt x="86" y="28"/>
                </a:cubicBezTo>
                <a:cubicBezTo>
                  <a:pt x="70" y="53"/>
                  <a:pt x="70" y="53"/>
                  <a:pt x="70" y="53"/>
                </a:cubicBezTo>
                <a:lnTo>
                  <a:pt x="63" y="53"/>
                </a:lnTo>
                <a:close/>
                <a:moveTo>
                  <a:pt x="53" y="53"/>
                </a:moveTo>
                <a:cubicBezTo>
                  <a:pt x="51" y="53"/>
                  <a:pt x="51" y="53"/>
                  <a:pt x="51" y="53"/>
                </a:cubicBezTo>
                <a:cubicBezTo>
                  <a:pt x="48" y="50"/>
                  <a:pt x="48" y="50"/>
                  <a:pt x="48" y="50"/>
                </a:cubicBezTo>
                <a:cubicBezTo>
                  <a:pt x="70" y="17"/>
                  <a:pt x="70" y="17"/>
                  <a:pt x="70" y="17"/>
                </a:cubicBezTo>
                <a:cubicBezTo>
                  <a:pt x="71" y="18"/>
                  <a:pt x="73" y="19"/>
                  <a:pt x="75" y="20"/>
                </a:cubicBezTo>
                <a:lnTo>
                  <a:pt x="53" y="53"/>
                </a:lnTo>
                <a:close/>
                <a:moveTo>
                  <a:pt x="53" y="53"/>
                </a:moveTo>
                <a:cubicBezTo>
                  <a:pt x="53" y="53"/>
                  <a:pt x="53" y="53"/>
                  <a:pt x="53" y="53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142" name="íṡ1îḋê">
            <a:extLst>
              <a:ext uri="{FF2B5EF4-FFF2-40B4-BE49-F238E27FC236}">
                <a16:creationId xmlns:a16="http://schemas.microsoft.com/office/drawing/2014/main" id="{740FC93D-5531-4C2A-8AF8-8168E77787E1}"/>
              </a:ext>
            </a:extLst>
          </p:cNvPr>
          <p:cNvSpPr>
            <a:spLocks/>
          </p:cNvSpPr>
          <p:nvPr/>
        </p:nvSpPr>
        <p:spPr bwMode="auto">
          <a:xfrm>
            <a:off x="9633476" y="1621458"/>
            <a:ext cx="86311" cy="137394"/>
          </a:xfrm>
          <a:custGeom>
            <a:avLst/>
            <a:gdLst>
              <a:gd name="T0" fmla="*/ 61 w 62"/>
              <a:gd name="T1" fmla="*/ 43 h 99"/>
              <a:gd name="T2" fmla="*/ 18 w 62"/>
              <a:gd name="T3" fmla="*/ 0 h 99"/>
              <a:gd name="T4" fmla="*/ 16 w 62"/>
              <a:gd name="T5" fmla="*/ 0 h 99"/>
              <a:gd name="T6" fmla="*/ 15 w 62"/>
              <a:gd name="T7" fmla="*/ 1 h 99"/>
              <a:gd name="T8" fmla="*/ 0 w 62"/>
              <a:gd name="T9" fmla="*/ 44 h 99"/>
              <a:gd name="T10" fmla="*/ 26 w 62"/>
              <a:gd name="T11" fmla="*/ 98 h 99"/>
              <a:gd name="T12" fmla="*/ 28 w 62"/>
              <a:gd name="T13" fmla="*/ 99 h 99"/>
              <a:gd name="T14" fmla="*/ 28 w 62"/>
              <a:gd name="T15" fmla="*/ 99 h 99"/>
              <a:gd name="T16" fmla="*/ 29 w 62"/>
              <a:gd name="T17" fmla="*/ 98 h 99"/>
              <a:gd name="T18" fmla="*/ 61 w 62"/>
              <a:gd name="T19" fmla="*/ 46 h 99"/>
              <a:gd name="T20" fmla="*/ 61 w 62"/>
              <a:gd name="T21" fmla="*/ 43 h 99"/>
              <a:gd name="T22" fmla="*/ 48 w 62"/>
              <a:gd name="T23" fmla="*/ 46 h 99"/>
              <a:gd name="T24" fmla="*/ 26 w 62"/>
              <a:gd name="T25" fmla="*/ 83 h 99"/>
              <a:gd name="T26" fmla="*/ 17 w 62"/>
              <a:gd name="T27" fmla="*/ 70 h 99"/>
              <a:gd name="T28" fmla="*/ 11 w 62"/>
              <a:gd name="T29" fmla="*/ 44 h 99"/>
              <a:gd name="T30" fmla="*/ 14 w 62"/>
              <a:gd name="T31" fmla="*/ 24 h 99"/>
              <a:gd name="T32" fmla="*/ 18 w 62"/>
              <a:gd name="T33" fmla="*/ 16 h 99"/>
              <a:gd name="T34" fmla="*/ 48 w 62"/>
              <a:gd name="T35" fmla="*/ 46 h 99"/>
              <a:gd name="T36" fmla="*/ 48 w 62"/>
              <a:gd name="T37" fmla="*/ 46 h 99"/>
              <a:gd name="T38" fmla="*/ 48 w 62"/>
              <a:gd name="T39" fmla="*/ 46 h 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62" h="99">
                <a:moveTo>
                  <a:pt x="61" y="43"/>
                </a:moveTo>
                <a:cubicBezTo>
                  <a:pt x="18" y="0"/>
                  <a:pt x="18" y="0"/>
                  <a:pt x="18" y="0"/>
                </a:cubicBezTo>
                <a:cubicBezTo>
                  <a:pt x="17" y="0"/>
                  <a:pt x="17" y="0"/>
                  <a:pt x="16" y="0"/>
                </a:cubicBezTo>
                <a:cubicBezTo>
                  <a:pt x="16" y="0"/>
                  <a:pt x="15" y="0"/>
                  <a:pt x="15" y="1"/>
                </a:cubicBezTo>
                <a:cubicBezTo>
                  <a:pt x="5" y="13"/>
                  <a:pt x="0" y="28"/>
                  <a:pt x="0" y="44"/>
                </a:cubicBezTo>
                <a:cubicBezTo>
                  <a:pt x="0" y="65"/>
                  <a:pt x="9" y="85"/>
                  <a:pt x="26" y="98"/>
                </a:cubicBezTo>
                <a:cubicBezTo>
                  <a:pt x="27" y="98"/>
                  <a:pt x="27" y="99"/>
                  <a:pt x="28" y="99"/>
                </a:cubicBezTo>
                <a:cubicBezTo>
                  <a:pt x="28" y="99"/>
                  <a:pt x="28" y="99"/>
                  <a:pt x="28" y="99"/>
                </a:cubicBezTo>
                <a:cubicBezTo>
                  <a:pt x="28" y="98"/>
                  <a:pt x="29" y="98"/>
                  <a:pt x="29" y="98"/>
                </a:cubicBezTo>
                <a:cubicBezTo>
                  <a:pt x="61" y="46"/>
                  <a:pt x="61" y="46"/>
                  <a:pt x="61" y="46"/>
                </a:cubicBezTo>
                <a:cubicBezTo>
                  <a:pt x="62" y="45"/>
                  <a:pt x="61" y="44"/>
                  <a:pt x="61" y="43"/>
                </a:cubicBezTo>
                <a:close/>
                <a:moveTo>
                  <a:pt x="48" y="46"/>
                </a:moveTo>
                <a:cubicBezTo>
                  <a:pt x="26" y="83"/>
                  <a:pt x="26" y="83"/>
                  <a:pt x="26" y="83"/>
                </a:cubicBezTo>
                <a:cubicBezTo>
                  <a:pt x="22" y="79"/>
                  <a:pt x="19" y="75"/>
                  <a:pt x="17" y="70"/>
                </a:cubicBezTo>
                <a:cubicBezTo>
                  <a:pt x="13" y="62"/>
                  <a:pt x="11" y="53"/>
                  <a:pt x="11" y="44"/>
                </a:cubicBezTo>
                <a:cubicBezTo>
                  <a:pt x="11" y="37"/>
                  <a:pt x="12" y="30"/>
                  <a:pt x="14" y="24"/>
                </a:cubicBezTo>
                <a:cubicBezTo>
                  <a:pt x="15" y="21"/>
                  <a:pt x="16" y="18"/>
                  <a:pt x="18" y="16"/>
                </a:cubicBezTo>
                <a:lnTo>
                  <a:pt x="48" y="46"/>
                </a:lnTo>
                <a:close/>
                <a:moveTo>
                  <a:pt x="48" y="46"/>
                </a:moveTo>
                <a:cubicBezTo>
                  <a:pt x="48" y="46"/>
                  <a:pt x="48" y="46"/>
                  <a:pt x="48" y="46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143" name="îṧľïḑé">
            <a:extLst>
              <a:ext uri="{FF2B5EF4-FFF2-40B4-BE49-F238E27FC236}">
                <a16:creationId xmlns:a16="http://schemas.microsoft.com/office/drawing/2014/main" id="{CE80922C-B066-4C3B-B64A-C4239DB6F6A3}"/>
              </a:ext>
            </a:extLst>
          </p:cNvPr>
          <p:cNvSpPr>
            <a:spLocks/>
          </p:cNvSpPr>
          <p:nvPr/>
        </p:nvSpPr>
        <p:spPr bwMode="auto">
          <a:xfrm>
            <a:off x="9686321" y="1689568"/>
            <a:ext cx="137394" cy="88661"/>
          </a:xfrm>
          <a:custGeom>
            <a:avLst/>
            <a:gdLst>
              <a:gd name="T0" fmla="*/ 97 w 99"/>
              <a:gd name="T1" fmla="*/ 0 h 64"/>
              <a:gd name="T2" fmla="*/ 34 w 99"/>
              <a:gd name="T3" fmla="*/ 0 h 64"/>
              <a:gd name="T4" fmla="*/ 33 w 99"/>
              <a:gd name="T5" fmla="*/ 1 h 64"/>
              <a:gd name="T6" fmla="*/ 0 w 99"/>
              <a:gd name="T7" fmla="*/ 54 h 64"/>
              <a:gd name="T8" fmla="*/ 0 w 99"/>
              <a:gd name="T9" fmla="*/ 56 h 64"/>
              <a:gd name="T10" fmla="*/ 1 w 99"/>
              <a:gd name="T11" fmla="*/ 57 h 64"/>
              <a:gd name="T12" fmla="*/ 30 w 99"/>
              <a:gd name="T13" fmla="*/ 64 h 64"/>
              <a:gd name="T14" fmla="*/ 77 w 99"/>
              <a:gd name="T15" fmla="*/ 46 h 64"/>
              <a:gd name="T16" fmla="*/ 99 w 99"/>
              <a:gd name="T17" fmla="*/ 2 h 64"/>
              <a:gd name="T18" fmla="*/ 98 w 99"/>
              <a:gd name="T19" fmla="*/ 1 h 64"/>
              <a:gd name="T20" fmla="*/ 97 w 99"/>
              <a:gd name="T21" fmla="*/ 0 h 64"/>
              <a:gd name="T22" fmla="*/ 97 w 99"/>
              <a:gd name="T23" fmla="*/ 0 h 64"/>
              <a:gd name="T24" fmla="*/ 97 w 99"/>
              <a:gd name="T25" fmla="*/ 0 h 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9" h="64">
                <a:moveTo>
                  <a:pt x="97" y="0"/>
                </a:moveTo>
                <a:cubicBezTo>
                  <a:pt x="34" y="0"/>
                  <a:pt x="34" y="0"/>
                  <a:pt x="34" y="0"/>
                </a:cubicBezTo>
                <a:cubicBezTo>
                  <a:pt x="34" y="0"/>
                  <a:pt x="33" y="0"/>
                  <a:pt x="33" y="1"/>
                </a:cubicBezTo>
                <a:cubicBezTo>
                  <a:pt x="0" y="54"/>
                  <a:pt x="0" y="54"/>
                  <a:pt x="0" y="54"/>
                </a:cubicBezTo>
                <a:cubicBezTo>
                  <a:pt x="0" y="54"/>
                  <a:pt x="0" y="55"/>
                  <a:pt x="0" y="56"/>
                </a:cubicBezTo>
                <a:cubicBezTo>
                  <a:pt x="0" y="56"/>
                  <a:pt x="0" y="57"/>
                  <a:pt x="1" y="57"/>
                </a:cubicBezTo>
                <a:cubicBezTo>
                  <a:pt x="10" y="61"/>
                  <a:pt x="20" y="64"/>
                  <a:pt x="30" y="64"/>
                </a:cubicBezTo>
                <a:cubicBezTo>
                  <a:pt x="48" y="64"/>
                  <a:pt x="64" y="57"/>
                  <a:pt x="77" y="46"/>
                </a:cubicBezTo>
                <a:cubicBezTo>
                  <a:pt x="89" y="35"/>
                  <a:pt x="97" y="19"/>
                  <a:pt x="99" y="2"/>
                </a:cubicBezTo>
                <a:cubicBezTo>
                  <a:pt x="99" y="2"/>
                  <a:pt x="99" y="1"/>
                  <a:pt x="98" y="1"/>
                </a:cubicBezTo>
                <a:cubicBezTo>
                  <a:pt x="98" y="0"/>
                  <a:pt x="97" y="0"/>
                  <a:pt x="97" y="0"/>
                </a:cubicBezTo>
                <a:close/>
                <a:moveTo>
                  <a:pt x="97" y="0"/>
                </a:moveTo>
                <a:cubicBezTo>
                  <a:pt x="97" y="0"/>
                  <a:pt x="97" y="0"/>
                  <a:pt x="97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144" name="iślíḓe">
            <a:extLst>
              <a:ext uri="{FF2B5EF4-FFF2-40B4-BE49-F238E27FC236}">
                <a16:creationId xmlns:a16="http://schemas.microsoft.com/office/drawing/2014/main" id="{17FEE8EC-041A-44D2-85CC-AA8DE3499218}"/>
              </a:ext>
            </a:extLst>
          </p:cNvPr>
          <p:cNvSpPr>
            <a:spLocks/>
          </p:cNvSpPr>
          <p:nvPr/>
        </p:nvSpPr>
        <p:spPr bwMode="auto">
          <a:xfrm>
            <a:off x="10366832" y="3291325"/>
            <a:ext cx="156770" cy="89247"/>
          </a:xfrm>
          <a:custGeom>
            <a:avLst/>
            <a:gdLst>
              <a:gd name="T0" fmla="*/ 46 w 113"/>
              <a:gd name="T1" fmla="*/ 63 h 64"/>
              <a:gd name="T2" fmla="*/ 47 w 113"/>
              <a:gd name="T3" fmla="*/ 64 h 64"/>
              <a:gd name="T4" fmla="*/ 111 w 113"/>
              <a:gd name="T5" fmla="*/ 64 h 64"/>
              <a:gd name="T6" fmla="*/ 112 w 113"/>
              <a:gd name="T7" fmla="*/ 63 h 64"/>
              <a:gd name="T8" fmla="*/ 113 w 113"/>
              <a:gd name="T9" fmla="*/ 61 h 64"/>
              <a:gd name="T10" fmla="*/ 90 w 113"/>
              <a:gd name="T11" fmla="*/ 17 h 64"/>
              <a:gd name="T12" fmla="*/ 44 w 113"/>
              <a:gd name="T13" fmla="*/ 0 h 64"/>
              <a:gd name="T14" fmla="*/ 1 w 113"/>
              <a:gd name="T15" fmla="*/ 15 h 64"/>
              <a:gd name="T16" fmla="*/ 0 w 113"/>
              <a:gd name="T17" fmla="*/ 17 h 64"/>
              <a:gd name="T18" fmla="*/ 1 w 113"/>
              <a:gd name="T19" fmla="*/ 18 h 64"/>
              <a:gd name="T20" fmla="*/ 46 w 113"/>
              <a:gd name="T21" fmla="*/ 63 h 64"/>
              <a:gd name="T22" fmla="*/ 37 w 113"/>
              <a:gd name="T23" fmla="*/ 39 h 64"/>
              <a:gd name="T24" fmla="*/ 55 w 113"/>
              <a:gd name="T25" fmla="*/ 12 h 64"/>
              <a:gd name="T26" fmla="*/ 62 w 113"/>
              <a:gd name="T27" fmla="*/ 14 h 64"/>
              <a:gd name="T28" fmla="*/ 42 w 113"/>
              <a:gd name="T29" fmla="*/ 43 h 64"/>
              <a:gd name="T30" fmla="*/ 37 w 113"/>
              <a:gd name="T31" fmla="*/ 39 h 64"/>
              <a:gd name="T32" fmla="*/ 44 w 113"/>
              <a:gd name="T33" fmla="*/ 11 h 64"/>
              <a:gd name="T34" fmla="*/ 46 w 113"/>
              <a:gd name="T35" fmla="*/ 11 h 64"/>
              <a:gd name="T36" fmla="*/ 31 w 113"/>
              <a:gd name="T37" fmla="*/ 33 h 64"/>
              <a:gd name="T38" fmla="*/ 26 w 113"/>
              <a:gd name="T39" fmla="*/ 28 h 64"/>
              <a:gd name="T40" fmla="*/ 38 w 113"/>
              <a:gd name="T41" fmla="*/ 11 h 64"/>
              <a:gd name="T42" fmla="*/ 44 w 113"/>
              <a:gd name="T43" fmla="*/ 11 h 64"/>
              <a:gd name="T44" fmla="*/ 26 w 113"/>
              <a:gd name="T45" fmla="*/ 14 h 64"/>
              <a:gd name="T46" fmla="*/ 20 w 113"/>
              <a:gd name="T47" fmla="*/ 22 h 64"/>
              <a:gd name="T48" fmla="*/ 16 w 113"/>
              <a:gd name="T49" fmla="*/ 18 h 64"/>
              <a:gd name="T50" fmla="*/ 24 w 113"/>
              <a:gd name="T51" fmla="*/ 14 h 64"/>
              <a:gd name="T52" fmla="*/ 26 w 113"/>
              <a:gd name="T53" fmla="*/ 14 h 64"/>
              <a:gd name="T54" fmla="*/ 80 w 113"/>
              <a:gd name="T55" fmla="*/ 53 h 64"/>
              <a:gd name="T56" fmla="*/ 91 w 113"/>
              <a:gd name="T57" fmla="*/ 35 h 64"/>
              <a:gd name="T58" fmla="*/ 94 w 113"/>
              <a:gd name="T59" fmla="*/ 39 h 64"/>
              <a:gd name="T60" fmla="*/ 84 w 113"/>
              <a:gd name="T61" fmla="*/ 53 h 64"/>
              <a:gd name="T62" fmla="*/ 80 w 113"/>
              <a:gd name="T63" fmla="*/ 53 h 64"/>
              <a:gd name="T64" fmla="*/ 94 w 113"/>
              <a:gd name="T65" fmla="*/ 53 h 64"/>
              <a:gd name="T66" fmla="*/ 98 w 113"/>
              <a:gd name="T67" fmla="*/ 47 h 64"/>
              <a:gd name="T68" fmla="*/ 100 w 113"/>
              <a:gd name="T69" fmla="*/ 53 h 64"/>
              <a:gd name="T70" fmla="*/ 94 w 113"/>
              <a:gd name="T71" fmla="*/ 53 h 64"/>
              <a:gd name="T72" fmla="*/ 63 w 113"/>
              <a:gd name="T73" fmla="*/ 53 h 64"/>
              <a:gd name="T74" fmla="*/ 82 w 113"/>
              <a:gd name="T75" fmla="*/ 25 h 64"/>
              <a:gd name="T76" fmla="*/ 83 w 113"/>
              <a:gd name="T77" fmla="*/ 26 h 64"/>
              <a:gd name="T78" fmla="*/ 86 w 113"/>
              <a:gd name="T79" fmla="*/ 29 h 64"/>
              <a:gd name="T80" fmla="*/ 70 w 113"/>
              <a:gd name="T81" fmla="*/ 53 h 64"/>
              <a:gd name="T82" fmla="*/ 63 w 113"/>
              <a:gd name="T83" fmla="*/ 53 h 64"/>
              <a:gd name="T84" fmla="*/ 53 w 113"/>
              <a:gd name="T85" fmla="*/ 53 h 64"/>
              <a:gd name="T86" fmla="*/ 51 w 113"/>
              <a:gd name="T87" fmla="*/ 53 h 64"/>
              <a:gd name="T88" fmla="*/ 48 w 113"/>
              <a:gd name="T89" fmla="*/ 50 h 64"/>
              <a:gd name="T90" fmla="*/ 70 w 113"/>
              <a:gd name="T91" fmla="*/ 17 h 64"/>
              <a:gd name="T92" fmla="*/ 75 w 113"/>
              <a:gd name="T93" fmla="*/ 20 h 64"/>
              <a:gd name="T94" fmla="*/ 53 w 113"/>
              <a:gd name="T95" fmla="*/ 53 h 64"/>
              <a:gd name="T96" fmla="*/ 53 w 113"/>
              <a:gd name="T97" fmla="*/ 53 h 64"/>
              <a:gd name="T98" fmla="*/ 53 w 113"/>
              <a:gd name="T99" fmla="*/ 53 h 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113" h="64">
                <a:moveTo>
                  <a:pt x="46" y="63"/>
                </a:moveTo>
                <a:cubicBezTo>
                  <a:pt x="46" y="63"/>
                  <a:pt x="47" y="64"/>
                  <a:pt x="47" y="64"/>
                </a:cubicBezTo>
                <a:cubicBezTo>
                  <a:pt x="111" y="64"/>
                  <a:pt x="111" y="64"/>
                  <a:pt x="111" y="64"/>
                </a:cubicBezTo>
                <a:cubicBezTo>
                  <a:pt x="111" y="64"/>
                  <a:pt x="112" y="63"/>
                  <a:pt x="112" y="63"/>
                </a:cubicBezTo>
                <a:cubicBezTo>
                  <a:pt x="113" y="63"/>
                  <a:pt x="113" y="62"/>
                  <a:pt x="113" y="61"/>
                </a:cubicBezTo>
                <a:cubicBezTo>
                  <a:pt x="111" y="44"/>
                  <a:pt x="103" y="29"/>
                  <a:pt x="90" y="17"/>
                </a:cubicBezTo>
                <a:cubicBezTo>
                  <a:pt x="78" y="6"/>
                  <a:pt x="61" y="0"/>
                  <a:pt x="44" y="0"/>
                </a:cubicBezTo>
                <a:cubicBezTo>
                  <a:pt x="29" y="0"/>
                  <a:pt x="13" y="5"/>
                  <a:pt x="1" y="15"/>
                </a:cubicBezTo>
                <a:cubicBezTo>
                  <a:pt x="1" y="16"/>
                  <a:pt x="0" y="16"/>
                  <a:pt x="0" y="17"/>
                </a:cubicBezTo>
                <a:cubicBezTo>
                  <a:pt x="0" y="17"/>
                  <a:pt x="0" y="18"/>
                  <a:pt x="1" y="18"/>
                </a:cubicBezTo>
                <a:lnTo>
                  <a:pt x="46" y="63"/>
                </a:lnTo>
                <a:close/>
                <a:moveTo>
                  <a:pt x="37" y="39"/>
                </a:moveTo>
                <a:cubicBezTo>
                  <a:pt x="55" y="12"/>
                  <a:pt x="55" y="12"/>
                  <a:pt x="55" y="12"/>
                </a:cubicBezTo>
                <a:cubicBezTo>
                  <a:pt x="57" y="12"/>
                  <a:pt x="60" y="13"/>
                  <a:pt x="62" y="14"/>
                </a:cubicBezTo>
                <a:cubicBezTo>
                  <a:pt x="42" y="43"/>
                  <a:pt x="42" y="43"/>
                  <a:pt x="42" y="43"/>
                </a:cubicBezTo>
                <a:lnTo>
                  <a:pt x="37" y="39"/>
                </a:lnTo>
                <a:close/>
                <a:moveTo>
                  <a:pt x="44" y="11"/>
                </a:moveTo>
                <a:cubicBezTo>
                  <a:pt x="45" y="11"/>
                  <a:pt x="45" y="11"/>
                  <a:pt x="46" y="11"/>
                </a:cubicBezTo>
                <a:cubicBezTo>
                  <a:pt x="31" y="33"/>
                  <a:pt x="31" y="33"/>
                  <a:pt x="31" y="33"/>
                </a:cubicBezTo>
                <a:cubicBezTo>
                  <a:pt x="26" y="28"/>
                  <a:pt x="26" y="28"/>
                  <a:pt x="26" y="28"/>
                </a:cubicBezTo>
                <a:cubicBezTo>
                  <a:pt x="38" y="11"/>
                  <a:pt x="38" y="11"/>
                  <a:pt x="38" y="11"/>
                </a:cubicBezTo>
                <a:cubicBezTo>
                  <a:pt x="40" y="11"/>
                  <a:pt x="42" y="11"/>
                  <a:pt x="44" y="11"/>
                </a:cubicBezTo>
                <a:close/>
                <a:moveTo>
                  <a:pt x="26" y="14"/>
                </a:moveTo>
                <a:cubicBezTo>
                  <a:pt x="20" y="22"/>
                  <a:pt x="20" y="22"/>
                  <a:pt x="20" y="22"/>
                </a:cubicBezTo>
                <a:cubicBezTo>
                  <a:pt x="16" y="18"/>
                  <a:pt x="16" y="18"/>
                  <a:pt x="16" y="18"/>
                </a:cubicBezTo>
                <a:cubicBezTo>
                  <a:pt x="19" y="17"/>
                  <a:pt x="22" y="15"/>
                  <a:pt x="24" y="14"/>
                </a:cubicBezTo>
                <a:cubicBezTo>
                  <a:pt x="25" y="14"/>
                  <a:pt x="25" y="14"/>
                  <a:pt x="26" y="14"/>
                </a:cubicBezTo>
                <a:close/>
                <a:moveTo>
                  <a:pt x="80" y="53"/>
                </a:moveTo>
                <a:cubicBezTo>
                  <a:pt x="91" y="35"/>
                  <a:pt x="91" y="35"/>
                  <a:pt x="91" y="35"/>
                </a:cubicBezTo>
                <a:cubicBezTo>
                  <a:pt x="92" y="36"/>
                  <a:pt x="93" y="38"/>
                  <a:pt x="94" y="39"/>
                </a:cubicBezTo>
                <a:cubicBezTo>
                  <a:pt x="84" y="53"/>
                  <a:pt x="84" y="53"/>
                  <a:pt x="84" y="53"/>
                </a:cubicBezTo>
                <a:lnTo>
                  <a:pt x="80" y="53"/>
                </a:lnTo>
                <a:close/>
                <a:moveTo>
                  <a:pt x="94" y="53"/>
                </a:moveTo>
                <a:cubicBezTo>
                  <a:pt x="98" y="47"/>
                  <a:pt x="98" y="47"/>
                  <a:pt x="98" y="47"/>
                </a:cubicBezTo>
                <a:cubicBezTo>
                  <a:pt x="99" y="49"/>
                  <a:pt x="99" y="51"/>
                  <a:pt x="100" y="53"/>
                </a:cubicBezTo>
                <a:lnTo>
                  <a:pt x="94" y="53"/>
                </a:lnTo>
                <a:close/>
                <a:moveTo>
                  <a:pt x="63" y="53"/>
                </a:moveTo>
                <a:cubicBezTo>
                  <a:pt x="82" y="25"/>
                  <a:pt x="82" y="25"/>
                  <a:pt x="82" y="25"/>
                </a:cubicBezTo>
                <a:cubicBezTo>
                  <a:pt x="82" y="25"/>
                  <a:pt x="83" y="26"/>
                  <a:pt x="83" y="26"/>
                </a:cubicBezTo>
                <a:cubicBezTo>
                  <a:pt x="84" y="27"/>
                  <a:pt x="85" y="28"/>
                  <a:pt x="86" y="29"/>
                </a:cubicBezTo>
                <a:cubicBezTo>
                  <a:pt x="70" y="53"/>
                  <a:pt x="70" y="53"/>
                  <a:pt x="70" y="53"/>
                </a:cubicBezTo>
                <a:lnTo>
                  <a:pt x="63" y="53"/>
                </a:lnTo>
                <a:close/>
                <a:moveTo>
                  <a:pt x="53" y="53"/>
                </a:moveTo>
                <a:cubicBezTo>
                  <a:pt x="51" y="53"/>
                  <a:pt x="51" y="53"/>
                  <a:pt x="51" y="53"/>
                </a:cubicBezTo>
                <a:cubicBezTo>
                  <a:pt x="48" y="50"/>
                  <a:pt x="48" y="50"/>
                  <a:pt x="48" y="50"/>
                </a:cubicBezTo>
                <a:cubicBezTo>
                  <a:pt x="70" y="17"/>
                  <a:pt x="70" y="17"/>
                  <a:pt x="70" y="17"/>
                </a:cubicBezTo>
                <a:cubicBezTo>
                  <a:pt x="71" y="18"/>
                  <a:pt x="73" y="19"/>
                  <a:pt x="75" y="20"/>
                </a:cubicBezTo>
                <a:lnTo>
                  <a:pt x="53" y="53"/>
                </a:lnTo>
                <a:close/>
                <a:moveTo>
                  <a:pt x="53" y="53"/>
                </a:moveTo>
                <a:cubicBezTo>
                  <a:pt x="53" y="53"/>
                  <a:pt x="53" y="53"/>
                  <a:pt x="53" y="53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145" name="íṩľíḑè">
            <a:extLst>
              <a:ext uri="{FF2B5EF4-FFF2-40B4-BE49-F238E27FC236}">
                <a16:creationId xmlns:a16="http://schemas.microsoft.com/office/drawing/2014/main" id="{6FD94BCC-653F-4385-A178-AE7EC4496A63}"/>
              </a:ext>
            </a:extLst>
          </p:cNvPr>
          <p:cNvSpPr>
            <a:spLocks/>
          </p:cNvSpPr>
          <p:nvPr/>
        </p:nvSpPr>
        <p:spPr bwMode="auto">
          <a:xfrm>
            <a:off x="10332190" y="3325967"/>
            <a:ext cx="85725" cy="137981"/>
          </a:xfrm>
          <a:custGeom>
            <a:avLst/>
            <a:gdLst>
              <a:gd name="T0" fmla="*/ 62 w 62"/>
              <a:gd name="T1" fmla="*/ 43 h 99"/>
              <a:gd name="T2" fmla="*/ 19 w 62"/>
              <a:gd name="T3" fmla="*/ 0 h 99"/>
              <a:gd name="T4" fmla="*/ 17 w 62"/>
              <a:gd name="T5" fmla="*/ 0 h 99"/>
              <a:gd name="T6" fmla="*/ 16 w 62"/>
              <a:gd name="T7" fmla="*/ 1 h 99"/>
              <a:gd name="T8" fmla="*/ 0 w 62"/>
              <a:gd name="T9" fmla="*/ 44 h 99"/>
              <a:gd name="T10" fmla="*/ 27 w 62"/>
              <a:gd name="T11" fmla="*/ 98 h 99"/>
              <a:gd name="T12" fmla="*/ 28 w 62"/>
              <a:gd name="T13" fmla="*/ 99 h 99"/>
              <a:gd name="T14" fmla="*/ 29 w 62"/>
              <a:gd name="T15" fmla="*/ 99 h 99"/>
              <a:gd name="T16" fmla="*/ 30 w 62"/>
              <a:gd name="T17" fmla="*/ 98 h 99"/>
              <a:gd name="T18" fmla="*/ 62 w 62"/>
              <a:gd name="T19" fmla="*/ 46 h 99"/>
              <a:gd name="T20" fmla="*/ 62 w 62"/>
              <a:gd name="T21" fmla="*/ 43 h 99"/>
              <a:gd name="T22" fmla="*/ 49 w 62"/>
              <a:gd name="T23" fmla="*/ 46 h 99"/>
              <a:gd name="T24" fmla="*/ 26 w 62"/>
              <a:gd name="T25" fmla="*/ 83 h 99"/>
              <a:gd name="T26" fmla="*/ 18 w 62"/>
              <a:gd name="T27" fmla="*/ 70 h 99"/>
              <a:gd name="T28" fmla="*/ 11 w 62"/>
              <a:gd name="T29" fmla="*/ 44 h 99"/>
              <a:gd name="T30" fmla="*/ 15 w 62"/>
              <a:gd name="T31" fmla="*/ 24 h 99"/>
              <a:gd name="T32" fmla="*/ 19 w 62"/>
              <a:gd name="T33" fmla="*/ 16 h 99"/>
              <a:gd name="T34" fmla="*/ 49 w 62"/>
              <a:gd name="T35" fmla="*/ 46 h 99"/>
              <a:gd name="T36" fmla="*/ 49 w 62"/>
              <a:gd name="T37" fmla="*/ 46 h 99"/>
              <a:gd name="T38" fmla="*/ 49 w 62"/>
              <a:gd name="T39" fmla="*/ 46 h 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62" h="99">
                <a:moveTo>
                  <a:pt x="62" y="43"/>
                </a:moveTo>
                <a:cubicBezTo>
                  <a:pt x="19" y="0"/>
                  <a:pt x="19" y="0"/>
                  <a:pt x="19" y="0"/>
                </a:cubicBezTo>
                <a:cubicBezTo>
                  <a:pt x="18" y="0"/>
                  <a:pt x="18" y="0"/>
                  <a:pt x="17" y="0"/>
                </a:cubicBezTo>
                <a:cubicBezTo>
                  <a:pt x="17" y="0"/>
                  <a:pt x="16" y="0"/>
                  <a:pt x="16" y="1"/>
                </a:cubicBezTo>
                <a:cubicBezTo>
                  <a:pt x="6" y="13"/>
                  <a:pt x="0" y="28"/>
                  <a:pt x="0" y="44"/>
                </a:cubicBezTo>
                <a:cubicBezTo>
                  <a:pt x="0" y="65"/>
                  <a:pt x="10" y="85"/>
                  <a:pt x="27" y="98"/>
                </a:cubicBezTo>
                <a:cubicBezTo>
                  <a:pt x="27" y="99"/>
                  <a:pt x="28" y="99"/>
                  <a:pt x="28" y="99"/>
                </a:cubicBezTo>
                <a:cubicBezTo>
                  <a:pt x="29" y="99"/>
                  <a:pt x="29" y="99"/>
                  <a:pt x="29" y="99"/>
                </a:cubicBezTo>
                <a:cubicBezTo>
                  <a:pt x="29" y="99"/>
                  <a:pt x="30" y="98"/>
                  <a:pt x="30" y="98"/>
                </a:cubicBezTo>
                <a:cubicBezTo>
                  <a:pt x="62" y="46"/>
                  <a:pt x="62" y="46"/>
                  <a:pt x="62" y="46"/>
                </a:cubicBezTo>
                <a:cubicBezTo>
                  <a:pt x="62" y="45"/>
                  <a:pt x="62" y="44"/>
                  <a:pt x="62" y="43"/>
                </a:cubicBezTo>
                <a:close/>
                <a:moveTo>
                  <a:pt x="49" y="46"/>
                </a:moveTo>
                <a:cubicBezTo>
                  <a:pt x="26" y="83"/>
                  <a:pt x="26" y="83"/>
                  <a:pt x="26" y="83"/>
                </a:cubicBezTo>
                <a:cubicBezTo>
                  <a:pt x="23" y="79"/>
                  <a:pt x="20" y="75"/>
                  <a:pt x="18" y="70"/>
                </a:cubicBezTo>
                <a:cubicBezTo>
                  <a:pt x="13" y="62"/>
                  <a:pt x="11" y="53"/>
                  <a:pt x="11" y="44"/>
                </a:cubicBezTo>
                <a:cubicBezTo>
                  <a:pt x="11" y="37"/>
                  <a:pt x="13" y="30"/>
                  <a:pt x="15" y="24"/>
                </a:cubicBezTo>
                <a:cubicBezTo>
                  <a:pt x="16" y="21"/>
                  <a:pt x="17" y="18"/>
                  <a:pt x="19" y="16"/>
                </a:cubicBezTo>
                <a:lnTo>
                  <a:pt x="49" y="46"/>
                </a:lnTo>
                <a:close/>
                <a:moveTo>
                  <a:pt x="49" y="46"/>
                </a:moveTo>
                <a:cubicBezTo>
                  <a:pt x="49" y="46"/>
                  <a:pt x="49" y="46"/>
                  <a:pt x="49" y="46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146" name="išliḋè">
            <a:extLst>
              <a:ext uri="{FF2B5EF4-FFF2-40B4-BE49-F238E27FC236}">
                <a16:creationId xmlns:a16="http://schemas.microsoft.com/office/drawing/2014/main" id="{997A8C1A-C77F-4ABA-82ED-520268191305}"/>
              </a:ext>
            </a:extLst>
          </p:cNvPr>
          <p:cNvSpPr>
            <a:spLocks/>
          </p:cNvSpPr>
          <p:nvPr/>
        </p:nvSpPr>
        <p:spPr bwMode="auto">
          <a:xfrm>
            <a:off x="10384447" y="3394078"/>
            <a:ext cx="139156" cy="89247"/>
          </a:xfrm>
          <a:custGeom>
            <a:avLst/>
            <a:gdLst>
              <a:gd name="T0" fmla="*/ 98 w 100"/>
              <a:gd name="T1" fmla="*/ 0 h 64"/>
              <a:gd name="T2" fmla="*/ 35 w 100"/>
              <a:gd name="T3" fmla="*/ 0 h 64"/>
              <a:gd name="T4" fmla="*/ 33 w 100"/>
              <a:gd name="T5" fmla="*/ 1 h 64"/>
              <a:gd name="T6" fmla="*/ 1 w 100"/>
              <a:gd name="T7" fmla="*/ 54 h 64"/>
              <a:gd name="T8" fmla="*/ 1 w 100"/>
              <a:gd name="T9" fmla="*/ 56 h 64"/>
              <a:gd name="T10" fmla="*/ 2 w 100"/>
              <a:gd name="T11" fmla="*/ 57 h 64"/>
              <a:gd name="T12" fmla="*/ 31 w 100"/>
              <a:gd name="T13" fmla="*/ 64 h 64"/>
              <a:gd name="T14" fmla="*/ 77 w 100"/>
              <a:gd name="T15" fmla="*/ 46 h 64"/>
              <a:gd name="T16" fmla="*/ 100 w 100"/>
              <a:gd name="T17" fmla="*/ 2 h 64"/>
              <a:gd name="T18" fmla="*/ 99 w 100"/>
              <a:gd name="T19" fmla="*/ 1 h 64"/>
              <a:gd name="T20" fmla="*/ 98 w 100"/>
              <a:gd name="T21" fmla="*/ 0 h 64"/>
              <a:gd name="T22" fmla="*/ 98 w 100"/>
              <a:gd name="T23" fmla="*/ 0 h 64"/>
              <a:gd name="T24" fmla="*/ 98 w 100"/>
              <a:gd name="T25" fmla="*/ 0 h 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00" h="64">
                <a:moveTo>
                  <a:pt x="98" y="0"/>
                </a:moveTo>
                <a:cubicBezTo>
                  <a:pt x="35" y="0"/>
                  <a:pt x="35" y="0"/>
                  <a:pt x="35" y="0"/>
                </a:cubicBezTo>
                <a:cubicBezTo>
                  <a:pt x="35" y="0"/>
                  <a:pt x="34" y="0"/>
                  <a:pt x="33" y="1"/>
                </a:cubicBezTo>
                <a:cubicBezTo>
                  <a:pt x="1" y="54"/>
                  <a:pt x="1" y="54"/>
                  <a:pt x="1" y="54"/>
                </a:cubicBezTo>
                <a:cubicBezTo>
                  <a:pt x="0" y="54"/>
                  <a:pt x="0" y="55"/>
                  <a:pt x="1" y="56"/>
                </a:cubicBezTo>
                <a:cubicBezTo>
                  <a:pt x="1" y="56"/>
                  <a:pt x="1" y="57"/>
                  <a:pt x="2" y="57"/>
                </a:cubicBezTo>
                <a:cubicBezTo>
                  <a:pt x="11" y="61"/>
                  <a:pt x="21" y="64"/>
                  <a:pt x="31" y="64"/>
                </a:cubicBezTo>
                <a:cubicBezTo>
                  <a:pt x="48" y="64"/>
                  <a:pt x="65" y="57"/>
                  <a:pt x="77" y="46"/>
                </a:cubicBezTo>
                <a:cubicBezTo>
                  <a:pt x="90" y="35"/>
                  <a:pt x="98" y="19"/>
                  <a:pt x="100" y="2"/>
                </a:cubicBezTo>
                <a:cubicBezTo>
                  <a:pt x="100" y="2"/>
                  <a:pt x="100" y="1"/>
                  <a:pt x="99" y="1"/>
                </a:cubicBezTo>
                <a:cubicBezTo>
                  <a:pt x="99" y="0"/>
                  <a:pt x="98" y="0"/>
                  <a:pt x="98" y="0"/>
                </a:cubicBezTo>
                <a:close/>
                <a:moveTo>
                  <a:pt x="98" y="0"/>
                </a:moveTo>
                <a:cubicBezTo>
                  <a:pt x="98" y="0"/>
                  <a:pt x="98" y="0"/>
                  <a:pt x="98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147" name="îSlíḍê">
            <a:extLst>
              <a:ext uri="{FF2B5EF4-FFF2-40B4-BE49-F238E27FC236}">
                <a16:creationId xmlns:a16="http://schemas.microsoft.com/office/drawing/2014/main" id="{72957D84-94CA-43C1-8AC4-3FBC1A363A85}"/>
              </a:ext>
            </a:extLst>
          </p:cNvPr>
          <p:cNvSpPr>
            <a:spLocks/>
          </p:cNvSpPr>
          <p:nvPr/>
        </p:nvSpPr>
        <p:spPr bwMode="auto">
          <a:xfrm>
            <a:off x="9024010" y="2890299"/>
            <a:ext cx="155596" cy="87486"/>
          </a:xfrm>
          <a:custGeom>
            <a:avLst/>
            <a:gdLst>
              <a:gd name="T0" fmla="*/ 45 w 112"/>
              <a:gd name="T1" fmla="*/ 63 h 63"/>
              <a:gd name="T2" fmla="*/ 47 w 112"/>
              <a:gd name="T3" fmla="*/ 63 h 63"/>
              <a:gd name="T4" fmla="*/ 110 w 112"/>
              <a:gd name="T5" fmla="*/ 63 h 63"/>
              <a:gd name="T6" fmla="*/ 112 w 112"/>
              <a:gd name="T7" fmla="*/ 63 h 63"/>
              <a:gd name="T8" fmla="*/ 112 w 112"/>
              <a:gd name="T9" fmla="*/ 61 h 63"/>
              <a:gd name="T10" fmla="*/ 90 w 112"/>
              <a:gd name="T11" fmla="*/ 17 h 63"/>
              <a:gd name="T12" fmla="*/ 44 w 112"/>
              <a:gd name="T13" fmla="*/ 0 h 63"/>
              <a:gd name="T14" fmla="*/ 0 w 112"/>
              <a:gd name="T15" fmla="*/ 15 h 63"/>
              <a:gd name="T16" fmla="*/ 0 w 112"/>
              <a:gd name="T17" fmla="*/ 16 h 63"/>
              <a:gd name="T18" fmla="*/ 0 w 112"/>
              <a:gd name="T19" fmla="*/ 18 h 63"/>
              <a:gd name="T20" fmla="*/ 45 w 112"/>
              <a:gd name="T21" fmla="*/ 63 h 63"/>
              <a:gd name="T22" fmla="*/ 37 w 112"/>
              <a:gd name="T23" fmla="*/ 39 h 63"/>
              <a:gd name="T24" fmla="*/ 55 w 112"/>
              <a:gd name="T25" fmla="*/ 12 h 63"/>
              <a:gd name="T26" fmla="*/ 61 w 112"/>
              <a:gd name="T27" fmla="*/ 13 h 63"/>
              <a:gd name="T28" fmla="*/ 41 w 112"/>
              <a:gd name="T29" fmla="*/ 43 h 63"/>
              <a:gd name="T30" fmla="*/ 37 w 112"/>
              <a:gd name="T31" fmla="*/ 39 h 63"/>
              <a:gd name="T32" fmla="*/ 44 w 112"/>
              <a:gd name="T33" fmla="*/ 11 h 63"/>
              <a:gd name="T34" fmla="*/ 45 w 112"/>
              <a:gd name="T35" fmla="*/ 11 h 63"/>
              <a:gd name="T36" fmla="*/ 30 w 112"/>
              <a:gd name="T37" fmla="*/ 33 h 63"/>
              <a:gd name="T38" fmla="*/ 26 w 112"/>
              <a:gd name="T39" fmla="*/ 28 h 63"/>
              <a:gd name="T40" fmla="*/ 38 w 112"/>
              <a:gd name="T41" fmla="*/ 11 h 63"/>
              <a:gd name="T42" fmla="*/ 44 w 112"/>
              <a:gd name="T43" fmla="*/ 11 h 63"/>
              <a:gd name="T44" fmla="*/ 25 w 112"/>
              <a:gd name="T45" fmla="*/ 13 h 63"/>
              <a:gd name="T46" fmla="*/ 20 w 112"/>
              <a:gd name="T47" fmla="*/ 22 h 63"/>
              <a:gd name="T48" fmla="*/ 16 w 112"/>
              <a:gd name="T49" fmla="*/ 18 h 63"/>
              <a:gd name="T50" fmla="*/ 24 w 112"/>
              <a:gd name="T51" fmla="*/ 14 h 63"/>
              <a:gd name="T52" fmla="*/ 25 w 112"/>
              <a:gd name="T53" fmla="*/ 13 h 63"/>
              <a:gd name="T54" fmla="*/ 79 w 112"/>
              <a:gd name="T55" fmla="*/ 52 h 63"/>
              <a:gd name="T56" fmla="*/ 91 w 112"/>
              <a:gd name="T57" fmla="*/ 35 h 63"/>
              <a:gd name="T58" fmla="*/ 93 w 112"/>
              <a:gd name="T59" fmla="*/ 38 h 63"/>
              <a:gd name="T60" fmla="*/ 84 w 112"/>
              <a:gd name="T61" fmla="*/ 52 h 63"/>
              <a:gd name="T62" fmla="*/ 79 w 112"/>
              <a:gd name="T63" fmla="*/ 52 h 63"/>
              <a:gd name="T64" fmla="*/ 94 w 112"/>
              <a:gd name="T65" fmla="*/ 52 h 63"/>
              <a:gd name="T66" fmla="*/ 97 w 112"/>
              <a:gd name="T67" fmla="*/ 47 h 63"/>
              <a:gd name="T68" fmla="*/ 99 w 112"/>
              <a:gd name="T69" fmla="*/ 52 h 63"/>
              <a:gd name="T70" fmla="*/ 94 w 112"/>
              <a:gd name="T71" fmla="*/ 52 h 63"/>
              <a:gd name="T72" fmla="*/ 62 w 112"/>
              <a:gd name="T73" fmla="*/ 52 h 63"/>
              <a:gd name="T74" fmla="*/ 81 w 112"/>
              <a:gd name="T75" fmla="*/ 24 h 63"/>
              <a:gd name="T76" fmla="*/ 83 w 112"/>
              <a:gd name="T77" fmla="*/ 26 h 63"/>
              <a:gd name="T78" fmla="*/ 85 w 112"/>
              <a:gd name="T79" fmla="*/ 28 h 63"/>
              <a:gd name="T80" fmla="*/ 69 w 112"/>
              <a:gd name="T81" fmla="*/ 52 h 63"/>
              <a:gd name="T82" fmla="*/ 62 w 112"/>
              <a:gd name="T83" fmla="*/ 52 h 63"/>
              <a:gd name="T84" fmla="*/ 52 w 112"/>
              <a:gd name="T85" fmla="*/ 52 h 63"/>
              <a:gd name="T86" fmla="*/ 50 w 112"/>
              <a:gd name="T87" fmla="*/ 52 h 63"/>
              <a:gd name="T88" fmla="*/ 47 w 112"/>
              <a:gd name="T89" fmla="*/ 49 h 63"/>
              <a:gd name="T90" fmla="*/ 69 w 112"/>
              <a:gd name="T91" fmla="*/ 16 h 63"/>
              <a:gd name="T92" fmla="*/ 74 w 112"/>
              <a:gd name="T93" fmla="*/ 19 h 63"/>
              <a:gd name="T94" fmla="*/ 52 w 112"/>
              <a:gd name="T95" fmla="*/ 52 h 63"/>
              <a:gd name="T96" fmla="*/ 52 w 112"/>
              <a:gd name="T97" fmla="*/ 52 h 63"/>
              <a:gd name="T98" fmla="*/ 52 w 112"/>
              <a:gd name="T99" fmla="*/ 52 h 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112" h="63">
                <a:moveTo>
                  <a:pt x="45" y="63"/>
                </a:moveTo>
                <a:cubicBezTo>
                  <a:pt x="46" y="63"/>
                  <a:pt x="46" y="63"/>
                  <a:pt x="47" y="63"/>
                </a:cubicBezTo>
                <a:cubicBezTo>
                  <a:pt x="110" y="63"/>
                  <a:pt x="110" y="63"/>
                  <a:pt x="110" y="63"/>
                </a:cubicBezTo>
                <a:cubicBezTo>
                  <a:pt x="111" y="63"/>
                  <a:pt x="111" y="63"/>
                  <a:pt x="112" y="63"/>
                </a:cubicBezTo>
                <a:cubicBezTo>
                  <a:pt x="112" y="62"/>
                  <a:pt x="112" y="62"/>
                  <a:pt x="112" y="61"/>
                </a:cubicBezTo>
                <a:cubicBezTo>
                  <a:pt x="110" y="44"/>
                  <a:pt x="102" y="28"/>
                  <a:pt x="90" y="17"/>
                </a:cubicBezTo>
                <a:cubicBezTo>
                  <a:pt x="77" y="6"/>
                  <a:pt x="61" y="0"/>
                  <a:pt x="44" y="0"/>
                </a:cubicBezTo>
                <a:cubicBezTo>
                  <a:pt x="28" y="0"/>
                  <a:pt x="13" y="5"/>
                  <a:pt x="0" y="15"/>
                </a:cubicBezTo>
                <a:cubicBezTo>
                  <a:pt x="0" y="15"/>
                  <a:pt x="0" y="16"/>
                  <a:pt x="0" y="16"/>
                </a:cubicBezTo>
                <a:cubicBezTo>
                  <a:pt x="0" y="17"/>
                  <a:pt x="0" y="17"/>
                  <a:pt x="0" y="18"/>
                </a:cubicBezTo>
                <a:lnTo>
                  <a:pt x="45" y="63"/>
                </a:lnTo>
                <a:close/>
                <a:moveTo>
                  <a:pt x="37" y="39"/>
                </a:moveTo>
                <a:cubicBezTo>
                  <a:pt x="55" y="12"/>
                  <a:pt x="55" y="12"/>
                  <a:pt x="55" y="12"/>
                </a:cubicBezTo>
                <a:cubicBezTo>
                  <a:pt x="57" y="12"/>
                  <a:pt x="59" y="13"/>
                  <a:pt x="61" y="13"/>
                </a:cubicBezTo>
                <a:cubicBezTo>
                  <a:pt x="41" y="43"/>
                  <a:pt x="41" y="43"/>
                  <a:pt x="41" y="43"/>
                </a:cubicBezTo>
                <a:lnTo>
                  <a:pt x="37" y="39"/>
                </a:lnTo>
                <a:close/>
                <a:moveTo>
                  <a:pt x="44" y="11"/>
                </a:moveTo>
                <a:cubicBezTo>
                  <a:pt x="44" y="11"/>
                  <a:pt x="45" y="11"/>
                  <a:pt x="45" y="11"/>
                </a:cubicBezTo>
                <a:cubicBezTo>
                  <a:pt x="30" y="33"/>
                  <a:pt x="30" y="33"/>
                  <a:pt x="30" y="33"/>
                </a:cubicBezTo>
                <a:cubicBezTo>
                  <a:pt x="26" y="28"/>
                  <a:pt x="26" y="28"/>
                  <a:pt x="26" y="28"/>
                </a:cubicBezTo>
                <a:cubicBezTo>
                  <a:pt x="38" y="11"/>
                  <a:pt x="38" y="11"/>
                  <a:pt x="38" y="11"/>
                </a:cubicBezTo>
                <a:cubicBezTo>
                  <a:pt x="40" y="11"/>
                  <a:pt x="42" y="11"/>
                  <a:pt x="44" y="11"/>
                </a:cubicBezTo>
                <a:close/>
                <a:moveTo>
                  <a:pt x="25" y="13"/>
                </a:moveTo>
                <a:cubicBezTo>
                  <a:pt x="20" y="22"/>
                  <a:pt x="20" y="22"/>
                  <a:pt x="20" y="22"/>
                </a:cubicBezTo>
                <a:cubicBezTo>
                  <a:pt x="16" y="18"/>
                  <a:pt x="16" y="18"/>
                  <a:pt x="16" y="18"/>
                </a:cubicBezTo>
                <a:cubicBezTo>
                  <a:pt x="18" y="16"/>
                  <a:pt x="21" y="15"/>
                  <a:pt x="24" y="14"/>
                </a:cubicBezTo>
                <a:cubicBezTo>
                  <a:pt x="24" y="14"/>
                  <a:pt x="25" y="14"/>
                  <a:pt x="25" y="13"/>
                </a:cubicBezTo>
                <a:close/>
                <a:moveTo>
                  <a:pt x="79" y="52"/>
                </a:moveTo>
                <a:cubicBezTo>
                  <a:pt x="91" y="35"/>
                  <a:pt x="91" y="35"/>
                  <a:pt x="91" y="35"/>
                </a:cubicBezTo>
                <a:cubicBezTo>
                  <a:pt x="92" y="36"/>
                  <a:pt x="92" y="37"/>
                  <a:pt x="93" y="38"/>
                </a:cubicBezTo>
                <a:cubicBezTo>
                  <a:pt x="84" y="52"/>
                  <a:pt x="84" y="52"/>
                  <a:pt x="84" y="52"/>
                </a:cubicBezTo>
                <a:lnTo>
                  <a:pt x="79" y="52"/>
                </a:lnTo>
                <a:close/>
                <a:moveTo>
                  <a:pt x="94" y="52"/>
                </a:moveTo>
                <a:cubicBezTo>
                  <a:pt x="97" y="47"/>
                  <a:pt x="97" y="47"/>
                  <a:pt x="97" y="47"/>
                </a:cubicBezTo>
                <a:cubicBezTo>
                  <a:pt x="98" y="49"/>
                  <a:pt x="99" y="51"/>
                  <a:pt x="99" y="52"/>
                </a:cubicBezTo>
                <a:lnTo>
                  <a:pt x="94" y="52"/>
                </a:lnTo>
                <a:close/>
                <a:moveTo>
                  <a:pt x="62" y="52"/>
                </a:moveTo>
                <a:cubicBezTo>
                  <a:pt x="81" y="24"/>
                  <a:pt x="81" y="24"/>
                  <a:pt x="81" y="24"/>
                </a:cubicBezTo>
                <a:cubicBezTo>
                  <a:pt x="82" y="25"/>
                  <a:pt x="82" y="25"/>
                  <a:pt x="83" y="26"/>
                </a:cubicBezTo>
                <a:cubicBezTo>
                  <a:pt x="84" y="27"/>
                  <a:pt x="84" y="27"/>
                  <a:pt x="85" y="28"/>
                </a:cubicBezTo>
                <a:cubicBezTo>
                  <a:pt x="69" y="52"/>
                  <a:pt x="69" y="52"/>
                  <a:pt x="69" y="52"/>
                </a:cubicBezTo>
                <a:lnTo>
                  <a:pt x="62" y="52"/>
                </a:lnTo>
                <a:close/>
                <a:moveTo>
                  <a:pt x="52" y="52"/>
                </a:moveTo>
                <a:cubicBezTo>
                  <a:pt x="50" y="52"/>
                  <a:pt x="50" y="52"/>
                  <a:pt x="50" y="52"/>
                </a:cubicBezTo>
                <a:cubicBezTo>
                  <a:pt x="47" y="49"/>
                  <a:pt x="47" y="49"/>
                  <a:pt x="47" y="49"/>
                </a:cubicBezTo>
                <a:cubicBezTo>
                  <a:pt x="69" y="16"/>
                  <a:pt x="69" y="16"/>
                  <a:pt x="69" y="16"/>
                </a:cubicBezTo>
                <a:cubicBezTo>
                  <a:pt x="71" y="17"/>
                  <a:pt x="72" y="18"/>
                  <a:pt x="74" y="19"/>
                </a:cubicBezTo>
                <a:lnTo>
                  <a:pt x="52" y="52"/>
                </a:lnTo>
                <a:close/>
                <a:moveTo>
                  <a:pt x="52" y="52"/>
                </a:moveTo>
                <a:cubicBezTo>
                  <a:pt x="52" y="52"/>
                  <a:pt x="52" y="52"/>
                  <a:pt x="52" y="52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148" name="íšḷîdê">
            <a:extLst>
              <a:ext uri="{FF2B5EF4-FFF2-40B4-BE49-F238E27FC236}">
                <a16:creationId xmlns:a16="http://schemas.microsoft.com/office/drawing/2014/main" id="{6553BDFB-7DC0-40AE-91FC-EE76645262D3}"/>
              </a:ext>
            </a:extLst>
          </p:cNvPr>
          <p:cNvSpPr>
            <a:spLocks/>
          </p:cNvSpPr>
          <p:nvPr/>
        </p:nvSpPr>
        <p:spPr bwMode="auto">
          <a:xfrm>
            <a:off x="8989368" y="2923767"/>
            <a:ext cx="86311" cy="137394"/>
          </a:xfrm>
          <a:custGeom>
            <a:avLst/>
            <a:gdLst>
              <a:gd name="T0" fmla="*/ 61 w 62"/>
              <a:gd name="T1" fmla="*/ 44 h 99"/>
              <a:gd name="T2" fmla="*/ 18 w 62"/>
              <a:gd name="T3" fmla="*/ 1 h 99"/>
              <a:gd name="T4" fmla="*/ 17 w 62"/>
              <a:gd name="T5" fmla="*/ 0 h 99"/>
              <a:gd name="T6" fmla="*/ 15 w 62"/>
              <a:gd name="T7" fmla="*/ 1 h 99"/>
              <a:gd name="T8" fmla="*/ 0 w 62"/>
              <a:gd name="T9" fmla="*/ 44 h 99"/>
              <a:gd name="T10" fmla="*/ 26 w 62"/>
              <a:gd name="T11" fmla="*/ 99 h 99"/>
              <a:gd name="T12" fmla="*/ 28 w 62"/>
              <a:gd name="T13" fmla="*/ 99 h 99"/>
              <a:gd name="T14" fmla="*/ 28 w 62"/>
              <a:gd name="T15" fmla="*/ 99 h 99"/>
              <a:gd name="T16" fmla="*/ 30 w 62"/>
              <a:gd name="T17" fmla="*/ 98 h 99"/>
              <a:gd name="T18" fmla="*/ 61 w 62"/>
              <a:gd name="T19" fmla="*/ 47 h 99"/>
              <a:gd name="T20" fmla="*/ 61 w 62"/>
              <a:gd name="T21" fmla="*/ 44 h 99"/>
              <a:gd name="T22" fmla="*/ 48 w 62"/>
              <a:gd name="T23" fmla="*/ 47 h 99"/>
              <a:gd name="T24" fmla="*/ 26 w 62"/>
              <a:gd name="T25" fmla="*/ 83 h 99"/>
              <a:gd name="T26" fmla="*/ 17 w 62"/>
              <a:gd name="T27" fmla="*/ 71 h 99"/>
              <a:gd name="T28" fmla="*/ 11 w 62"/>
              <a:gd name="T29" fmla="*/ 44 h 99"/>
              <a:gd name="T30" fmla="*/ 14 w 62"/>
              <a:gd name="T31" fmla="*/ 24 h 99"/>
              <a:gd name="T32" fmla="*/ 18 w 62"/>
              <a:gd name="T33" fmla="*/ 16 h 99"/>
              <a:gd name="T34" fmla="*/ 48 w 62"/>
              <a:gd name="T35" fmla="*/ 47 h 99"/>
              <a:gd name="T36" fmla="*/ 48 w 62"/>
              <a:gd name="T37" fmla="*/ 47 h 99"/>
              <a:gd name="T38" fmla="*/ 48 w 62"/>
              <a:gd name="T39" fmla="*/ 47 h 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62" h="99">
                <a:moveTo>
                  <a:pt x="61" y="44"/>
                </a:moveTo>
                <a:cubicBezTo>
                  <a:pt x="18" y="1"/>
                  <a:pt x="18" y="1"/>
                  <a:pt x="18" y="1"/>
                </a:cubicBezTo>
                <a:cubicBezTo>
                  <a:pt x="18" y="1"/>
                  <a:pt x="17" y="0"/>
                  <a:pt x="17" y="0"/>
                </a:cubicBezTo>
                <a:cubicBezTo>
                  <a:pt x="16" y="0"/>
                  <a:pt x="15" y="1"/>
                  <a:pt x="15" y="1"/>
                </a:cubicBezTo>
                <a:cubicBezTo>
                  <a:pt x="5" y="13"/>
                  <a:pt x="0" y="29"/>
                  <a:pt x="0" y="44"/>
                </a:cubicBezTo>
                <a:cubicBezTo>
                  <a:pt x="0" y="66"/>
                  <a:pt x="9" y="86"/>
                  <a:pt x="26" y="99"/>
                </a:cubicBezTo>
                <a:cubicBezTo>
                  <a:pt x="27" y="99"/>
                  <a:pt x="27" y="99"/>
                  <a:pt x="28" y="99"/>
                </a:cubicBezTo>
                <a:cubicBezTo>
                  <a:pt x="28" y="99"/>
                  <a:pt x="28" y="99"/>
                  <a:pt x="28" y="99"/>
                </a:cubicBezTo>
                <a:cubicBezTo>
                  <a:pt x="29" y="99"/>
                  <a:pt x="29" y="99"/>
                  <a:pt x="30" y="98"/>
                </a:cubicBezTo>
                <a:cubicBezTo>
                  <a:pt x="61" y="47"/>
                  <a:pt x="61" y="47"/>
                  <a:pt x="61" y="47"/>
                </a:cubicBezTo>
                <a:cubicBezTo>
                  <a:pt x="62" y="46"/>
                  <a:pt x="62" y="45"/>
                  <a:pt x="61" y="44"/>
                </a:cubicBezTo>
                <a:close/>
                <a:moveTo>
                  <a:pt x="48" y="47"/>
                </a:moveTo>
                <a:cubicBezTo>
                  <a:pt x="26" y="83"/>
                  <a:pt x="26" y="83"/>
                  <a:pt x="26" y="83"/>
                </a:cubicBezTo>
                <a:cubicBezTo>
                  <a:pt x="22" y="80"/>
                  <a:pt x="19" y="75"/>
                  <a:pt x="17" y="71"/>
                </a:cubicBezTo>
                <a:cubicBezTo>
                  <a:pt x="13" y="63"/>
                  <a:pt x="11" y="54"/>
                  <a:pt x="11" y="44"/>
                </a:cubicBezTo>
                <a:cubicBezTo>
                  <a:pt x="11" y="38"/>
                  <a:pt x="12" y="31"/>
                  <a:pt x="14" y="24"/>
                </a:cubicBezTo>
                <a:cubicBezTo>
                  <a:pt x="15" y="22"/>
                  <a:pt x="17" y="19"/>
                  <a:pt x="18" y="16"/>
                </a:cubicBezTo>
                <a:lnTo>
                  <a:pt x="48" y="47"/>
                </a:lnTo>
                <a:close/>
                <a:moveTo>
                  <a:pt x="48" y="47"/>
                </a:moveTo>
                <a:cubicBezTo>
                  <a:pt x="48" y="47"/>
                  <a:pt x="48" y="47"/>
                  <a:pt x="48" y="47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149" name="íṩ1iḋé">
            <a:extLst>
              <a:ext uri="{FF2B5EF4-FFF2-40B4-BE49-F238E27FC236}">
                <a16:creationId xmlns:a16="http://schemas.microsoft.com/office/drawing/2014/main" id="{E83230E4-5DC5-479E-AF83-9E83938C1FDA}"/>
              </a:ext>
            </a:extLst>
          </p:cNvPr>
          <p:cNvSpPr>
            <a:spLocks/>
          </p:cNvSpPr>
          <p:nvPr/>
        </p:nvSpPr>
        <p:spPr bwMode="auto">
          <a:xfrm>
            <a:off x="9042212" y="2991876"/>
            <a:ext cx="137394" cy="88661"/>
          </a:xfrm>
          <a:custGeom>
            <a:avLst/>
            <a:gdLst>
              <a:gd name="T0" fmla="*/ 97 w 99"/>
              <a:gd name="T1" fmla="*/ 0 h 64"/>
              <a:gd name="T2" fmla="*/ 35 w 99"/>
              <a:gd name="T3" fmla="*/ 0 h 64"/>
              <a:gd name="T4" fmla="*/ 33 w 99"/>
              <a:gd name="T5" fmla="*/ 2 h 64"/>
              <a:gd name="T6" fmla="*/ 0 w 99"/>
              <a:gd name="T7" fmla="*/ 55 h 64"/>
              <a:gd name="T8" fmla="*/ 0 w 99"/>
              <a:gd name="T9" fmla="*/ 56 h 64"/>
              <a:gd name="T10" fmla="*/ 1 w 99"/>
              <a:gd name="T11" fmla="*/ 58 h 64"/>
              <a:gd name="T12" fmla="*/ 31 w 99"/>
              <a:gd name="T13" fmla="*/ 64 h 64"/>
              <a:gd name="T14" fmla="*/ 77 w 99"/>
              <a:gd name="T15" fmla="*/ 47 h 64"/>
              <a:gd name="T16" fmla="*/ 99 w 99"/>
              <a:gd name="T17" fmla="*/ 3 h 64"/>
              <a:gd name="T18" fmla="*/ 99 w 99"/>
              <a:gd name="T19" fmla="*/ 1 h 64"/>
              <a:gd name="T20" fmla="*/ 97 w 99"/>
              <a:gd name="T21" fmla="*/ 0 h 64"/>
              <a:gd name="T22" fmla="*/ 97 w 99"/>
              <a:gd name="T23" fmla="*/ 0 h 64"/>
              <a:gd name="T24" fmla="*/ 97 w 99"/>
              <a:gd name="T25" fmla="*/ 0 h 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9" h="64">
                <a:moveTo>
                  <a:pt x="97" y="0"/>
                </a:moveTo>
                <a:cubicBezTo>
                  <a:pt x="35" y="0"/>
                  <a:pt x="35" y="0"/>
                  <a:pt x="35" y="0"/>
                </a:cubicBezTo>
                <a:cubicBezTo>
                  <a:pt x="34" y="0"/>
                  <a:pt x="33" y="1"/>
                  <a:pt x="33" y="2"/>
                </a:cubicBezTo>
                <a:cubicBezTo>
                  <a:pt x="0" y="55"/>
                  <a:pt x="0" y="55"/>
                  <a:pt x="0" y="55"/>
                </a:cubicBezTo>
                <a:cubicBezTo>
                  <a:pt x="0" y="55"/>
                  <a:pt x="0" y="56"/>
                  <a:pt x="0" y="56"/>
                </a:cubicBezTo>
                <a:cubicBezTo>
                  <a:pt x="0" y="57"/>
                  <a:pt x="1" y="57"/>
                  <a:pt x="1" y="58"/>
                </a:cubicBezTo>
                <a:cubicBezTo>
                  <a:pt x="10" y="62"/>
                  <a:pt x="20" y="64"/>
                  <a:pt x="31" y="64"/>
                </a:cubicBezTo>
                <a:cubicBezTo>
                  <a:pt x="48" y="64"/>
                  <a:pt x="64" y="58"/>
                  <a:pt x="77" y="47"/>
                </a:cubicBezTo>
                <a:cubicBezTo>
                  <a:pt x="89" y="35"/>
                  <a:pt x="97" y="20"/>
                  <a:pt x="99" y="3"/>
                </a:cubicBezTo>
                <a:cubicBezTo>
                  <a:pt x="99" y="2"/>
                  <a:pt x="99" y="2"/>
                  <a:pt x="99" y="1"/>
                </a:cubicBezTo>
                <a:cubicBezTo>
                  <a:pt x="98" y="1"/>
                  <a:pt x="98" y="0"/>
                  <a:pt x="97" y="0"/>
                </a:cubicBezTo>
                <a:close/>
                <a:moveTo>
                  <a:pt x="97" y="0"/>
                </a:moveTo>
                <a:cubicBezTo>
                  <a:pt x="97" y="0"/>
                  <a:pt x="97" y="0"/>
                  <a:pt x="97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150" name="ísliḍê">
            <a:extLst>
              <a:ext uri="{FF2B5EF4-FFF2-40B4-BE49-F238E27FC236}">
                <a16:creationId xmlns:a16="http://schemas.microsoft.com/office/drawing/2014/main" id="{6907F7F6-B451-4300-864D-9BF7BCD76C54}"/>
              </a:ext>
            </a:extLst>
          </p:cNvPr>
          <p:cNvSpPr>
            <a:spLocks/>
          </p:cNvSpPr>
          <p:nvPr/>
        </p:nvSpPr>
        <p:spPr bwMode="auto">
          <a:xfrm>
            <a:off x="9891825" y="2075328"/>
            <a:ext cx="141504" cy="64000"/>
          </a:xfrm>
          <a:custGeom>
            <a:avLst/>
            <a:gdLst>
              <a:gd name="T0" fmla="*/ 10 w 102"/>
              <a:gd name="T1" fmla="*/ 46 h 46"/>
              <a:gd name="T2" fmla="*/ 18 w 102"/>
              <a:gd name="T3" fmla="*/ 40 h 46"/>
              <a:gd name="T4" fmla="*/ 52 w 102"/>
              <a:gd name="T5" fmla="*/ 17 h 46"/>
              <a:gd name="T6" fmla="*/ 75 w 102"/>
              <a:gd name="T7" fmla="*/ 25 h 46"/>
              <a:gd name="T8" fmla="*/ 70 w 102"/>
              <a:gd name="T9" fmla="*/ 26 h 46"/>
              <a:gd name="T10" fmla="*/ 67 w 102"/>
              <a:gd name="T11" fmla="*/ 29 h 46"/>
              <a:gd name="T12" fmla="*/ 69 w 102"/>
              <a:gd name="T13" fmla="*/ 33 h 46"/>
              <a:gd name="T14" fmla="*/ 96 w 102"/>
              <a:gd name="T15" fmla="*/ 45 h 46"/>
              <a:gd name="T16" fmla="*/ 100 w 102"/>
              <a:gd name="T17" fmla="*/ 45 h 46"/>
              <a:gd name="T18" fmla="*/ 102 w 102"/>
              <a:gd name="T19" fmla="*/ 42 h 46"/>
              <a:gd name="T20" fmla="*/ 102 w 102"/>
              <a:gd name="T21" fmla="*/ 12 h 46"/>
              <a:gd name="T22" fmla="*/ 99 w 102"/>
              <a:gd name="T23" fmla="*/ 9 h 46"/>
              <a:gd name="T24" fmla="*/ 95 w 102"/>
              <a:gd name="T25" fmla="*/ 10 h 46"/>
              <a:gd name="T26" fmla="*/ 91 w 102"/>
              <a:gd name="T27" fmla="*/ 16 h 46"/>
              <a:gd name="T28" fmla="*/ 52 w 102"/>
              <a:gd name="T29" fmla="*/ 0 h 46"/>
              <a:gd name="T30" fmla="*/ 2 w 102"/>
              <a:gd name="T31" fmla="*/ 33 h 46"/>
              <a:gd name="T32" fmla="*/ 2 w 102"/>
              <a:gd name="T33" fmla="*/ 42 h 46"/>
              <a:gd name="T34" fmla="*/ 10 w 102"/>
              <a:gd name="T35" fmla="*/ 46 h 46"/>
              <a:gd name="T36" fmla="*/ 10 w 102"/>
              <a:gd name="T37" fmla="*/ 46 h 46"/>
              <a:gd name="T38" fmla="*/ 10 w 102"/>
              <a:gd name="T39" fmla="*/ 46 h 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02" h="46">
                <a:moveTo>
                  <a:pt x="10" y="46"/>
                </a:moveTo>
                <a:cubicBezTo>
                  <a:pt x="13" y="46"/>
                  <a:pt x="17" y="44"/>
                  <a:pt x="18" y="40"/>
                </a:cubicBezTo>
                <a:cubicBezTo>
                  <a:pt x="24" y="27"/>
                  <a:pt x="37" y="17"/>
                  <a:pt x="52" y="17"/>
                </a:cubicBezTo>
                <a:cubicBezTo>
                  <a:pt x="61" y="17"/>
                  <a:pt x="69" y="20"/>
                  <a:pt x="75" y="25"/>
                </a:cubicBezTo>
                <a:cubicBezTo>
                  <a:pt x="70" y="26"/>
                  <a:pt x="70" y="26"/>
                  <a:pt x="70" y="26"/>
                </a:cubicBezTo>
                <a:cubicBezTo>
                  <a:pt x="68" y="26"/>
                  <a:pt x="67" y="28"/>
                  <a:pt x="67" y="29"/>
                </a:cubicBezTo>
                <a:cubicBezTo>
                  <a:pt x="67" y="31"/>
                  <a:pt x="68" y="33"/>
                  <a:pt x="69" y="33"/>
                </a:cubicBezTo>
                <a:cubicBezTo>
                  <a:pt x="96" y="45"/>
                  <a:pt x="96" y="45"/>
                  <a:pt x="96" y="45"/>
                </a:cubicBezTo>
                <a:cubicBezTo>
                  <a:pt x="97" y="46"/>
                  <a:pt x="99" y="46"/>
                  <a:pt x="100" y="45"/>
                </a:cubicBezTo>
                <a:cubicBezTo>
                  <a:pt x="101" y="45"/>
                  <a:pt x="102" y="43"/>
                  <a:pt x="102" y="42"/>
                </a:cubicBezTo>
                <a:cubicBezTo>
                  <a:pt x="102" y="12"/>
                  <a:pt x="102" y="12"/>
                  <a:pt x="102" y="12"/>
                </a:cubicBezTo>
                <a:cubicBezTo>
                  <a:pt x="102" y="10"/>
                  <a:pt x="101" y="9"/>
                  <a:pt x="99" y="9"/>
                </a:cubicBezTo>
                <a:cubicBezTo>
                  <a:pt x="97" y="8"/>
                  <a:pt x="96" y="9"/>
                  <a:pt x="95" y="10"/>
                </a:cubicBezTo>
                <a:cubicBezTo>
                  <a:pt x="91" y="16"/>
                  <a:pt x="91" y="16"/>
                  <a:pt x="91" y="16"/>
                </a:cubicBezTo>
                <a:cubicBezTo>
                  <a:pt x="81" y="6"/>
                  <a:pt x="67" y="0"/>
                  <a:pt x="52" y="0"/>
                </a:cubicBezTo>
                <a:cubicBezTo>
                  <a:pt x="30" y="0"/>
                  <a:pt x="10" y="14"/>
                  <a:pt x="2" y="33"/>
                </a:cubicBezTo>
                <a:cubicBezTo>
                  <a:pt x="0" y="36"/>
                  <a:pt x="1" y="39"/>
                  <a:pt x="2" y="42"/>
                </a:cubicBezTo>
                <a:cubicBezTo>
                  <a:pt x="4" y="44"/>
                  <a:pt x="7" y="46"/>
                  <a:pt x="10" y="46"/>
                </a:cubicBezTo>
                <a:close/>
                <a:moveTo>
                  <a:pt x="10" y="46"/>
                </a:moveTo>
                <a:cubicBezTo>
                  <a:pt x="10" y="46"/>
                  <a:pt x="10" y="46"/>
                  <a:pt x="10" y="46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151" name="işḷïḍè">
            <a:extLst>
              <a:ext uri="{FF2B5EF4-FFF2-40B4-BE49-F238E27FC236}">
                <a16:creationId xmlns:a16="http://schemas.microsoft.com/office/drawing/2014/main" id="{73D45358-77D7-443B-BB53-0767E263377E}"/>
              </a:ext>
            </a:extLst>
          </p:cNvPr>
          <p:cNvSpPr>
            <a:spLocks/>
          </p:cNvSpPr>
          <p:nvPr/>
        </p:nvSpPr>
        <p:spPr bwMode="auto">
          <a:xfrm>
            <a:off x="9895935" y="2163989"/>
            <a:ext cx="140330" cy="64000"/>
          </a:xfrm>
          <a:custGeom>
            <a:avLst/>
            <a:gdLst>
              <a:gd name="T0" fmla="*/ 99 w 101"/>
              <a:gd name="T1" fmla="*/ 4 h 46"/>
              <a:gd name="T2" fmla="*/ 92 w 101"/>
              <a:gd name="T3" fmla="*/ 0 h 46"/>
              <a:gd name="T4" fmla="*/ 84 w 101"/>
              <a:gd name="T5" fmla="*/ 5 h 46"/>
              <a:gd name="T6" fmla="*/ 49 w 101"/>
              <a:gd name="T7" fmla="*/ 28 h 46"/>
              <a:gd name="T8" fmla="*/ 27 w 101"/>
              <a:gd name="T9" fmla="*/ 20 h 46"/>
              <a:gd name="T10" fmla="*/ 32 w 101"/>
              <a:gd name="T11" fmla="*/ 20 h 46"/>
              <a:gd name="T12" fmla="*/ 35 w 101"/>
              <a:gd name="T13" fmla="*/ 16 h 46"/>
              <a:gd name="T14" fmla="*/ 33 w 101"/>
              <a:gd name="T15" fmla="*/ 12 h 46"/>
              <a:gd name="T16" fmla="*/ 6 w 101"/>
              <a:gd name="T17" fmla="*/ 0 h 46"/>
              <a:gd name="T18" fmla="*/ 2 w 101"/>
              <a:gd name="T19" fmla="*/ 1 h 46"/>
              <a:gd name="T20" fmla="*/ 0 w 101"/>
              <a:gd name="T21" fmla="*/ 4 h 46"/>
              <a:gd name="T22" fmla="*/ 0 w 101"/>
              <a:gd name="T23" fmla="*/ 34 h 46"/>
              <a:gd name="T24" fmla="*/ 3 w 101"/>
              <a:gd name="T25" fmla="*/ 37 h 46"/>
              <a:gd name="T26" fmla="*/ 7 w 101"/>
              <a:gd name="T27" fmla="*/ 36 h 46"/>
              <a:gd name="T28" fmla="*/ 11 w 101"/>
              <a:gd name="T29" fmla="*/ 30 h 46"/>
              <a:gd name="T30" fmla="*/ 49 w 101"/>
              <a:gd name="T31" fmla="*/ 46 h 46"/>
              <a:gd name="T32" fmla="*/ 100 w 101"/>
              <a:gd name="T33" fmla="*/ 12 h 46"/>
              <a:gd name="T34" fmla="*/ 99 w 101"/>
              <a:gd name="T35" fmla="*/ 4 h 46"/>
              <a:gd name="T36" fmla="*/ 99 w 101"/>
              <a:gd name="T37" fmla="*/ 4 h 46"/>
              <a:gd name="T38" fmla="*/ 99 w 101"/>
              <a:gd name="T39" fmla="*/ 4 h 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01" h="46">
                <a:moveTo>
                  <a:pt x="99" y="4"/>
                </a:moveTo>
                <a:cubicBezTo>
                  <a:pt x="98" y="1"/>
                  <a:pt x="95" y="0"/>
                  <a:pt x="92" y="0"/>
                </a:cubicBezTo>
                <a:cubicBezTo>
                  <a:pt x="88" y="0"/>
                  <a:pt x="85" y="2"/>
                  <a:pt x="84" y="5"/>
                </a:cubicBezTo>
                <a:cubicBezTo>
                  <a:pt x="78" y="19"/>
                  <a:pt x="65" y="28"/>
                  <a:pt x="49" y="28"/>
                </a:cubicBezTo>
                <a:cubicBezTo>
                  <a:pt x="41" y="28"/>
                  <a:pt x="33" y="25"/>
                  <a:pt x="27" y="20"/>
                </a:cubicBezTo>
                <a:cubicBezTo>
                  <a:pt x="32" y="20"/>
                  <a:pt x="32" y="20"/>
                  <a:pt x="32" y="20"/>
                </a:cubicBezTo>
                <a:cubicBezTo>
                  <a:pt x="33" y="19"/>
                  <a:pt x="35" y="18"/>
                  <a:pt x="35" y="16"/>
                </a:cubicBezTo>
                <a:cubicBezTo>
                  <a:pt x="35" y="15"/>
                  <a:pt x="34" y="13"/>
                  <a:pt x="33" y="12"/>
                </a:cubicBezTo>
                <a:cubicBezTo>
                  <a:pt x="6" y="0"/>
                  <a:pt x="6" y="0"/>
                  <a:pt x="6" y="0"/>
                </a:cubicBezTo>
                <a:cubicBezTo>
                  <a:pt x="4" y="0"/>
                  <a:pt x="3" y="0"/>
                  <a:pt x="2" y="1"/>
                </a:cubicBezTo>
                <a:cubicBezTo>
                  <a:pt x="1" y="1"/>
                  <a:pt x="0" y="2"/>
                  <a:pt x="0" y="4"/>
                </a:cubicBezTo>
                <a:cubicBezTo>
                  <a:pt x="0" y="34"/>
                  <a:pt x="0" y="34"/>
                  <a:pt x="0" y="34"/>
                </a:cubicBezTo>
                <a:cubicBezTo>
                  <a:pt x="0" y="35"/>
                  <a:pt x="1" y="37"/>
                  <a:pt x="3" y="37"/>
                </a:cubicBezTo>
                <a:cubicBezTo>
                  <a:pt x="4" y="38"/>
                  <a:pt x="6" y="37"/>
                  <a:pt x="7" y="36"/>
                </a:cubicBezTo>
                <a:cubicBezTo>
                  <a:pt x="11" y="30"/>
                  <a:pt x="11" y="30"/>
                  <a:pt x="11" y="30"/>
                </a:cubicBezTo>
                <a:cubicBezTo>
                  <a:pt x="21" y="40"/>
                  <a:pt x="34" y="46"/>
                  <a:pt x="49" y="46"/>
                </a:cubicBezTo>
                <a:cubicBezTo>
                  <a:pt x="72" y="46"/>
                  <a:pt x="92" y="32"/>
                  <a:pt x="100" y="12"/>
                </a:cubicBezTo>
                <a:cubicBezTo>
                  <a:pt x="101" y="9"/>
                  <a:pt x="101" y="6"/>
                  <a:pt x="99" y="4"/>
                </a:cubicBezTo>
                <a:close/>
                <a:moveTo>
                  <a:pt x="99" y="4"/>
                </a:moveTo>
                <a:cubicBezTo>
                  <a:pt x="99" y="4"/>
                  <a:pt x="99" y="4"/>
                  <a:pt x="99" y="4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152" name="îṥļïḋé">
            <a:extLst>
              <a:ext uri="{FF2B5EF4-FFF2-40B4-BE49-F238E27FC236}">
                <a16:creationId xmlns:a16="http://schemas.microsoft.com/office/drawing/2014/main" id="{1B00F1E6-AF56-48FD-9C5F-513DFE60683B}"/>
              </a:ext>
            </a:extLst>
          </p:cNvPr>
          <p:cNvSpPr>
            <a:spLocks/>
          </p:cNvSpPr>
          <p:nvPr/>
        </p:nvSpPr>
        <p:spPr bwMode="auto">
          <a:xfrm>
            <a:off x="8821442" y="2727657"/>
            <a:ext cx="141504" cy="64000"/>
          </a:xfrm>
          <a:custGeom>
            <a:avLst/>
            <a:gdLst>
              <a:gd name="T0" fmla="*/ 10 w 102"/>
              <a:gd name="T1" fmla="*/ 46 h 46"/>
              <a:gd name="T2" fmla="*/ 18 w 102"/>
              <a:gd name="T3" fmla="*/ 40 h 46"/>
              <a:gd name="T4" fmla="*/ 52 w 102"/>
              <a:gd name="T5" fmla="*/ 17 h 46"/>
              <a:gd name="T6" fmla="*/ 75 w 102"/>
              <a:gd name="T7" fmla="*/ 25 h 46"/>
              <a:gd name="T8" fmla="*/ 70 w 102"/>
              <a:gd name="T9" fmla="*/ 26 h 46"/>
              <a:gd name="T10" fmla="*/ 67 w 102"/>
              <a:gd name="T11" fmla="*/ 29 h 46"/>
              <a:gd name="T12" fmla="*/ 69 w 102"/>
              <a:gd name="T13" fmla="*/ 33 h 46"/>
              <a:gd name="T14" fmla="*/ 96 w 102"/>
              <a:gd name="T15" fmla="*/ 45 h 46"/>
              <a:gd name="T16" fmla="*/ 100 w 102"/>
              <a:gd name="T17" fmla="*/ 45 h 46"/>
              <a:gd name="T18" fmla="*/ 102 w 102"/>
              <a:gd name="T19" fmla="*/ 42 h 46"/>
              <a:gd name="T20" fmla="*/ 102 w 102"/>
              <a:gd name="T21" fmla="*/ 12 h 46"/>
              <a:gd name="T22" fmla="*/ 99 w 102"/>
              <a:gd name="T23" fmla="*/ 8 h 46"/>
              <a:gd name="T24" fmla="*/ 95 w 102"/>
              <a:gd name="T25" fmla="*/ 10 h 46"/>
              <a:gd name="T26" fmla="*/ 91 w 102"/>
              <a:gd name="T27" fmla="*/ 15 h 46"/>
              <a:gd name="T28" fmla="*/ 52 w 102"/>
              <a:gd name="T29" fmla="*/ 0 h 46"/>
              <a:gd name="T30" fmla="*/ 2 w 102"/>
              <a:gd name="T31" fmla="*/ 33 h 46"/>
              <a:gd name="T32" fmla="*/ 2 w 102"/>
              <a:gd name="T33" fmla="*/ 42 h 46"/>
              <a:gd name="T34" fmla="*/ 10 w 102"/>
              <a:gd name="T35" fmla="*/ 46 h 46"/>
              <a:gd name="T36" fmla="*/ 10 w 102"/>
              <a:gd name="T37" fmla="*/ 46 h 46"/>
              <a:gd name="T38" fmla="*/ 10 w 102"/>
              <a:gd name="T39" fmla="*/ 46 h 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02" h="46">
                <a:moveTo>
                  <a:pt x="10" y="46"/>
                </a:moveTo>
                <a:cubicBezTo>
                  <a:pt x="13" y="46"/>
                  <a:pt x="17" y="43"/>
                  <a:pt x="18" y="40"/>
                </a:cubicBezTo>
                <a:cubicBezTo>
                  <a:pt x="24" y="27"/>
                  <a:pt x="37" y="17"/>
                  <a:pt x="52" y="17"/>
                </a:cubicBezTo>
                <a:cubicBezTo>
                  <a:pt x="61" y="17"/>
                  <a:pt x="69" y="20"/>
                  <a:pt x="75" y="25"/>
                </a:cubicBezTo>
                <a:cubicBezTo>
                  <a:pt x="70" y="26"/>
                  <a:pt x="70" y="26"/>
                  <a:pt x="70" y="26"/>
                </a:cubicBezTo>
                <a:cubicBezTo>
                  <a:pt x="68" y="26"/>
                  <a:pt x="67" y="27"/>
                  <a:pt x="67" y="29"/>
                </a:cubicBezTo>
                <a:cubicBezTo>
                  <a:pt x="67" y="31"/>
                  <a:pt x="68" y="32"/>
                  <a:pt x="69" y="33"/>
                </a:cubicBezTo>
                <a:cubicBezTo>
                  <a:pt x="96" y="45"/>
                  <a:pt x="96" y="45"/>
                  <a:pt x="96" y="45"/>
                </a:cubicBezTo>
                <a:cubicBezTo>
                  <a:pt x="97" y="46"/>
                  <a:pt x="99" y="46"/>
                  <a:pt x="100" y="45"/>
                </a:cubicBezTo>
                <a:cubicBezTo>
                  <a:pt x="101" y="44"/>
                  <a:pt x="102" y="43"/>
                  <a:pt x="102" y="42"/>
                </a:cubicBezTo>
                <a:cubicBezTo>
                  <a:pt x="102" y="12"/>
                  <a:pt x="102" y="12"/>
                  <a:pt x="102" y="12"/>
                </a:cubicBezTo>
                <a:cubicBezTo>
                  <a:pt x="102" y="10"/>
                  <a:pt x="101" y="9"/>
                  <a:pt x="99" y="8"/>
                </a:cubicBezTo>
                <a:cubicBezTo>
                  <a:pt x="97" y="8"/>
                  <a:pt x="96" y="8"/>
                  <a:pt x="95" y="10"/>
                </a:cubicBezTo>
                <a:cubicBezTo>
                  <a:pt x="91" y="15"/>
                  <a:pt x="91" y="15"/>
                  <a:pt x="91" y="15"/>
                </a:cubicBezTo>
                <a:cubicBezTo>
                  <a:pt x="81" y="6"/>
                  <a:pt x="67" y="0"/>
                  <a:pt x="52" y="0"/>
                </a:cubicBezTo>
                <a:cubicBezTo>
                  <a:pt x="30" y="0"/>
                  <a:pt x="10" y="13"/>
                  <a:pt x="2" y="33"/>
                </a:cubicBezTo>
                <a:cubicBezTo>
                  <a:pt x="0" y="36"/>
                  <a:pt x="1" y="39"/>
                  <a:pt x="2" y="42"/>
                </a:cubicBezTo>
                <a:cubicBezTo>
                  <a:pt x="4" y="44"/>
                  <a:pt x="7" y="46"/>
                  <a:pt x="10" y="46"/>
                </a:cubicBezTo>
                <a:close/>
                <a:moveTo>
                  <a:pt x="10" y="46"/>
                </a:moveTo>
                <a:cubicBezTo>
                  <a:pt x="10" y="46"/>
                  <a:pt x="10" y="46"/>
                  <a:pt x="10" y="46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153" name="íŝḻíďê">
            <a:extLst>
              <a:ext uri="{FF2B5EF4-FFF2-40B4-BE49-F238E27FC236}">
                <a16:creationId xmlns:a16="http://schemas.microsoft.com/office/drawing/2014/main" id="{3774EEB5-6947-49B5-8223-6A93535E62F5}"/>
              </a:ext>
            </a:extLst>
          </p:cNvPr>
          <p:cNvSpPr>
            <a:spLocks/>
          </p:cNvSpPr>
          <p:nvPr/>
        </p:nvSpPr>
        <p:spPr bwMode="auto">
          <a:xfrm>
            <a:off x="8825552" y="2815143"/>
            <a:ext cx="140330" cy="65174"/>
          </a:xfrm>
          <a:custGeom>
            <a:avLst/>
            <a:gdLst>
              <a:gd name="T0" fmla="*/ 99 w 101"/>
              <a:gd name="T1" fmla="*/ 5 h 47"/>
              <a:gd name="T2" fmla="*/ 92 w 101"/>
              <a:gd name="T3" fmla="*/ 1 h 47"/>
              <a:gd name="T4" fmla="*/ 84 w 101"/>
              <a:gd name="T5" fmla="*/ 6 h 47"/>
              <a:gd name="T6" fmla="*/ 49 w 101"/>
              <a:gd name="T7" fmla="*/ 29 h 47"/>
              <a:gd name="T8" fmla="*/ 27 w 101"/>
              <a:gd name="T9" fmla="*/ 21 h 47"/>
              <a:gd name="T10" fmla="*/ 32 w 101"/>
              <a:gd name="T11" fmla="*/ 20 h 47"/>
              <a:gd name="T12" fmla="*/ 35 w 101"/>
              <a:gd name="T13" fmla="*/ 17 h 47"/>
              <a:gd name="T14" fmla="*/ 33 w 101"/>
              <a:gd name="T15" fmla="*/ 13 h 47"/>
              <a:gd name="T16" fmla="*/ 6 w 101"/>
              <a:gd name="T17" fmla="*/ 1 h 47"/>
              <a:gd name="T18" fmla="*/ 2 w 101"/>
              <a:gd name="T19" fmla="*/ 1 h 47"/>
              <a:gd name="T20" fmla="*/ 0 w 101"/>
              <a:gd name="T21" fmla="*/ 4 h 47"/>
              <a:gd name="T22" fmla="*/ 0 w 101"/>
              <a:gd name="T23" fmla="*/ 34 h 47"/>
              <a:gd name="T24" fmla="*/ 3 w 101"/>
              <a:gd name="T25" fmla="*/ 38 h 47"/>
              <a:gd name="T26" fmla="*/ 7 w 101"/>
              <a:gd name="T27" fmla="*/ 36 h 47"/>
              <a:gd name="T28" fmla="*/ 11 w 101"/>
              <a:gd name="T29" fmla="*/ 31 h 47"/>
              <a:gd name="T30" fmla="*/ 49 w 101"/>
              <a:gd name="T31" fmla="*/ 47 h 47"/>
              <a:gd name="T32" fmla="*/ 100 w 101"/>
              <a:gd name="T33" fmla="*/ 13 h 47"/>
              <a:gd name="T34" fmla="*/ 99 w 101"/>
              <a:gd name="T35" fmla="*/ 5 h 47"/>
              <a:gd name="T36" fmla="*/ 99 w 101"/>
              <a:gd name="T37" fmla="*/ 5 h 47"/>
              <a:gd name="T38" fmla="*/ 99 w 101"/>
              <a:gd name="T39" fmla="*/ 5 h 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01" h="47">
                <a:moveTo>
                  <a:pt x="99" y="5"/>
                </a:moveTo>
                <a:cubicBezTo>
                  <a:pt x="98" y="2"/>
                  <a:pt x="95" y="1"/>
                  <a:pt x="92" y="1"/>
                </a:cubicBezTo>
                <a:cubicBezTo>
                  <a:pt x="88" y="1"/>
                  <a:pt x="85" y="3"/>
                  <a:pt x="84" y="6"/>
                </a:cubicBezTo>
                <a:cubicBezTo>
                  <a:pt x="78" y="20"/>
                  <a:pt x="65" y="29"/>
                  <a:pt x="49" y="29"/>
                </a:cubicBezTo>
                <a:cubicBezTo>
                  <a:pt x="41" y="29"/>
                  <a:pt x="33" y="26"/>
                  <a:pt x="27" y="21"/>
                </a:cubicBezTo>
                <a:cubicBezTo>
                  <a:pt x="32" y="20"/>
                  <a:pt x="32" y="20"/>
                  <a:pt x="32" y="20"/>
                </a:cubicBezTo>
                <a:cubicBezTo>
                  <a:pt x="33" y="20"/>
                  <a:pt x="35" y="19"/>
                  <a:pt x="35" y="17"/>
                </a:cubicBezTo>
                <a:cubicBezTo>
                  <a:pt x="35" y="15"/>
                  <a:pt x="34" y="14"/>
                  <a:pt x="33" y="13"/>
                </a:cubicBezTo>
                <a:cubicBezTo>
                  <a:pt x="6" y="1"/>
                  <a:pt x="6" y="1"/>
                  <a:pt x="6" y="1"/>
                </a:cubicBezTo>
                <a:cubicBezTo>
                  <a:pt x="4" y="0"/>
                  <a:pt x="3" y="1"/>
                  <a:pt x="2" y="1"/>
                </a:cubicBezTo>
                <a:cubicBezTo>
                  <a:pt x="1" y="2"/>
                  <a:pt x="0" y="3"/>
                  <a:pt x="0" y="4"/>
                </a:cubicBezTo>
                <a:cubicBezTo>
                  <a:pt x="0" y="34"/>
                  <a:pt x="0" y="34"/>
                  <a:pt x="0" y="34"/>
                </a:cubicBezTo>
                <a:cubicBezTo>
                  <a:pt x="0" y="36"/>
                  <a:pt x="1" y="37"/>
                  <a:pt x="3" y="38"/>
                </a:cubicBezTo>
                <a:cubicBezTo>
                  <a:pt x="4" y="38"/>
                  <a:pt x="6" y="38"/>
                  <a:pt x="7" y="36"/>
                </a:cubicBezTo>
                <a:cubicBezTo>
                  <a:pt x="11" y="31"/>
                  <a:pt x="11" y="31"/>
                  <a:pt x="11" y="31"/>
                </a:cubicBezTo>
                <a:cubicBezTo>
                  <a:pt x="21" y="41"/>
                  <a:pt x="34" y="47"/>
                  <a:pt x="49" y="47"/>
                </a:cubicBezTo>
                <a:cubicBezTo>
                  <a:pt x="72" y="47"/>
                  <a:pt x="92" y="33"/>
                  <a:pt x="100" y="13"/>
                </a:cubicBezTo>
                <a:cubicBezTo>
                  <a:pt x="101" y="10"/>
                  <a:pt x="101" y="7"/>
                  <a:pt x="99" y="5"/>
                </a:cubicBezTo>
                <a:close/>
                <a:moveTo>
                  <a:pt x="99" y="5"/>
                </a:moveTo>
                <a:cubicBezTo>
                  <a:pt x="99" y="5"/>
                  <a:pt x="99" y="5"/>
                  <a:pt x="99" y="5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154" name="íṧľîďe">
            <a:extLst>
              <a:ext uri="{FF2B5EF4-FFF2-40B4-BE49-F238E27FC236}">
                <a16:creationId xmlns:a16="http://schemas.microsoft.com/office/drawing/2014/main" id="{5B4EAC78-A742-46F8-A4C4-0CF4FC5E0D75}"/>
              </a:ext>
            </a:extLst>
          </p:cNvPr>
          <p:cNvSpPr>
            <a:spLocks/>
          </p:cNvSpPr>
          <p:nvPr/>
        </p:nvSpPr>
        <p:spPr bwMode="auto">
          <a:xfrm>
            <a:off x="9396266" y="1741824"/>
            <a:ext cx="140330" cy="64000"/>
          </a:xfrm>
          <a:custGeom>
            <a:avLst/>
            <a:gdLst>
              <a:gd name="T0" fmla="*/ 9 w 101"/>
              <a:gd name="T1" fmla="*/ 46 h 46"/>
              <a:gd name="T2" fmla="*/ 18 w 101"/>
              <a:gd name="T3" fmla="*/ 40 h 46"/>
              <a:gd name="T4" fmla="*/ 52 w 101"/>
              <a:gd name="T5" fmla="*/ 17 h 46"/>
              <a:gd name="T6" fmla="*/ 75 w 101"/>
              <a:gd name="T7" fmla="*/ 25 h 46"/>
              <a:gd name="T8" fmla="*/ 70 w 101"/>
              <a:gd name="T9" fmla="*/ 26 h 46"/>
              <a:gd name="T10" fmla="*/ 66 w 101"/>
              <a:gd name="T11" fmla="*/ 29 h 46"/>
              <a:gd name="T12" fmla="*/ 69 w 101"/>
              <a:gd name="T13" fmla="*/ 33 h 46"/>
              <a:gd name="T14" fmla="*/ 96 w 101"/>
              <a:gd name="T15" fmla="*/ 45 h 46"/>
              <a:gd name="T16" fmla="*/ 99 w 101"/>
              <a:gd name="T17" fmla="*/ 45 h 46"/>
              <a:gd name="T18" fmla="*/ 101 w 101"/>
              <a:gd name="T19" fmla="*/ 42 h 46"/>
              <a:gd name="T20" fmla="*/ 101 w 101"/>
              <a:gd name="T21" fmla="*/ 12 h 46"/>
              <a:gd name="T22" fmla="*/ 99 w 101"/>
              <a:gd name="T23" fmla="*/ 8 h 46"/>
              <a:gd name="T24" fmla="*/ 94 w 101"/>
              <a:gd name="T25" fmla="*/ 10 h 46"/>
              <a:gd name="T26" fmla="*/ 91 w 101"/>
              <a:gd name="T27" fmla="*/ 16 h 46"/>
              <a:gd name="T28" fmla="*/ 52 w 101"/>
              <a:gd name="T29" fmla="*/ 0 h 46"/>
              <a:gd name="T30" fmla="*/ 1 w 101"/>
              <a:gd name="T31" fmla="*/ 33 h 46"/>
              <a:gd name="T32" fmla="*/ 2 w 101"/>
              <a:gd name="T33" fmla="*/ 42 h 46"/>
              <a:gd name="T34" fmla="*/ 9 w 101"/>
              <a:gd name="T35" fmla="*/ 46 h 46"/>
              <a:gd name="T36" fmla="*/ 9 w 101"/>
              <a:gd name="T37" fmla="*/ 46 h 46"/>
              <a:gd name="T38" fmla="*/ 9 w 101"/>
              <a:gd name="T39" fmla="*/ 46 h 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01" h="46">
                <a:moveTo>
                  <a:pt x="9" y="46"/>
                </a:moveTo>
                <a:cubicBezTo>
                  <a:pt x="13" y="46"/>
                  <a:pt x="16" y="44"/>
                  <a:pt x="18" y="40"/>
                </a:cubicBezTo>
                <a:cubicBezTo>
                  <a:pt x="23" y="27"/>
                  <a:pt x="36" y="17"/>
                  <a:pt x="52" y="17"/>
                </a:cubicBezTo>
                <a:cubicBezTo>
                  <a:pt x="60" y="17"/>
                  <a:pt x="68" y="20"/>
                  <a:pt x="75" y="25"/>
                </a:cubicBezTo>
                <a:cubicBezTo>
                  <a:pt x="70" y="26"/>
                  <a:pt x="70" y="26"/>
                  <a:pt x="70" y="26"/>
                </a:cubicBezTo>
                <a:cubicBezTo>
                  <a:pt x="68" y="26"/>
                  <a:pt x="67" y="28"/>
                  <a:pt x="66" y="29"/>
                </a:cubicBezTo>
                <a:cubicBezTo>
                  <a:pt x="66" y="31"/>
                  <a:pt x="67" y="33"/>
                  <a:pt x="69" y="33"/>
                </a:cubicBezTo>
                <a:cubicBezTo>
                  <a:pt x="96" y="45"/>
                  <a:pt x="96" y="45"/>
                  <a:pt x="96" y="45"/>
                </a:cubicBezTo>
                <a:cubicBezTo>
                  <a:pt x="97" y="46"/>
                  <a:pt x="98" y="46"/>
                  <a:pt x="99" y="45"/>
                </a:cubicBezTo>
                <a:cubicBezTo>
                  <a:pt x="100" y="44"/>
                  <a:pt x="101" y="43"/>
                  <a:pt x="101" y="42"/>
                </a:cubicBezTo>
                <a:cubicBezTo>
                  <a:pt x="101" y="12"/>
                  <a:pt x="101" y="12"/>
                  <a:pt x="101" y="12"/>
                </a:cubicBezTo>
                <a:cubicBezTo>
                  <a:pt x="101" y="10"/>
                  <a:pt x="100" y="9"/>
                  <a:pt x="99" y="8"/>
                </a:cubicBezTo>
                <a:cubicBezTo>
                  <a:pt x="97" y="8"/>
                  <a:pt x="95" y="9"/>
                  <a:pt x="94" y="10"/>
                </a:cubicBezTo>
                <a:cubicBezTo>
                  <a:pt x="91" y="16"/>
                  <a:pt x="91" y="16"/>
                  <a:pt x="91" y="16"/>
                </a:cubicBezTo>
                <a:cubicBezTo>
                  <a:pt x="81" y="6"/>
                  <a:pt x="67" y="0"/>
                  <a:pt x="52" y="0"/>
                </a:cubicBezTo>
                <a:cubicBezTo>
                  <a:pt x="29" y="0"/>
                  <a:pt x="10" y="14"/>
                  <a:pt x="1" y="33"/>
                </a:cubicBezTo>
                <a:cubicBezTo>
                  <a:pt x="0" y="36"/>
                  <a:pt x="0" y="39"/>
                  <a:pt x="2" y="42"/>
                </a:cubicBezTo>
                <a:cubicBezTo>
                  <a:pt x="4" y="44"/>
                  <a:pt x="6" y="46"/>
                  <a:pt x="9" y="46"/>
                </a:cubicBezTo>
                <a:close/>
                <a:moveTo>
                  <a:pt x="9" y="46"/>
                </a:moveTo>
                <a:cubicBezTo>
                  <a:pt x="9" y="46"/>
                  <a:pt x="9" y="46"/>
                  <a:pt x="9" y="46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155" name="i$ļîḓe">
            <a:extLst>
              <a:ext uri="{FF2B5EF4-FFF2-40B4-BE49-F238E27FC236}">
                <a16:creationId xmlns:a16="http://schemas.microsoft.com/office/drawing/2014/main" id="{EBB868EF-3BDF-4572-A29E-3F7B394ED442}"/>
              </a:ext>
            </a:extLst>
          </p:cNvPr>
          <p:cNvSpPr>
            <a:spLocks/>
          </p:cNvSpPr>
          <p:nvPr/>
        </p:nvSpPr>
        <p:spPr bwMode="auto">
          <a:xfrm>
            <a:off x="9400376" y="1831072"/>
            <a:ext cx="140330" cy="63413"/>
          </a:xfrm>
          <a:custGeom>
            <a:avLst/>
            <a:gdLst>
              <a:gd name="T0" fmla="*/ 99 w 101"/>
              <a:gd name="T1" fmla="*/ 4 h 46"/>
              <a:gd name="T2" fmla="*/ 91 w 101"/>
              <a:gd name="T3" fmla="*/ 0 h 46"/>
              <a:gd name="T4" fmla="*/ 83 w 101"/>
              <a:gd name="T5" fmla="*/ 5 h 46"/>
              <a:gd name="T6" fmla="*/ 49 w 101"/>
              <a:gd name="T7" fmla="*/ 28 h 46"/>
              <a:gd name="T8" fmla="*/ 26 w 101"/>
              <a:gd name="T9" fmla="*/ 20 h 46"/>
              <a:gd name="T10" fmla="*/ 31 w 101"/>
              <a:gd name="T11" fmla="*/ 20 h 46"/>
              <a:gd name="T12" fmla="*/ 34 w 101"/>
              <a:gd name="T13" fmla="*/ 16 h 46"/>
              <a:gd name="T14" fmla="*/ 32 w 101"/>
              <a:gd name="T15" fmla="*/ 12 h 46"/>
              <a:gd name="T16" fmla="*/ 5 w 101"/>
              <a:gd name="T17" fmla="*/ 0 h 46"/>
              <a:gd name="T18" fmla="*/ 1 w 101"/>
              <a:gd name="T19" fmla="*/ 0 h 46"/>
              <a:gd name="T20" fmla="*/ 0 w 101"/>
              <a:gd name="T21" fmla="*/ 4 h 46"/>
              <a:gd name="T22" fmla="*/ 0 w 101"/>
              <a:gd name="T23" fmla="*/ 33 h 46"/>
              <a:gd name="T24" fmla="*/ 2 w 101"/>
              <a:gd name="T25" fmla="*/ 37 h 46"/>
              <a:gd name="T26" fmla="*/ 7 w 101"/>
              <a:gd name="T27" fmla="*/ 36 h 46"/>
              <a:gd name="T28" fmla="*/ 10 w 101"/>
              <a:gd name="T29" fmla="*/ 30 h 46"/>
              <a:gd name="T30" fmla="*/ 49 w 101"/>
              <a:gd name="T31" fmla="*/ 46 h 46"/>
              <a:gd name="T32" fmla="*/ 100 w 101"/>
              <a:gd name="T33" fmla="*/ 12 h 46"/>
              <a:gd name="T34" fmla="*/ 99 w 101"/>
              <a:gd name="T35" fmla="*/ 4 h 46"/>
              <a:gd name="T36" fmla="*/ 99 w 101"/>
              <a:gd name="T37" fmla="*/ 4 h 46"/>
              <a:gd name="T38" fmla="*/ 99 w 101"/>
              <a:gd name="T39" fmla="*/ 4 h 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01" h="46">
                <a:moveTo>
                  <a:pt x="99" y="4"/>
                </a:moveTo>
                <a:cubicBezTo>
                  <a:pt x="97" y="1"/>
                  <a:pt x="94" y="0"/>
                  <a:pt x="91" y="0"/>
                </a:cubicBezTo>
                <a:cubicBezTo>
                  <a:pt x="88" y="0"/>
                  <a:pt x="85" y="2"/>
                  <a:pt x="83" y="5"/>
                </a:cubicBezTo>
                <a:cubicBezTo>
                  <a:pt x="78" y="19"/>
                  <a:pt x="64" y="28"/>
                  <a:pt x="49" y="28"/>
                </a:cubicBezTo>
                <a:cubicBezTo>
                  <a:pt x="40" y="28"/>
                  <a:pt x="33" y="25"/>
                  <a:pt x="26" y="20"/>
                </a:cubicBezTo>
                <a:cubicBezTo>
                  <a:pt x="31" y="20"/>
                  <a:pt x="31" y="20"/>
                  <a:pt x="31" y="20"/>
                </a:cubicBezTo>
                <a:cubicBezTo>
                  <a:pt x="33" y="19"/>
                  <a:pt x="34" y="18"/>
                  <a:pt x="34" y="16"/>
                </a:cubicBezTo>
                <a:cubicBezTo>
                  <a:pt x="35" y="15"/>
                  <a:pt x="34" y="13"/>
                  <a:pt x="32" y="12"/>
                </a:cubicBezTo>
                <a:cubicBezTo>
                  <a:pt x="5" y="0"/>
                  <a:pt x="5" y="0"/>
                  <a:pt x="5" y="0"/>
                </a:cubicBezTo>
                <a:cubicBezTo>
                  <a:pt x="4" y="0"/>
                  <a:pt x="3" y="0"/>
                  <a:pt x="1" y="0"/>
                </a:cubicBezTo>
                <a:cubicBezTo>
                  <a:pt x="0" y="1"/>
                  <a:pt x="0" y="2"/>
                  <a:pt x="0" y="4"/>
                </a:cubicBezTo>
                <a:cubicBezTo>
                  <a:pt x="0" y="33"/>
                  <a:pt x="0" y="33"/>
                  <a:pt x="0" y="33"/>
                </a:cubicBezTo>
                <a:cubicBezTo>
                  <a:pt x="0" y="35"/>
                  <a:pt x="1" y="37"/>
                  <a:pt x="2" y="37"/>
                </a:cubicBezTo>
                <a:cubicBezTo>
                  <a:pt x="4" y="38"/>
                  <a:pt x="6" y="37"/>
                  <a:pt x="7" y="36"/>
                </a:cubicBezTo>
                <a:cubicBezTo>
                  <a:pt x="10" y="30"/>
                  <a:pt x="10" y="30"/>
                  <a:pt x="10" y="30"/>
                </a:cubicBezTo>
                <a:cubicBezTo>
                  <a:pt x="20" y="40"/>
                  <a:pt x="34" y="46"/>
                  <a:pt x="49" y="46"/>
                </a:cubicBezTo>
                <a:cubicBezTo>
                  <a:pt x="72" y="46"/>
                  <a:pt x="91" y="32"/>
                  <a:pt x="100" y="12"/>
                </a:cubicBezTo>
                <a:cubicBezTo>
                  <a:pt x="101" y="9"/>
                  <a:pt x="101" y="6"/>
                  <a:pt x="99" y="4"/>
                </a:cubicBezTo>
                <a:close/>
                <a:moveTo>
                  <a:pt x="99" y="4"/>
                </a:moveTo>
                <a:cubicBezTo>
                  <a:pt x="99" y="4"/>
                  <a:pt x="99" y="4"/>
                  <a:pt x="99" y="4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156" name="iṣļíḋè">
            <a:extLst>
              <a:ext uri="{FF2B5EF4-FFF2-40B4-BE49-F238E27FC236}">
                <a16:creationId xmlns:a16="http://schemas.microsoft.com/office/drawing/2014/main" id="{01E3CA5D-7822-4918-B8BE-EBE2FC9B850D}"/>
              </a:ext>
            </a:extLst>
          </p:cNvPr>
          <p:cNvSpPr>
            <a:spLocks/>
          </p:cNvSpPr>
          <p:nvPr/>
        </p:nvSpPr>
        <p:spPr bwMode="auto">
          <a:xfrm>
            <a:off x="9911201" y="2965455"/>
            <a:ext cx="162642" cy="162054"/>
          </a:xfrm>
          <a:custGeom>
            <a:avLst/>
            <a:gdLst>
              <a:gd name="T0" fmla="*/ 13 w 117"/>
              <a:gd name="T1" fmla="*/ 71 h 117"/>
              <a:gd name="T2" fmla="*/ 17 w 117"/>
              <a:gd name="T3" fmla="*/ 81 h 117"/>
              <a:gd name="T4" fmla="*/ 12 w 117"/>
              <a:gd name="T5" fmla="*/ 88 h 117"/>
              <a:gd name="T6" fmla="*/ 12 w 117"/>
              <a:gd name="T7" fmla="*/ 95 h 117"/>
              <a:gd name="T8" fmla="*/ 21 w 117"/>
              <a:gd name="T9" fmla="*/ 104 h 117"/>
              <a:gd name="T10" fmla="*/ 28 w 117"/>
              <a:gd name="T11" fmla="*/ 104 h 117"/>
              <a:gd name="T12" fmla="*/ 35 w 117"/>
              <a:gd name="T13" fmla="*/ 99 h 117"/>
              <a:gd name="T14" fmla="*/ 45 w 117"/>
              <a:gd name="T15" fmla="*/ 103 h 117"/>
              <a:gd name="T16" fmla="*/ 46 w 117"/>
              <a:gd name="T17" fmla="*/ 112 h 117"/>
              <a:gd name="T18" fmla="*/ 52 w 117"/>
              <a:gd name="T19" fmla="*/ 117 h 117"/>
              <a:gd name="T20" fmla="*/ 64 w 117"/>
              <a:gd name="T21" fmla="*/ 117 h 117"/>
              <a:gd name="T22" fmla="*/ 70 w 117"/>
              <a:gd name="T23" fmla="*/ 112 h 117"/>
              <a:gd name="T24" fmla="*/ 71 w 117"/>
              <a:gd name="T25" fmla="*/ 104 h 117"/>
              <a:gd name="T26" fmla="*/ 82 w 117"/>
              <a:gd name="T27" fmla="*/ 99 h 117"/>
              <a:gd name="T28" fmla="*/ 88 w 117"/>
              <a:gd name="T29" fmla="*/ 104 h 117"/>
              <a:gd name="T30" fmla="*/ 95 w 117"/>
              <a:gd name="T31" fmla="*/ 104 h 117"/>
              <a:gd name="T32" fmla="*/ 104 w 117"/>
              <a:gd name="T33" fmla="*/ 95 h 117"/>
              <a:gd name="T34" fmla="*/ 105 w 117"/>
              <a:gd name="T35" fmla="*/ 88 h 117"/>
              <a:gd name="T36" fmla="*/ 100 w 117"/>
              <a:gd name="T37" fmla="*/ 81 h 117"/>
              <a:gd name="T38" fmla="*/ 104 w 117"/>
              <a:gd name="T39" fmla="*/ 70 h 117"/>
              <a:gd name="T40" fmla="*/ 112 w 117"/>
              <a:gd name="T41" fmla="*/ 69 h 117"/>
              <a:gd name="T42" fmla="*/ 117 w 117"/>
              <a:gd name="T43" fmla="*/ 64 h 117"/>
              <a:gd name="T44" fmla="*/ 117 w 117"/>
              <a:gd name="T45" fmla="*/ 51 h 117"/>
              <a:gd name="T46" fmla="*/ 112 w 117"/>
              <a:gd name="T47" fmla="*/ 46 h 117"/>
              <a:gd name="T48" fmla="*/ 104 w 117"/>
              <a:gd name="T49" fmla="*/ 45 h 117"/>
              <a:gd name="T50" fmla="*/ 100 w 117"/>
              <a:gd name="T51" fmla="*/ 34 h 117"/>
              <a:gd name="T52" fmla="*/ 105 w 117"/>
              <a:gd name="T53" fmla="*/ 29 h 117"/>
              <a:gd name="T54" fmla="*/ 104 w 117"/>
              <a:gd name="T55" fmla="*/ 21 h 117"/>
              <a:gd name="T56" fmla="*/ 95 w 117"/>
              <a:gd name="T57" fmla="*/ 12 h 117"/>
              <a:gd name="T58" fmla="*/ 88 w 117"/>
              <a:gd name="T59" fmla="*/ 12 h 117"/>
              <a:gd name="T60" fmla="*/ 83 w 117"/>
              <a:gd name="T61" fmla="*/ 17 h 117"/>
              <a:gd name="T62" fmla="*/ 71 w 117"/>
              <a:gd name="T63" fmla="*/ 12 h 117"/>
              <a:gd name="T64" fmla="*/ 70 w 117"/>
              <a:gd name="T65" fmla="*/ 4 h 117"/>
              <a:gd name="T66" fmla="*/ 65 w 117"/>
              <a:gd name="T67" fmla="*/ 0 h 117"/>
              <a:gd name="T68" fmla="*/ 52 w 117"/>
              <a:gd name="T69" fmla="*/ 0 h 117"/>
              <a:gd name="T70" fmla="*/ 47 w 117"/>
              <a:gd name="T71" fmla="*/ 4 h 117"/>
              <a:gd name="T72" fmla="*/ 46 w 117"/>
              <a:gd name="T73" fmla="*/ 12 h 117"/>
              <a:gd name="T74" fmla="*/ 34 w 117"/>
              <a:gd name="T75" fmla="*/ 17 h 117"/>
              <a:gd name="T76" fmla="*/ 28 w 117"/>
              <a:gd name="T77" fmla="*/ 12 h 117"/>
              <a:gd name="T78" fmla="*/ 21 w 117"/>
              <a:gd name="T79" fmla="*/ 12 h 117"/>
              <a:gd name="T80" fmla="*/ 12 w 117"/>
              <a:gd name="T81" fmla="*/ 21 h 117"/>
              <a:gd name="T82" fmla="*/ 12 w 117"/>
              <a:gd name="T83" fmla="*/ 29 h 117"/>
              <a:gd name="T84" fmla="*/ 17 w 117"/>
              <a:gd name="T85" fmla="*/ 35 h 117"/>
              <a:gd name="T86" fmla="*/ 12 w 117"/>
              <a:gd name="T87" fmla="*/ 46 h 117"/>
              <a:gd name="T88" fmla="*/ 5 w 117"/>
              <a:gd name="T89" fmla="*/ 47 h 117"/>
              <a:gd name="T90" fmla="*/ 0 w 117"/>
              <a:gd name="T91" fmla="*/ 52 h 117"/>
              <a:gd name="T92" fmla="*/ 0 w 117"/>
              <a:gd name="T93" fmla="*/ 65 h 117"/>
              <a:gd name="T94" fmla="*/ 5 w 117"/>
              <a:gd name="T95" fmla="*/ 70 h 117"/>
              <a:gd name="T96" fmla="*/ 13 w 117"/>
              <a:gd name="T97" fmla="*/ 71 h 117"/>
              <a:gd name="T98" fmla="*/ 58 w 117"/>
              <a:gd name="T99" fmla="*/ 37 h 117"/>
              <a:gd name="T100" fmla="*/ 79 w 117"/>
              <a:gd name="T101" fmla="*/ 58 h 117"/>
              <a:gd name="T102" fmla="*/ 58 w 117"/>
              <a:gd name="T103" fmla="*/ 79 h 117"/>
              <a:gd name="T104" fmla="*/ 38 w 117"/>
              <a:gd name="T105" fmla="*/ 58 h 117"/>
              <a:gd name="T106" fmla="*/ 58 w 117"/>
              <a:gd name="T107" fmla="*/ 37 h 117"/>
              <a:gd name="T108" fmla="*/ 58 w 117"/>
              <a:gd name="T109" fmla="*/ 37 h 117"/>
              <a:gd name="T110" fmla="*/ 58 w 117"/>
              <a:gd name="T111" fmla="*/ 37 h 1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17" h="117">
                <a:moveTo>
                  <a:pt x="13" y="71"/>
                </a:moveTo>
                <a:cubicBezTo>
                  <a:pt x="14" y="74"/>
                  <a:pt x="15" y="78"/>
                  <a:pt x="17" y="81"/>
                </a:cubicBezTo>
                <a:cubicBezTo>
                  <a:pt x="12" y="88"/>
                  <a:pt x="12" y="88"/>
                  <a:pt x="12" y="88"/>
                </a:cubicBezTo>
                <a:cubicBezTo>
                  <a:pt x="10" y="90"/>
                  <a:pt x="10" y="93"/>
                  <a:pt x="12" y="95"/>
                </a:cubicBezTo>
                <a:cubicBezTo>
                  <a:pt x="21" y="104"/>
                  <a:pt x="21" y="104"/>
                  <a:pt x="21" y="104"/>
                </a:cubicBezTo>
                <a:cubicBezTo>
                  <a:pt x="23" y="106"/>
                  <a:pt x="26" y="106"/>
                  <a:pt x="28" y="104"/>
                </a:cubicBezTo>
                <a:cubicBezTo>
                  <a:pt x="35" y="99"/>
                  <a:pt x="35" y="99"/>
                  <a:pt x="35" y="99"/>
                </a:cubicBezTo>
                <a:cubicBezTo>
                  <a:pt x="38" y="101"/>
                  <a:pt x="42" y="102"/>
                  <a:pt x="45" y="103"/>
                </a:cubicBezTo>
                <a:cubicBezTo>
                  <a:pt x="46" y="112"/>
                  <a:pt x="46" y="112"/>
                  <a:pt x="46" y="112"/>
                </a:cubicBezTo>
                <a:cubicBezTo>
                  <a:pt x="47" y="114"/>
                  <a:pt x="49" y="117"/>
                  <a:pt x="52" y="117"/>
                </a:cubicBezTo>
                <a:cubicBezTo>
                  <a:pt x="64" y="117"/>
                  <a:pt x="64" y="117"/>
                  <a:pt x="64" y="117"/>
                </a:cubicBezTo>
                <a:cubicBezTo>
                  <a:pt x="67" y="117"/>
                  <a:pt x="69" y="114"/>
                  <a:pt x="70" y="112"/>
                </a:cubicBezTo>
                <a:cubicBezTo>
                  <a:pt x="71" y="104"/>
                  <a:pt x="71" y="104"/>
                  <a:pt x="71" y="104"/>
                </a:cubicBezTo>
                <a:cubicBezTo>
                  <a:pt x="74" y="103"/>
                  <a:pt x="78" y="101"/>
                  <a:pt x="82" y="99"/>
                </a:cubicBezTo>
                <a:cubicBezTo>
                  <a:pt x="88" y="104"/>
                  <a:pt x="88" y="104"/>
                  <a:pt x="88" y="104"/>
                </a:cubicBezTo>
                <a:cubicBezTo>
                  <a:pt x="90" y="106"/>
                  <a:pt x="93" y="106"/>
                  <a:pt x="95" y="104"/>
                </a:cubicBezTo>
                <a:cubicBezTo>
                  <a:pt x="104" y="95"/>
                  <a:pt x="104" y="95"/>
                  <a:pt x="104" y="95"/>
                </a:cubicBezTo>
                <a:cubicBezTo>
                  <a:pt x="106" y="93"/>
                  <a:pt x="106" y="90"/>
                  <a:pt x="105" y="88"/>
                </a:cubicBezTo>
                <a:cubicBezTo>
                  <a:pt x="100" y="81"/>
                  <a:pt x="100" y="81"/>
                  <a:pt x="100" y="81"/>
                </a:cubicBezTo>
                <a:cubicBezTo>
                  <a:pt x="102" y="78"/>
                  <a:pt x="103" y="74"/>
                  <a:pt x="104" y="70"/>
                </a:cubicBezTo>
                <a:cubicBezTo>
                  <a:pt x="112" y="69"/>
                  <a:pt x="112" y="69"/>
                  <a:pt x="112" y="69"/>
                </a:cubicBezTo>
                <a:cubicBezTo>
                  <a:pt x="115" y="69"/>
                  <a:pt x="117" y="67"/>
                  <a:pt x="117" y="64"/>
                </a:cubicBezTo>
                <a:cubicBezTo>
                  <a:pt x="117" y="51"/>
                  <a:pt x="117" y="51"/>
                  <a:pt x="117" y="51"/>
                </a:cubicBezTo>
                <a:cubicBezTo>
                  <a:pt x="117" y="49"/>
                  <a:pt x="115" y="47"/>
                  <a:pt x="112" y="46"/>
                </a:cubicBezTo>
                <a:cubicBezTo>
                  <a:pt x="104" y="45"/>
                  <a:pt x="104" y="45"/>
                  <a:pt x="104" y="45"/>
                </a:cubicBezTo>
                <a:cubicBezTo>
                  <a:pt x="103" y="41"/>
                  <a:pt x="102" y="38"/>
                  <a:pt x="100" y="34"/>
                </a:cubicBezTo>
                <a:cubicBezTo>
                  <a:pt x="105" y="29"/>
                  <a:pt x="105" y="29"/>
                  <a:pt x="105" y="29"/>
                </a:cubicBezTo>
                <a:cubicBezTo>
                  <a:pt x="106" y="26"/>
                  <a:pt x="106" y="23"/>
                  <a:pt x="104" y="21"/>
                </a:cubicBezTo>
                <a:cubicBezTo>
                  <a:pt x="95" y="12"/>
                  <a:pt x="95" y="12"/>
                  <a:pt x="95" y="12"/>
                </a:cubicBezTo>
                <a:cubicBezTo>
                  <a:pt x="93" y="11"/>
                  <a:pt x="90" y="10"/>
                  <a:pt x="88" y="12"/>
                </a:cubicBezTo>
                <a:cubicBezTo>
                  <a:pt x="83" y="17"/>
                  <a:pt x="83" y="17"/>
                  <a:pt x="83" y="17"/>
                </a:cubicBezTo>
                <a:cubicBezTo>
                  <a:pt x="79" y="14"/>
                  <a:pt x="75" y="13"/>
                  <a:pt x="71" y="12"/>
                </a:cubicBezTo>
                <a:cubicBezTo>
                  <a:pt x="70" y="4"/>
                  <a:pt x="70" y="4"/>
                  <a:pt x="70" y="4"/>
                </a:cubicBezTo>
                <a:cubicBezTo>
                  <a:pt x="70" y="2"/>
                  <a:pt x="67" y="0"/>
                  <a:pt x="65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49" y="0"/>
                  <a:pt x="47" y="2"/>
                  <a:pt x="47" y="4"/>
                </a:cubicBezTo>
                <a:cubicBezTo>
                  <a:pt x="46" y="12"/>
                  <a:pt x="46" y="12"/>
                  <a:pt x="46" y="12"/>
                </a:cubicBezTo>
                <a:cubicBezTo>
                  <a:pt x="42" y="13"/>
                  <a:pt x="38" y="14"/>
                  <a:pt x="34" y="17"/>
                </a:cubicBezTo>
                <a:cubicBezTo>
                  <a:pt x="28" y="12"/>
                  <a:pt x="28" y="12"/>
                  <a:pt x="28" y="12"/>
                </a:cubicBezTo>
                <a:cubicBezTo>
                  <a:pt x="26" y="10"/>
                  <a:pt x="23" y="11"/>
                  <a:pt x="21" y="12"/>
                </a:cubicBezTo>
                <a:cubicBezTo>
                  <a:pt x="12" y="21"/>
                  <a:pt x="12" y="21"/>
                  <a:pt x="12" y="21"/>
                </a:cubicBezTo>
                <a:cubicBezTo>
                  <a:pt x="10" y="23"/>
                  <a:pt x="10" y="26"/>
                  <a:pt x="12" y="29"/>
                </a:cubicBezTo>
                <a:cubicBezTo>
                  <a:pt x="17" y="35"/>
                  <a:pt x="17" y="35"/>
                  <a:pt x="17" y="35"/>
                </a:cubicBezTo>
                <a:cubicBezTo>
                  <a:pt x="15" y="38"/>
                  <a:pt x="13" y="42"/>
                  <a:pt x="12" y="46"/>
                </a:cubicBezTo>
                <a:cubicBezTo>
                  <a:pt x="5" y="47"/>
                  <a:pt x="5" y="47"/>
                  <a:pt x="5" y="47"/>
                </a:cubicBezTo>
                <a:cubicBezTo>
                  <a:pt x="2" y="47"/>
                  <a:pt x="0" y="49"/>
                  <a:pt x="0" y="52"/>
                </a:cubicBezTo>
                <a:cubicBezTo>
                  <a:pt x="0" y="65"/>
                  <a:pt x="0" y="65"/>
                  <a:pt x="0" y="65"/>
                </a:cubicBezTo>
                <a:cubicBezTo>
                  <a:pt x="0" y="67"/>
                  <a:pt x="2" y="70"/>
                  <a:pt x="5" y="70"/>
                </a:cubicBezTo>
                <a:lnTo>
                  <a:pt x="13" y="71"/>
                </a:lnTo>
                <a:close/>
                <a:moveTo>
                  <a:pt x="58" y="37"/>
                </a:moveTo>
                <a:cubicBezTo>
                  <a:pt x="70" y="37"/>
                  <a:pt x="79" y="46"/>
                  <a:pt x="79" y="58"/>
                </a:cubicBezTo>
                <a:cubicBezTo>
                  <a:pt x="79" y="69"/>
                  <a:pt x="70" y="79"/>
                  <a:pt x="58" y="79"/>
                </a:cubicBezTo>
                <a:cubicBezTo>
                  <a:pt x="47" y="79"/>
                  <a:pt x="38" y="69"/>
                  <a:pt x="38" y="58"/>
                </a:cubicBezTo>
                <a:cubicBezTo>
                  <a:pt x="38" y="46"/>
                  <a:pt x="47" y="37"/>
                  <a:pt x="58" y="37"/>
                </a:cubicBezTo>
                <a:close/>
                <a:moveTo>
                  <a:pt x="58" y="37"/>
                </a:moveTo>
                <a:cubicBezTo>
                  <a:pt x="58" y="37"/>
                  <a:pt x="58" y="37"/>
                  <a:pt x="58" y="37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157" name="iṣľídé">
            <a:extLst>
              <a:ext uri="{FF2B5EF4-FFF2-40B4-BE49-F238E27FC236}">
                <a16:creationId xmlns:a16="http://schemas.microsoft.com/office/drawing/2014/main" id="{8AAD251E-7EF0-4F6B-873F-B8CDFE76CF31}"/>
              </a:ext>
            </a:extLst>
          </p:cNvPr>
          <p:cNvSpPr>
            <a:spLocks/>
          </p:cNvSpPr>
          <p:nvPr/>
        </p:nvSpPr>
        <p:spPr bwMode="auto">
          <a:xfrm>
            <a:off x="10051531" y="3047069"/>
            <a:ext cx="133284" cy="135045"/>
          </a:xfrm>
          <a:custGeom>
            <a:avLst/>
            <a:gdLst>
              <a:gd name="T0" fmla="*/ 82 w 96"/>
              <a:gd name="T1" fmla="*/ 15 h 97"/>
              <a:gd name="T2" fmla="*/ 76 w 96"/>
              <a:gd name="T3" fmla="*/ 9 h 97"/>
              <a:gd name="T4" fmla="*/ 69 w 96"/>
              <a:gd name="T5" fmla="*/ 10 h 97"/>
              <a:gd name="T6" fmla="*/ 65 w 96"/>
              <a:gd name="T7" fmla="*/ 13 h 97"/>
              <a:gd name="T8" fmla="*/ 55 w 96"/>
              <a:gd name="T9" fmla="*/ 10 h 97"/>
              <a:gd name="T10" fmla="*/ 54 w 96"/>
              <a:gd name="T11" fmla="*/ 5 h 97"/>
              <a:gd name="T12" fmla="*/ 48 w 96"/>
              <a:gd name="T13" fmla="*/ 1 h 97"/>
              <a:gd name="T14" fmla="*/ 40 w 96"/>
              <a:gd name="T15" fmla="*/ 1 h 97"/>
              <a:gd name="T16" fmla="*/ 35 w 96"/>
              <a:gd name="T17" fmla="*/ 6 h 97"/>
              <a:gd name="T18" fmla="*/ 35 w 96"/>
              <a:gd name="T19" fmla="*/ 12 h 97"/>
              <a:gd name="T20" fmla="*/ 25 w 96"/>
              <a:gd name="T21" fmla="*/ 16 h 97"/>
              <a:gd name="T22" fmla="*/ 21 w 96"/>
              <a:gd name="T23" fmla="*/ 14 h 97"/>
              <a:gd name="T24" fmla="*/ 14 w 96"/>
              <a:gd name="T25" fmla="*/ 15 h 97"/>
              <a:gd name="T26" fmla="*/ 8 w 96"/>
              <a:gd name="T27" fmla="*/ 21 h 97"/>
              <a:gd name="T28" fmla="*/ 9 w 96"/>
              <a:gd name="T29" fmla="*/ 28 h 97"/>
              <a:gd name="T30" fmla="*/ 12 w 96"/>
              <a:gd name="T31" fmla="*/ 32 h 97"/>
              <a:gd name="T32" fmla="*/ 10 w 96"/>
              <a:gd name="T33" fmla="*/ 42 h 97"/>
              <a:gd name="T34" fmla="*/ 4 w 96"/>
              <a:gd name="T35" fmla="*/ 43 h 97"/>
              <a:gd name="T36" fmla="*/ 0 w 96"/>
              <a:gd name="T37" fmla="*/ 49 h 97"/>
              <a:gd name="T38" fmla="*/ 1 w 96"/>
              <a:gd name="T39" fmla="*/ 57 h 97"/>
              <a:gd name="T40" fmla="*/ 6 w 96"/>
              <a:gd name="T41" fmla="*/ 62 h 97"/>
              <a:gd name="T42" fmla="*/ 12 w 96"/>
              <a:gd name="T43" fmla="*/ 62 h 97"/>
              <a:gd name="T44" fmla="*/ 16 w 96"/>
              <a:gd name="T45" fmla="*/ 70 h 97"/>
              <a:gd name="T46" fmla="*/ 13 w 96"/>
              <a:gd name="T47" fmla="*/ 75 h 97"/>
              <a:gd name="T48" fmla="*/ 14 w 96"/>
              <a:gd name="T49" fmla="*/ 82 h 97"/>
              <a:gd name="T50" fmla="*/ 20 w 96"/>
              <a:gd name="T51" fmla="*/ 88 h 97"/>
              <a:gd name="T52" fmla="*/ 27 w 96"/>
              <a:gd name="T53" fmla="*/ 88 h 97"/>
              <a:gd name="T54" fmla="*/ 32 w 96"/>
              <a:gd name="T55" fmla="*/ 84 h 97"/>
              <a:gd name="T56" fmla="*/ 41 w 96"/>
              <a:gd name="T57" fmla="*/ 87 h 97"/>
              <a:gd name="T58" fmla="*/ 42 w 96"/>
              <a:gd name="T59" fmla="*/ 93 h 97"/>
              <a:gd name="T60" fmla="*/ 47 w 96"/>
              <a:gd name="T61" fmla="*/ 97 h 97"/>
              <a:gd name="T62" fmla="*/ 56 w 96"/>
              <a:gd name="T63" fmla="*/ 96 h 97"/>
              <a:gd name="T64" fmla="*/ 61 w 96"/>
              <a:gd name="T65" fmla="*/ 91 h 97"/>
              <a:gd name="T66" fmla="*/ 61 w 96"/>
              <a:gd name="T67" fmla="*/ 85 h 97"/>
              <a:gd name="T68" fmla="*/ 70 w 96"/>
              <a:gd name="T69" fmla="*/ 81 h 97"/>
              <a:gd name="T70" fmla="*/ 75 w 96"/>
              <a:gd name="T71" fmla="*/ 84 h 97"/>
              <a:gd name="T72" fmla="*/ 82 w 96"/>
              <a:gd name="T73" fmla="*/ 83 h 97"/>
              <a:gd name="T74" fmla="*/ 87 w 96"/>
              <a:gd name="T75" fmla="*/ 76 h 97"/>
              <a:gd name="T76" fmla="*/ 87 w 96"/>
              <a:gd name="T77" fmla="*/ 69 h 97"/>
              <a:gd name="T78" fmla="*/ 83 w 96"/>
              <a:gd name="T79" fmla="*/ 65 h 97"/>
              <a:gd name="T80" fmla="*/ 86 w 96"/>
              <a:gd name="T81" fmla="*/ 55 h 97"/>
              <a:gd name="T82" fmla="*/ 92 w 96"/>
              <a:gd name="T83" fmla="*/ 54 h 97"/>
              <a:gd name="T84" fmla="*/ 96 w 96"/>
              <a:gd name="T85" fmla="*/ 49 h 97"/>
              <a:gd name="T86" fmla="*/ 95 w 96"/>
              <a:gd name="T87" fmla="*/ 40 h 97"/>
              <a:gd name="T88" fmla="*/ 90 w 96"/>
              <a:gd name="T89" fmla="*/ 35 h 97"/>
              <a:gd name="T90" fmla="*/ 85 w 96"/>
              <a:gd name="T91" fmla="*/ 35 h 97"/>
              <a:gd name="T92" fmla="*/ 80 w 96"/>
              <a:gd name="T93" fmla="*/ 26 h 97"/>
              <a:gd name="T94" fmla="*/ 83 w 96"/>
              <a:gd name="T95" fmla="*/ 22 h 97"/>
              <a:gd name="T96" fmla="*/ 82 w 96"/>
              <a:gd name="T97" fmla="*/ 15 h 97"/>
              <a:gd name="T98" fmla="*/ 50 w 96"/>
              <a:gd name="T99" fmla="*/ 65 h 97"/>
              <a:gd name="T100" fmla="*/ 31 w 96"/>
              <a:gd name="T101" fmla="*/ 50 h 97"/>
              <a:gd name="T102" fmla="*/ 47 w 96"/>
              <a:gd name="T103" fmla="*/ 31 h 97"/>
              <a:gd name="T104" fmla="*/ 65 w 96"/>
              <a:gd name="T105" fmla="*/ 47 h 97"/>
              <a:gd name="T106" fmla="*/ 50 w 96"/>
              <a:gd name="T107" fmla="*/ 65 h 97"/>
              <a:gd name="T108" fmla="*/ 50 w 96"/>
              <a:gd name="T109" fmla="*/ 65 h 97"/>
              <a:gd name="T110" fmla="*/ 50 w 96"/>
              <a:gd name="T111" fmla="*/ 65 h 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96" h="97">
                <a:moveTo>
                  <a:pt x="82" y="15"/>
                </a:moveTo>
                <a:cubicBezTo>
                  <a:pt x="76" y="9"/>
                  <a:pt x="76" y="9"/>
                  <a:pt x="76" y="9"/>
                </a:cubicBezTo>
                <a:cubicBezTo>
                  <a:pt x="74" y="8"/>
                  <a:pt x="71" y="8"/>
                  <a:pt x="69" y="10"/>
                </a:cubicBezTo>
                <a:cubicBezTo>
                  <a:pt x="65" y="13"/>
                  <a:pt x="65" y="13"/>
                  <a:pt x="65" y="13"/>
                </a:cubicBezTo>
                <a:cubicBezTo>
                  <a:pt x="62" y="12"/>
                  <a:pt x="59" y="10"/>
                  <a:pt x="55" y="10"/>
                </a:cubicBezTo>
                <a:cubicBezTo>
                  <a:pt x="54" y="5"/>
                  <a:pt x="54" y="5"/>
                  <a:pt x="54" y="5"/>
                </a:cubicBezTo>
                <a:cubicBezTo>
                  <a:pt x="54" y="2"/>
                  <a:pt x="51" y="0"/>
                  <a:pt x="48" y="1"/>
                </a:cubicBezTo>
                <a:cubicBezTo>
                  <a:pt x="40" y="1"/>
                  <a:pt x="40" y="1"/>
                  <a:pt x="40" y="1"/>
                </a:cubicBezTo>
                <a:cubicBezTo>
                  <a:pt x="37" y="2"/>
                  <a:pt x="35" y="4"/>
                  <a:pt x="35" y="6"/>
                </a:cubicBezTo>
                <a:cubicBezTo>
                  <a:pt x="35" y="12"/>
                  <a:pt x="35" y="12"/>
                  <a:pt x="35" y="12"/>
                </a:cubicBezTo>
                <a:cubicBezTo>
                  <a:pt x="31" y="13"/>
                  <a:pt x="28" y="14"/>
                  <a:pt x="25" y="16"/>
                </a:cubicBezTo>
                <a:cubicBezTo>
                  <a:pt x="21" y="14"/>
                  <a:pt x="21" y="14"/>
                  <a:pt x="21" y="14"/>
                </a:cubicBezTo>
                <a:cubicBezTo>
                  <a:pt x="19" y="12"/>
                  <a:pt x="16" y="13"/>
                  <a:pt x="14" y="15"/>
                </a:cubicBezTo>
                <a:cubicBezTo>
                  <a:pt x="8" y="21"/>
                  <a:pt x="8" y="21"/>
                  <a:pt x="8" y="21"/>
                </a:cubicBezTo>
                <a:cubicBezTo>
                  <a:pt x="7" y="23"/>
                  <a:pt x="7" y="26"/>
                  <a:pt x="9" y="28"/>
                </a:cubicBezTo>
                <a:cubicBezTo>
                  <a:pt x="12" y="32"/>
                  <a:pt x="12" y="32"/>
                  <a:pt x="12" y="32"/>
                </a:cubicBezTo>
                <a:cubicBezTo>
                  <a:pt x="11" y="35"/>
                  <a:pt x="10" y="39"/>
                  <a:pt x="10" y="42"/>
                </a:cubicBezTo>
                <a:cubicBezTo>
                  <a:pt x="4" y="43"/>
                  <a:pt x="4" y="43"/>
                  <a:pt x="4" y="43"/>
                </a:cubicBezTo>
                <a:cubicBezTo>
                  <a:pt x="1" y="43"/>
                  <a:pt x="0" y="46"/>
                  <a:pt x="0" y="49"/>
                </a:cubicBezTo>
                <a:cubicBezTo>
                  <a:pt x="1" y="57"/>
                  <a:pt x="1" y="57"/>
                  <a:pt x="1" y="57"/>
                </a:cubicBezTo>
                <a:cubicBezTo>
                  <a:pt x="1" y="60"/>
                  <a:pt x="3" y="62"/>
                  <a:pt x="6" y="62"/>
                </a:cubicBezTo>
                <a:cubicBezTo>
                  <a:pt x="12" y="62"/>
                  <a:pt x="12" y="62"/>
                  <a:pt x="12" y="62"/>
                </a:cubicBezTo>
                <a:cubicBezTo>
                  <a:pt x="13" y="65"/>
                  <a:pt x="14" y="68"/>
                  <a:pt x="16" y="70"/>
                </a:cubicBezTo>
                <a:cubicBezTo>
                  <a:pt x="13" y="75"/>
                  <a:pt x="13" y="75"/>
                  <a:pt x="13" y="75"/>
                </a:cubicBezTo>
                <a:cubicBezTo>
                  <a:pt x="11" y="78"/>
                  <a:pt x="11" y="81"/>
                  <a:pt x="14" y="82"/>
                </a:cubicBezTo>
                <a:cubicBezTo>
                  <a:pt x="20" y="88"/>
                  <a:pt x="20" y="88"/>
                  <a:pt x="20" y="88"/>
                </a:cubicBezTo>
                <a:cubicBezTo>
                  <a:pt x="22" y="90"/>
                  <a:pt x="25" y="90"/>
                  <a:pt x="27" y="88"/>
                </a:cubicBezTo>
                <a:cubicBezTo>
                  <a:pt x="32" y="84"/>
                  <a:pt x="32" y="84"/>
                  <a:pt x="32" y="84"/>
                </a:cubicBezTo>
                <a:cubicBezTo>
                  <a:pt x="34" y="85"/>
                  <a:pt x="37" y="86"/>
                  <a:pt x="41" y="87"/>
                </a:cubicBezTo>
                <a:cubicBezTo>
                  <a:pt x="42" y="93"/>
                  <a:pt x="42" y="93"/>
                  <a:pt x="42" y="93"/>
                </a:cubicBezTo>
                <a:cubicBezTo>
                  <a:pt x="42" y="95"/>
                  <a:pt x="45" y="97"/>
                  <a:pt x="47" y="97"/>
                </a:cubicBezTo>
                <a:cubicBezTo>
                  <a:pt x="56" y="96"/>
                  <a:pt x="56" y="96"/>
                  <a:pt x="56" y="96"/>
                </a:cubicBezTo>
                <a:cubicBezTo>
                  <a:pt x="59" y="96"/>
                  <a:pt x="61" y="94"/>
                  <a:pt x="61" y="91"/>
                </a:cubicBezTo>
                <a:cubicBezTo>
                  <a:pt x="61" y="85"/>
                  <a:pt x="61" y="85"/>
                  <a:pt x="61" y="85"/>
                </a:cubicBezTo>
                <a:cubicBezTo>
                  <a:pt x="64" y="84"/>
                  <a:pt x="67" y="82"/>
                  <a:pt x="70" y="81"/>
                </a:cubicBezTo>
                <a:cubicBezTo>
                  <a:pt x="75" y="84"/>
                  <a:pt x="75" y="84"/>
                  <a:pt x="75" y="84"/>
                </a:cubicBezTo>
                <a:cubicBezTo>
                  <a:pt x="77" y="85"/>
                  <a:pt x="80" y="85"/>
                  <a:pt x="82" y="83"/>
                </a:cubicBezTo>
                <a:cubicBezTo>
                  <a:pt x="87" y="76"/>
                  <a:pt x="87" y="76"/>
                  <a:pt x="87" y="76"/>
                </a:cubicBezTo>
                <a:cubicBezTo>
                  <a:pt x="89" y="74"/>
                  <a:pt x="89" y="71"/>
                  <a:pt x="87" y="69"/>
                </a:cubicBezTo>
                <a:cubicBezTo>
                  <a:pt x="83" y="65"/>
                  <a:pt x="83" y="65"/>
                  <a:pt x="83" y="65"/>
                </a:cubicBezTo>
                <a:cubicBezTo>
                  <a:pt x="85" y="62"/>
                  <a:pt x="86" y="59"/>
                  <a:pt x="86" y="55"/>
                </a:cubicBezTo>
                <a:cubicBezTo>
                  <a:pt x="92" y="54"/>
                  <a:pt x="92" y="54"/>
                  <a:pt x="92" y="54"/>
                </a:cubicBezTo>
                <a:cubicBezTo>
                  <a:pt x="94" y="54"/>
                  <a:pt x="96" y="51"/>
                  <a:pt x="96" y="49"/>
                </a:cubicBezTo>
                <a:cubicBezTo>
                  <a:pt x="95" y="40"/>
                  <a:pt x="95" y="40"/>
                  <a:pt x="95" y="40"/>
                </a:cubicBezTo>
                <a:cubicBezTo>
                  <a:pt x="95" y="37"/>
                  <a:pt x="93" y="35"/>
                  <a:pt x="90" y="35"/>
                </a:cubicBezTo>
                <a:cubicBezTo>
                  <a:pt x="85" y="35"/>
                  <a:pt x="85" y="35"/>
                  <a:pt x="85" y="35"/>
                </a:cubicBezTo>
                <a:cubicBezTo>
                  <a:pt x="84" y="32"/>
                  <a:pt x="82" y="29"/>
                  <a:pt x="80" y="26"/>
                </a:cubicBezTo>
                <a:cubicBezTo>
                  <a:pt x="83" y="22"/>
                  <a:pt x="83" y="22"/>
                  <a:pt x="83" y="22"/>
                </a:cubicBezTo>
                <a:cubicBezTo>
                  <a:pt x="85" y="20"/>
                  <a:pt x="84" y="17"/>
                  <a:pt x="82" y="15"/>
                </a:cubicBezTo>
                <a:close/>
                <a:moveTo>
                  <a:pt x="50" y="65"/>
                </a:moveTo>
                <a:cubicBezTo>
                  <a:pt x="40" y="66"/>
                  <a:pt x="32" y="59"/>
                  <a:pt x="31" y="50"/>
                </a:cubicBezTo>
                <a:cubicBezTo>
                  <a:pt x="30" y="40"/>
                  <a:pt x="37" y="32"/>
                  <a:pt x="47" y="31"/>
                </a:cubicBezTo>
                <a:cubicBezTo>
                  <a:pt x="56" y="30"/>
                  <a:pt x="64" y="37"/>
                  <a:pt x="65" y="47"/>
                </a:cubicBezTo>
                <a:cubicBezTo>
                  <a:pt x="66" y="56"/>
                  <a:pt x="59" y="64"/>
                  <a:pt x="50" y="65"/>
                </a:cubicBezTo>
                <a:close/>
                <a:moveTo>
                  <a:pt x="50" y="65"/>
                </a:moveTo>
                <a:cubicBezTo>
                  <a:pt x="50" y="65"/>
                  <a:pt x="50" y="65"/>
                  <a:pt x="50" y="65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158" name="iṩlîḑé">
            <a:extLst>
              <a:ext uri="{FF2B5EF4-FFF2-40B4-BE49-F238E27FC236}">
                <a16:creationId xmlns:a16="http://schemas.microsoft.com/office/drawing/2014/main" id="{C70AC592-3934-4A69-868F-E4E196223F29}"/>
              </a:ext>
            </a:extLst>
          </p:cNvPr>
          <p:cNvSpPr>
            <a:spLocks/>
          </p:cNvSpPr>
          <p:nvPr/>
        </p:nvSpPr>
        <p:spPr bwMode="auto">
          <a:xfrm>
            <a:off x="9964044" y="3127509"/>
            <a:ext cx="108037" cy="108623"/>
          </a:xfrm>
          <a:custGeom>
            <a:avLst/>
            <a:gdLst>
              <a:gd name="T0" fmla="*/ 5 w 78"/>
              <a:gd name="T1" fmla="*/ 31 h 78"/>
              <a:gd name="T2" fmla="*/ 0 w 78"/>
              <a:gd name="T3" fmla="*/ 36 h 78"/>
              <a:gd name="T4" fmla="*/ 0 w 78"/>
              <a:gd name="T5" fmla="*/ 41 h 78"/>
              <a:gd name="T6" fmla="*/ 5 w 78"/>
              <a:gd name="T7" fmla="*/ 47 h 78"/>
              <a:gd name="T8" fmla="*/ 9 w 78"/>
              <a:gd name="T9" fmla="*/ 47 h 78"/>
              <a:gd name="T10" fmla="*/ 12 w 78"/>
              <a:gd name="T11" fmla="*/ 54 h 78"/>
              <a:gd name="T12" fmla="*/ 9 w 78"/>
              <a:gd name="T13" fmla="*/ 57 h 78"/>
              <a:gd name="T14" fmla="*/ 9 w 78"/>
              <a:gd name="T15" fmla="*/ 64 h 78"/>
              <a:gd name="T16" fmla="*/ 13 w 78"/>
              <a:gd name="T17" fmla="*/ 68 h 78"/>
              <a:gd name="T18" fmla="*/ 20 w 78"/>
              <a:gd name="T19" fmla="*/ 68 h 78"/>
              <a:gd name="T20" fmla="*/ 23 w 78"/>
              <a:gd name="T21" fmla="*/ 66 h 78"/>
              <a:gd name="T22" fmla="*/ 30 w 78"/>
              <a:gd name="T23" fmla="*/ 69 h 78"/>
              <a:gd name="T24" fmla="*/ 31 w 78"/>
              <a:gd name="T25" fmla="*/ 73 h 78"/>
              <a:gd name="T26" fmla="*/ 36 w 78"/>
              <a:gd name="T27" fmla="*/ 78 h 78"/>
              <a:gd name="T28" fmla="*/ 41 w 78"/>
              <a:gd name="T29" fmla="*/ 78 h 78"/>
              <a:gd name="T30" fmla="*/ 47 w 78"/>
              <a:gd name="T31" fmla="*/ 73 h 78"/>
              <a:gd name="T32" fmla="*/ 47 w 78"/>
              <a:gd name="T33" fmla="*/ 69 h 78"/>
              <a:gd name="T34" fmla="*/ 55 w 78"/>
              <a:gd name="T35" fmla="*/ 66 h 78"/>
              <a:gd name="T36" fmla="*/ 58 w 78"/>
              <a:gd name="T37" fmla="*/ 69 h 78"/>
              <a:gd name="T38" fmla="*/ 65 w 78"/>
              <a:gd name="T39" fmla="*/ 68 h 78"/>
              <a:gd name="T40" fmla="*/ 69 w 78"/>
              <a:gd name="T41" fmla="*/ 65 h 78"/>
              <a:gd name="T42" fmla="*/ 69 w 78"/>
              <a:gd name="T43" fmla="*/ 58 h 78"/>
              <a:gd name="T44" fmla="*/ 67 w 78"/>
              <a:gd name="T45" fmla="*/ 55 h 78"/>
              <a:gd name="T46" fmla="*/ 70 w 78"/>
              <a:gd name="T47" fmla="*/ 47 h 78"/>
              <a:gd name="T48" fmla="*/ 74 w 78"/>
              <a:gd name="T49" fmla="*/ 47 h 78"/>
              <a:gd name="T50" fmla="*/ 78 w 78"/>
              <a:gd name="T51" fmla="*/ 42 h 78"/>
              <a:gd name="T52" fmla="*/ 78 w 78"/>
              <a:gd name="T53" fmla="*/ 36 h 78"/>
              <a:gd name="T54" fmla="*/ 74 w 78"/>
              <a:gd name="T55" fmla="*/ 31 h 78"/>
              <a:gd name="T56" fmla="*/ 70 w 78"/>
              <a:gd name="T57" fmla="*/ 31 h 78"/>
              <a:gd name="T58" fmla="*/ 67 w 78"/>
              <a:gd name="T59" fmla="*/ 23 h 78"/>
              <a:gd name="T60" fmla="*/ 70 w 78"/>
              <a:gd name="T61" fmla="*/ 21 h 78"/>
              <a:gd name="T62" fmla="*/ 69 w 78"/>
              <a:gd name="T63" fmla="*/ 14 h 78"/>
              <a:gd name="T64" fmla="*/ 65 w 78"/>
              <a:gd name="T65" fmla="*/ 10 h 78"/>
              <a:gd name="T66" fmla="*/ 58 w 78"/>
              <a:gd name="T67" fmla="*/ 9 h 78"/>
              <a:gd name="T68" fmla="*/ 56 w 78"/>
              <a:gd name="T69" fmla="*/ 11 h 78"/>
              <a:gd name="T70" fmla="*/ 48 w 78"/>
              <a:gd name="T71" fmla="*/ 8 h 78"/>
              <a:gd name="T72" fmla="*/ 48 w 78"/>
              <a:gd name="T73" fmla="*/ 5 h 78"/>
              <a:gd name="T74" fmla="*/ 43 w 78"/>
              <a:gd name="T75" fmla="*/ 0 h 78"/>
              <a:gd name="T76" fmla="*/ 37 w 78"/>
              <a:gd name="T77" fmla="*/ 0 h 78"/>
              <a:gd name="T78" fmla="*/ 32 w 78"/>
              <a:gd name="T79" fmla="*/ 4 h 78"/>
              <a:gd name="T80" fmla="*/ 32 w 78"/>
              <a:gd name="T81" fmla="*/ 8 h 78"/>
              <a:gd name="T82" fmla="*/ 24 w 78"/>
              <a:gd name="T83" fmla="*/ 11 h 78"/>
              <a:gd name="T84" fmla="*/ 21 w 78"/>
              <a:gd name="T85" fmla="*/ 9 h 78"/>
              <a:gd name="T86" fmla="*/ 14 w 78"/>
              <a:gd name="T87" fmla="*/ 9 h 78"/>
              <a:gd name="T88" fmla="*/ 10 w 78"/>
              <a:gd name="T89" fmla="*/ 13 h 78"/>
              <a:gd name="T90" fmla="*/ 10 w 78"/>
              <a:gd name="T91" fmla="*/ 20 h 78"/>
              <a:gd name="T92" fmla="*/ 12 w 78"/>
              <a:gd name="T93" fmla="*/ 23 h 78"/>
              <a:gd name="T94" fmla="*/ 9 w 78"/>
              <a:gd name="T95" fmla="*/ 30 h 78"/>
              <a:gd name="T96" fmla="*/ 5 w 78"/>
              <a:gd name="T97" fmla="*/ 31 h 78"/>
              <a:gd name="T98" fmla="*/ 40 w 78"/>
              <a:gd name="T99" fmla="*/ 25 h 78"/>
              <a:gd name="T100" fmla="*/ 53 w 78"/>
              <a:gd name="T101" fmla="*/ 39 h 78"/>
              <a:gd name="T102" fmla="*/ 39 w 78"/>
              <a:gd name="T103" fmla="*/ 52 h 78"/>
              <a:gd name="T104" fmla="*/ 26 w 78"/>
              <a:gd name="T105" fmla="*/ 38 h 78"/>
              <a:gd name="T106" fmla="*/ 40 w 78"/>
              <a:gd name="T107" fmla="*/ 25 h 78"/>
              <a:gd name="T108" fmla="*/ 40 w 78"/>
              <a:gd name="T109" fmla="*/ 25 h 78"/>
              <a:gd name="T110" fmla="*/ 40 w 78"/>
              <a:gd name="T111" fmla="*/ 25 h 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78" h="78">
                <a:moveTo>
                  <a:pt x="5" y="31"/>
                </a:moveTo>
                <a:cubicBezTo>
                  <a:pt x="2" y="31"/>
                  <a:pt x="0" y="33"/>
                  <a:pt x="0" y="36"/>
                </a:cubicBezTo>
                <a:cubicBezTo>
                  <a:pt x="0" y="41"/>
                  <a:pt x="0" y="41"/>
                  <a:pt x="0" y="41"/>
                </a:cubicBezTo>
                <a:cubicBezTo>
                  <a:pt x="0" y="44"/>
                  <a:pt x="2" y="46"/>
                  <a:pt x="5" y="47"/>
                </a:cubicBezTo>
                <a:cubicBezTo>
                  <a:pt x="9" y="47"/>
                  <a:pt x="9" y="47"/>
                  <a:pt x="9" y="47"/>
                </a:cubicBezTo>
                <a:cubicBezTo>
                  <a:pt x="10" y="49"/>
                  <a:pt x="10" y="52"/>
                  <a:pt x="12" y="54"/>
                </a:cubicBezTo>
                <a:cubicBezTo>
                  <a:pt x="9" y="57"/>
                  <a:pt x="9" y="57"/>
                  <a:pt x="9" y="57"/>
                </a:cubicBezTo>
                <a:cubicBezTo>
                  <a:pt x="7" y="59"/>
                  <a:pt x="8" y="62"/>
                  <a:pt x="9" y="64"/>
                </a:cubicBezTo>
                <a:cubicBezTo>
                  <a:pt x="13" y="68"/>
                  <a:pt x="13" y="68"/>
                  <a:pt x="13" y="68"/>
                </a:cubicBezTo>
                <a:cubicBezTo>
                  <a:pt x="15" y="70"/>
                  <a:pt x="18" y="70"/>
                  <a:pt x="20" y="68"/>
                </a:cubicBezTo>
                <a:cubicBezTo>
                  <a:pt x="23" y="66"/>
                  <a:pt x="23" y="66"/>
                  <a:pt x="23" y="66"/>
                </a:cubicBezTo>
                <a:cubicBezTo>
                  <a:pt x="26" y="67"/>
                  <a:pt x="28" y="68"/>
                  <a:pt x="30" y="69"/>
                </a:cubicBezTo>
                <a:cubicBezTo>
                  <a:pt x="31" y="73"/>
                  <a:pt x="31" y="73"/>
                  <a:pt x="31" y="73"/>
                </a:cubicBezTo>
                <a:cubicBezTo>
                  <a:pt x="31" y="76"/>
                  <a:pt x="33" y="78"/>
                  <a:pt x="36" y="78"/>
                </a:cubicBezTo>
                <a:cubicBezTo>
                  <a:pt x="41" y="78"/>
                  <a:pt x="41" y="78"/>
                  <a:pt x="41" y="78"/>
                </a:cubicBezTo>
                <a:cubicBezTo>
                  <a:pt x="44" y="78"/>
                  <a:pt x="46" y="76"/>
                  <a:pt x="47" y="73"/>
                </a:cubicBezTo>
                <a:cubicBezTo>
                  <a:pt x="47" y="69"/>
                  <a:pt x="47" y="69"/>
                  <a:pt x="47" y="69"/>
                </a:cubicBezTo>
                <a:cubicBezTo>
                  <a:pt x="50" y="69"/>
                  <a:pt x="52" y="68"/>
                  <a:pt x="55" y="66"/>
                </a:cubicBezTo>
                <a:cubicBezTo>
                  <a:pt x="58" y="69"/>
                  <a:pt x="58" y="69"/>
                  <a:pt x="58" y="69"/>
                </a:cubicBezTo>
                <a:cubicBezTo>
                  <a:pt x="60" y="70"/>
                  <a:pt x="63" y="70"/>
                  <a:pt x="65" y="68"/>
                </a:cubicBezTo>
                <a:cubicBezTo>
                  <a:pt x="69" y="65"/>
                  <a:pt x="69" y="65"/>
                  <a:pt x="69" y="65"/>
                </a:cubicBezTo>
                <a:cubicBezTo>
                  <a:pt x="71" y="63"/>
                  <a:pt x="71" y="60"/>
                  <a:pt x="69" y="58"/>
                </a:cubicBezTo>
                <a:cubicBezTo>
                  <a:pt x="67" y="55"/>
                  <a:pt x="67" y="55"/>
                  <a:pt x="67" y="55"/>
                </a:cubicBezTo>
                <a:cubicBezTo>
                  <a:pt x="68" y="52"/>
                  <a:pt x="69" y="50"/>
                  <a:pt x="70" y="47"/>
                </a:cubicBezTo>
                <a:cubicBezTo>
                  <a:pt x="74" y="47"/>
                  <a:pt x="74" y="47"/>
                  <a:pt x="74" y="47"/>
                </a:cubicBezTo>
                <a:cubicBezTo>
                  <a:pt x="76" y="47"/>
                  <a:pt x="78" y="45"/>
                  <a:pt x="78" y="42"/>
                </a:cubicBezTo>
                <a:cubicBezTo>
                  <a:pt x="78" y="36"/>
                  <a:pt x="78" y="36"/>
                  <a:pt x="78" y="36"/>
                </a:cubicBezTo>
                <a:cubicBezTo>
                  <a:pt x="78" y="34"/>
                  <a:pt x="76" y="31"/>
                  <a:pt x="74" y="31"/>
                </a:cubicBezTo>
                <a:cubicBezTo>
                  <a:pt x="70" y="31"/>
                  <a:pt x="70" y="31"/>
                  <a:pt x="70" y="31"/>
                </a:cubicBezTo>
                <a:cubicBezTo>
                  <a:pt x="70" y="28"/>
                  <a:pt x="69" y="26"/>
                  <a:pt x="67" y="23"/>
                </a:cubicBezTo>
                <a:cubicBezTo>
                  <a:pt x="70" y="21"/>
                  <a:pt x="70" y="21"/>
                  <a:pt x="70" y="21"/>
                </a:cubicBezTo>
                <a:cubicBezTo>
                  <a:pt x="71" y="19"/>
                  <a:pt x="71" y="16"/>
                  <a:pt x="69" y="14"/>
                </a:cubicBezTo>
                <a:cubicBezTo>
                  <a:pt x="65" y="10"/>
                  <a:pt x="65" y="10"/>
                  <a:pt x="65" y="10"/>
                </a:cubicBezTo>
                <a:cubicBezTo>
                  <a:pt x="64" y="8"/>
                  <a:pt x="61" y="8"/>
                  <a:pt x="58" y="9"/>
                </a:cubicBezTo>
                <a:cubicBezTo>
                  <a:pt x="56" y="11"/>
                  <a:pt x="56" y="11"/>
                  <a:pt x="56" y="11"/>
                </a:cubicBezTo>
                <a:cubicBezTo>
                  <a:pt x="53" y="10"/>
                  <a:pt x="51" y="9"/>
                  <a:pt x="48" y="8"/>
                </a:cubicBezTo>
                <a:cubicBezTo>
                  <a:pt x="48" y="5"/>
                  <a:pt x="48" y="5"/>
                  <a:pt x="48" y="5"/>
                </a:cubicBezTo>
                <a:cubicBezTo>
                  <a:pt x="48" y="2"/>
                  <a:pt x="45" y="0"/>
                  <a:pt x="43" y="0"/>
                </a:cubicBezTo>
                <a:cubicBezTo>
                  <a:pt x="37" y="0"/>
                  <a:pt x="37" y="0"/>
                  <a:pt x="37" y="0"/>
                </a:cubicBezTo>
                <a:cubicBezTo>
                  <a:pt x="35" y="0"/>
                  <a:pt x="32" y="2"/>
                  <a:pt x="32" y="4"/>
                </a:cubicBezTo>
                <a:cubicBezTo>
                  <a:pt x="32" y="8"/>
                  <a:pt x="32" y="8"/>
                  <a:pt x="32" y="8"/>
                </a:cubicBezTo>
                <a:cubicBezTo>
                  <a:pt x="29" y="8"/>
                  <a:pt x="26" y="10"/>
                  <a:pt x="24" y="11"/>
                </a:cubicBezTo>
                <a:cubicBezTo>
                  <a:pt x="21" y="9"/>
                  <a:pt x="21" y="9"/>
                  <a:pt x="21" y="9"/>
                </a:cubicBezTo>
                <a:cubicBezTo>
                  <a:pt x="19" y="7"/>
                  <a:pt x="16" y="7"/>
                  <a:pt x="14" y="9"/>
                </a:cubicBezTo>
                <a:cubicBezTo>
                  <a:pt x="10" y="13"/>
                  <a:pt x="10" y="13"/>
                  <a:pt x="10" y="13"/>
                </a:cubicBezTo>
                <a:cubicBezTo>
                  <a:pt x="8" y="15"/>
                  <a:pt x="8" y="18"/>
                  <a:pt x="10" y="20"/>
                </a:cubicBezTo>
                <a:cubicBezTo>
                  <a:pt x="12" y="23"/>
                  <a:pt x="12" y="23"/>
                  <a:pt x="12" y="23"/>
                </a:cubicBezTo>
                <a:cubicBezTo>
                  <a:pt x="11" y="25"/>
                  <a:pt x="10" y="28"/>
                  <a:pt x="9" y="30"/>
                </a:cubicBezTo>
                <a:lnTo>
                  <a:pt x="5" y="31"/>
                </a:lnTo>
                <a:close/>
                <a:moveTo>
                  <a:pt x="40" y="25"/>
                </a:moveTo>
                <a:cubicBezTo>
                  <a:pt x="47" y="25"/>
                  <a:pt x="54" y="31"/>
                  <a:pt x="53" y="39"/>
                </a:cubicBezTo>
                <a:cubicBezTo>
                  <a:pt x="53" y="46"/>
                  <a:pt x="47" y="53"/>
                  <a:pt x="39" y="52"/>
                </a:cubicBezTo>
                <a:cubicBezTo>
                  <a:pt x="32" y="52"/>
                  <a:pt x="26" y="46"/>
                  <a:pt x="26" y="38"/>
                </a:cubicBezTo>
                <a:cubicBezTo>
                  <a:pt x="26" y="31"/>
                  <a:pt x="32" y="25"/>
                  <a:pt x="40" y="25"/>
                </a:cubicBezTo>
                <a:close/>
                <a:moveTo>
                  <a:pt x="40" y="25"/>
                </a:moveTo>
                <a:cubicBezTo>
                  <a:pt x="40" y="25"/>
                  <a:pt x="40" y="25"/>
                  <a:pt x="40" y="25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159" name="îSlíḓé">
            <a:extLst>
              <a:ext uri="{FF2B5EF4-FFF2-40B4-BE49-F238E27FC236}">
                <a16:creationId xmlns:a16="http://schemas.microsoft.com/office/drawing/2014/main" id="{25525D23-21F2-4892-B114-91A520E561F6}"/>
              </a:ext>
            </a:extLst>
          </p:cNvPr>
          <p:cNvSpPr>
            <a:spLocks/>
          </p:cNvSpPr>
          <p:nvPr/>
        </p:nvSpPr>
        <p:spPr bwMode="auto">
          <a:xfrm>
            <a:off x="10554134" y="3158041"/>
            <a:ext cx="195522" cy="167926"/>
          </a:xfrm>
          <a:custGeom>
            <a:avLst/>
            <a:gdLst>
              <a:gd name="T0" fmla="*/ 71 w 141"/>
              <a:gd name="T1" fmla="*/ 0 h 121"/>
              <a:gd name="T2" fmla="*/ 0 w 141"/>
              <a:gd name="T3" fmla="*/ 55 h 121"/>
              <a:gd name="T4" fmla="*/ 19 w 141"/>
              <a:gd name="T5" fmla="*/ 92 h 121"/>
              <a:gd name="T6" fmla="*/ 10 w 141"/>
              <a:gd name="T7" fmla="*/ 121 h 121"/>
              <a:gd name="T8" fmla="*/ 45 w 141"/>
              <a:gd name="T9" fmla="*/ 106 h 121"/>
              <a:gd name="T10" fmla="*/ 71 w 141"/>
              <a:gd name="T11" fmla="*/ 110 h 121"/>
              <a:gd name="T12" fmla="*/ 141 w 141"/>
              <a:gd name="T13" fmla="*/ 55 h 121"/>
              <a:gd name="T14" fmla="*/ 71 w 141"/>
              <a:gd name="T15" fmla="*/ 0 h 121"/>
              <a:gd name="T16" fmla="*/ 71 w 141"/>
              <a:gd name="T17" fmla="*/ 0 h 121"/>
              <a:gd name="T18" fmla="*/ 71 w 141"/>
              <a:gd name="T19" fmla="*/ 0 h 1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41" h="121">
                <a:moveTo>
                  <a:pt x="71" y="0"/>
                </a:moveTo>
                <a:cubicBezTo>
                  <a:pt x="32" y="0"/>
                  <a:pt x="0" y="25"/>
                  <a:pt x="0" y="55"/>
                </a:cubicBezTo>
                <a:cubicBezTo>
                  <a:pt x="0" y="70"/>
                  <a:pt x="7" y="83"/>
                  <a:pt x="19" y="92"/>
                </a:cubicBezTo>
                <a:cubicBezTo>
                  <a:pt x="19" y="102"/>
                  <a:pt x="17" y="115"/>
                  <a:pt x="10" y="121"/>
                </a:cubicBezTo>
                <a:cubicBezTo>
                  <a:pt x="23" y="121"/>
                  <a:pt x="37" y="113"/>
                  <a:pt x="45" y="106"/>
                </a:cubicBezTo>
                <a:cubicBezTo>
                  <a:pt x="53" y="109"/>
                  <a:pt x="61" y="110"/>
                  <a:pt x="71" y="110"/>
                </a:cubicBezTo>
                <a:cubicBezTo>
                  <a:pt x="109" y="110"/>
                  <a:pt x="141" y="85"/>
                  <a:pt x="141" y="55"/>
                </a:cubicBezTo>
                <a:cubicBezTo>
                  <a:pt x="141" y="25"/>
                  <a:pt x="109" y="0"/>
                  <a:pt x="71" y="0"/>
                </a:cubicBezTo>
                <a:close/>
                <a:moveTo>
                  <a:pt x="71" y="0"/>
                </a:moveTo>
                <a:cubicBezTo>
                  <a:pt x="71" y="0"/>
                  <a:pt x="71" y="0"/>
                  <a:pt x="71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160" name="íṥḻîḓe">
            <a:extLst>
              <a:ext uri="{FF2B5EF4-FFF2-40B4-BE49-F238E27FC236}">
                <a16:creationId xmlns:a16="http://schemas.microsoft.com/office/drawing/2014/main" id="{200CA478-B3CC-4DFB-9296-C9EEEB3C0E2D}"/>
              </a:ext>
            </a:extLst>
          </p:cNvPr>
          <p:cNvSpPr>
            <a:spLocks/>
          </p:cNvSpPr>
          <p:nvPr/>
        </p:nvSpPr>
        <p:spPr bwMode="auto">
          <a:xfrm>
            <a:off x="9533660" y="2653088"/>
            <a:ext cx="194348" cy="169100"/>
          </a:xfrm>
          <a:custGeom>
            <a:avLst/>
            <a:gdLst>
              <a:gd name="T0" fmla="*/ 70 w 140"/>
              <a:gd name="T1" fmla="*/ 0 h 122"/>
              <a:gd name="T2" fmla="*/ 0 w 140"/>
              <a:gd name="T3" fmla="*/ 55 h 122"/>
              <a:gd name="T4" fmla="*/ 19 w 140"/>
              <a:gd name="T5" fmla="*/ 93 h 122"/>
              <a:gd name="T6" fmla="*/ 9 w 140"/>
              <a:gd name="T7" fmla="*/ 122 h 122"/>
              <a:gd name="T8" fmla="*/ 44 w 140"/>
              <a:gd name="T9" fmla="*/ 106 h 122"/>
              <a:gd name="T10" fmla="*/ 70 w 140"/>
              <a:gd name="T11" fmla="*/ 110 h 122"/>
              <a:gd name="T12" fmla="*/ 140 w 140"/>
              <a:gd name="T13" fmla="*/ 55 h 122"/>
              <a:gd name="T14" fmla="*/ 70 w 140"/>
              <a:gd name="T15" fmla="*/ 0 h 122"/>
              <a:gd name="T16" fmla="*/ 70 w 140"/>
              <a:gd name="T17" fmla="*/ 0 h 122"/>
              <a:gd name="T18" fmla="*/ 70 w 140"/>
              <a:gd name="T19" fmla="*/ 0 h 1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40" h="122">
                <a:moveTo>
                  <a:pt x="70" y="0"/>
                </a:moveTo>
                <a:cubicBezTo>
                  <a:pt x="31" y="0"/>
                  <a:pt x="0" y="25"/>
                  <a:pt x="0" y="55"/>
                </a:cubicBezTo>
                <a:cubicBezTo>
                  <a:pt x="0" y="70"/>
                  <a:pt x="7" y="83"/>
                  <a:pt x="19" y="93"/>
                </a:cubicBezTo>
                <a:cubicBezTo>
                  <a:pt x="18" y="102"/>
                  <a:pt x="16" y="115"/>
                  <a:pt x="9" y="122"/>
                </a:cubicBezTo>
                <a:cubicBezTo>
                  <a:pt x="23" y="122"/>
                  <a:pt x="36" y="113"/>
                  <a:pt x="44" y="106"/>
                </a:cubicBezTo>
                <a:cubicBezTo>
                  <a:pt x="52" y="109"/>
                  <a:pt x="61" y="110"/>
                  <a:pt x="70" y="110"/>
                </a:cubicBezTo>
                <a:cubicBezTo>
                  <a:pt x="109" y="110"/>
                  <a:pt x="140" y="86"/>
                  <a:pt x="140" y="55"/>
                </a:cubicBezTo>
                <a:cubicBezTo>
                  <a:pt x="140" y="25"/>
                  <a:pt x="109" y="0"/>
                  <a:pt x="70" y="0"/>
                </a:cubicBezTo>
                <a:close/>
                <a:moveTo>
                  <a:pt x="70" y="0"/>
                </a:moveTo>
                <a:cubicBezTo>
                  <a:pt x="70" y="0"/>
                  <a:pt x="70" y="0"/>
                  <a:pt x="70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161" name="ïsḷíḓé">
            <a:extLst>
              <a:ext uri="{FF2B5EF4-FFF2-40B4-BE49-F238E27FC236}">
                <a16:creationId xmlns:a16="http://schemas.microsoft.com/office/drawing/2014/main" id="{0E8E4BFD-A1AA-407B-BE9C-B828694A5F42}"/>
              </a:ext>
            </a:extLst>
          </p:cNvPr>
          <p:cNvSpPr>
            <a:spLocks/>
          </p:cNvSpPr>
          <p:nvPr/>
        </p:nvSpPr>
        <p:spPr bwMode="auto">
          <a:xfrm>
            <a:off x="7999426" y="3026518"/>
            <a:ext cx="194348" cy="167926"/>
          </a:xfrm>
          <a:custGeom>
            <a:avLst/>
            <a:gdLst>
              <a:gd name="T0" fmla="*/ 70 w 140"/>
              <a:gd name="T1" fmla="*/ 0 h 121"/>
              <a:gd name="T2" fmla="*/ 0 w 140"/>
              <a:gd name="T3" fmla="*/ 55 h 121"/>
              <a:gd name="T4" fmla="*/ 18 w 140"/>
              <a:gd name="T5" fmla="*/ 92 h 121"/>
              <a:gd name="T6" fmla="*/ 9 w 140"/>
              <a:gd name="T7" fmla="*/ 121 h 121"/>
              <a:gd name="T8" fmla="*/ 44 w 140"/>
              <a:gd name="T9" fmla="*/ 106 h 121"/>
              <a:gd name="T10" fmla="*/ 70 w 140"/>
              <a:gd name="T11" fmla="*/ 110 h 121"/>
              <a:gd name="T12" fmla="*/ 140 w 140"/>
              <a:gd name="T13" fmla="*/ 55 h 121"/>
              <a:gd name="T14" fmla="*/ 70 w 140"/>
              <a:gd name="T15" fmla="*/ 0 h 121"/>
              <a:gd name="T16" fmla="*/ 70 w 140"/>
              <a:gd name="T17" fmla="*/ 0 h 121"/>
              <a:gd name="T18" fmla="*/ 70 w 140"/>
              <a:gd name="T19" fmla="*/ 0 h 1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40" h="121">
                <a:moveTo>
                  <a:pt x="70" y="0"/>
                </a:moveTo>
                <a:cubicBezTo>
                  <a:pt x="31" y="0"/>
                  <a:pt x="0" y="25"/>
                  <a:pt x="0" y="55"/>
                </a:cubicBezTo>
                <a:cubicBezTo>
                  <a:pt x="0" y="69"/>
                  <a:pt x="7" y="83"/>
                  <a:pt x="18" y="92"/>
                </a:cubicBezTo>
                <a:cubicBezTo>
                  <a:pt x="18" y="102"/>
                  <a:pt x="16" y="115"/>
                  <a:pt x="9" y="121"/>
                </a:cubicBezTo>
                <a:cubicBezTo>
                  <a:pt x="22" y="121"/>
                  <a:pt x="36" y="113"/>
                  <a:pt x="44" y="106"/>
                </a:cubicBezTo>
                <a:cubicBezTo>
                  <a:pt x="52" y="109"/>
                  <a:pt x="61" y="110"/>
                  <a:pt x="70" y="110"/>
                </a:cubicBezTo>
                <a:cubicBezTo>
                  <a:pt x="108" y="110"/>
                  <a:pt x="140" y="85"/>
                  <a:pt x="140" y="55"/>
                </a:cubicBezTo>
                <a:cubicBezTo>
                  <a:pt x="140" y="25"/>
                  <a:pt x="108" y="0"/>
                  <a:pt x="70" y="0"/>
                </a:cubicBezTo>
                <a:close/>
                <a:moveTo>
                  <a:pt x="70" y="0"/>
                </a:moveTo>
                <a:cubicBezTo>
                  <a:pt x="70" y="0"/>
                  <a:pt x="70" y="0"/>
                  <a:pt x="70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162" name="ïšľíḋe">
            <a:extLst>
              <a:ext uri="{FF2B5EF4-FFF2-40B4-BE49-F238E27FC236}">
                <a16:creationId xmlns:a16="http://schemas.microsoft.com/office/drawing/2014/main" id="{32BF0E09-A92C-4E3D-8F70-A8FAD47A5626}"/>
              </a:ext>
            </a:extLst>
          </p:cNvPr>
          <p:cNvSpPr>
            <a:spLocks/>
          </p:cNvSpPr>
          <p:nvPr/>
        </p:nvSpPr>
        <p:spPr bwMode="auto">
          <a:xfrm>
            <a:off x="8837882" y="2172209"/>
            <a:ext cx="194348" cy="169688"/>
          </a:xfrm>
          <a:custGeom>
            <a:avLst/>
            <a:gdLst>
              <a:gd name="T0" fmla="*/ 70 w 140"/>
              <a:gd name="T1" fmla="*/ 0 h 122"/>
              <a:gd name="T2" fmla="*/ 0 w 140"/>
              <a:gd name="T3" fmla="*/ 55 h 122"/>
              <a:gd name="T4" fmla="*/ 18 w 140"/>
              <a:gd name="T5" fmla="*/ 93 h 122"/>
              <a:gd name="T6" fmla="*/ 9 w 140"/>
              <a:gd name="T7" fmla="*/ 122 h 122"/>
              <a:gd name="T8" fmla="*/ 44 w 140"/>
              <a:gd name="T9" fmla="*/ 107 h 122"/>
              <a:gd name="T10" fmla="*/ 70 w 140"/>
              <a:gd name="T11" fmla="*/ 110 h 122"/>
              <a:gd name="T12" fmla="*/ 140 w 140"/>
              <a:gd name="T13" fmla="*/ 55 h 122"/>
              <a:gd name="T14" fmla="*/ 70 w 140"/>
              <a:gd name="T15" fmla="*/ 0 h 122"/>
              <a:gd name="T16" fmla="*/ 70 w 140"/>
              <a:gd name="T17" fmla="*/ 0 h 122"/>
              <a:gd name="T18" fmla="*/ 70 w 140"/>
              <a:gd name="T19" fmla="*/ 0 h 1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40" h="122">
                <a:moveTo>
                  <a:pt x="70" y="0"/>
                </a:moveTo>
                <a:cubicBezTo>
                  <a:pt x="31" y="0"/>
                  <a:pt x="0" y="25"/>
                  <a:pt x="0" y="55"/>
                </a:cubicBezTo>
                <a:cubicBezTo>
                  <a:pt x="0" y="70"/>
                  <a:pt x="7" y="83"/>
                  <a:pt x="18" y="93"/>
                </a:cubicBezTo>
                <a:cubicBezTo>
                  <a:pt x="18" y="102"/>
                  <a:pt x="16" y="115"/>
                  <a:pt x="9" y="122"/>
                </a:cubicBezTo>
                <a:cubicBezTo>
                  <a:pt x="22" y="122"/>
                  <a:pt x="36" y="113"/>
                  <a:pt x="44" y="107"/>
                </a:cubicBezTo>
                <a:cubicBezTo>
                  <a:pt x="52" y="109"/>
                  <a:pt x="61" y="110"/>
                  <a:pt x="70" y="110"/>
                </a:cubicBezTo>
                <a:cubicBezTo>
                  <a:pt x="108" y="110"/>
                  <a:pt x="140" y="86"/>
                  <a:pt x="140" y="55"/>
                </a:cubicBezTo>
                <a:cubicBezTo>
                  <a:pt x="140" y="25"/>
                  <a:pt x="108" y="0"/>
                  <a:pt x="70" y="0"/>
                </a:cubicBezTo>
                <a:close/>
                <a:moveTo>
                  <a:pt x="70" y="0"/>
                </a:moveTo>
                <a:cubicBezTo>
                  <a:pt x="70" y="0"/>
                  <a:pt x="70" y="0"/>
                  <a:pt x="70" y="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163" name="íṧḷïḑé">
            <a:extLst>
              <a:ext uri="{FF2B5EF4-FFF2-40B4-BE49-F238E27FC236}">
                <a16:creationId xmlns:a16="http://schemas.microsoft.com/office/drawing/2014/main" id="{20AD8653-B626-48AF-A3DB-2971CC831E8A}"/>
              </a:ext>
            </a:extLst>
          </p:cNvPr>
          <p:cNvSpPr>
            <a:spLocks/>
          </p:cNvSpPr>
          <p:nvPr/>
        </p:nvSpPr>
        <p:spPr bwMode="auto">
          <a:xfrm>
            <a:off x="9664008" y="2259695"/>
            <a:ext cx="51670" cy="51670"/>
          </a:xfrm>
          <a:custGeom>
            <a:avLst/>
            <a:gdLst>
              <a:gd name="T0" fmla="*/ 1 w 37"/>
              <a:gd name="T1" fmla="*/ 30 h 37"/>
              <a:gd name="T2" fmla="*/ 7 w 37"/>
              <a:gd name="T3" fmla="*/ 36 h 37"/>
              <a:gd name="T4" fmla="*/ 10 w 37"/>
              <a:gd name="T5" fmla="*/ 36 h 37"/>
              <a:gd name="T6" fmla="*/ 18 w 37"/>
              <a:gd name="T7" fmla="*/ 28 h 37"/>
              <a:gd name="T8" fmla="*/ 27 w 37"/>
              <a:gd name="T9" fmla="*/ 36 h 37"/>
              <a:gd name="T10" fmla="*/ 30 w 37"/>
              <a:gd name="T11" fmla="*/ 36 h 37"/>
              <a:gd name="T12" fmla="*/ 36 w 37"/>
              <a:gd name="T13" fmla="*/ 30 h 37"/>
              <a:gd name="T14" fmla="*/ 36 w 37"/>
              <a:gd name="T15" fmla="*/ 27 h 37"/>
              <a:gd name="T16" fmla="*/ 28 w 37"/>
              <a:gd name="T17" fmla="*/ 19 h 37"/>
              <a:gd name="T18" fmla="*/ 36 w 37"/>
              <a:gd name="T19" fmla="*/ 10 h 37"/>
              <a:gd name="T20" fmla="*/ 36 w 37"/>
              <a:gd name="T21" fmla="*/ 7 h 37"/>
              <a:gd name="T22" fmla="*/ 30 w 37"/>
              <a:gd name="T23" fmla="*/ 1 h 37"/>
              <a:gd name="T24" fmla="*/ 27 w 37"/>
              <a:gd name="T25" fmla="*/ 1 h 37"/>
              <a:gd name="T26" fmla="*/ 18 w 37"/>
              <a:gd name="T27" fmla="*/ 10 h 37"/>
              <a:gd name="T28" fmla="*/ 10 w 37"/>
              <a:gd name="T29" fmla="*/ 1 h 37"/>
              <a:gd name="T30" fmla="*/ 7 w 37"/>
              <a:gd name="T31" fmla="*/ 1 h 37"/>
              <a:gd name="T32" fmla="*/ 1 w 37"/>
              <a:gd name="T33" fmla="*/ 7 h 37"/>
              <a:gd name="T34" fmla="*/ 1 w 37"/>
              <a:gd name="T35" fmla="*/ 10 h 37"/>
              <a:gd name="T36" fmla="*/ 9 w 37"/>
              <a:gd name="T37" fmla="*/ 19 h 37"/>
              <a:gd name="T38" fmla="*/ 1 w 37"/>
              <a:gd name="T39" fmla="*/ 27 h 37"/>
              <a:gd name="T40" fmla="*/ 1 w 37"/>
              <a:gd name="T41" fmla="*/ 30 h 37"/>
              <a:gd name="T42" fmla="*/ 1 w 37"/>
              <a:gd name="T43" fmla="*/ 30 h 37"/>
              <a:gd name="T44" fmla="*/ 1 w 37"/>
              <a:gd name="T45" fmla="*/ 30 h 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37" h="37">
                <a:moveTo>
                  <a:pt x="1" y="30"/>
                </a:moveTo>
                <a:cubicBezTo>
                  <a:pt x="7" y="36"/>
                  <a:pt x="7" y="36"/>
                  <a:pt x="7" y="36"/>
                </a:cubicBezTo>
                <a:cubicBezTo>
                  <a:pt x="8" y="37"/>
                  <a:pt x="9" y="37"/>
                  <a:pt x="10" y="36"/>
                </a:cubicBezTo>
                <a:cubicBezTo>
                  <a:pt x="18" y="28"/>
                  <a:pt x="18" y="28"/>
                  <a:pt x="18" y="28"/>
                </a:cubicBezTo>
                <a:cubicBezTo>
                  <a:pt x="27" y="36"/>
                  <a:pt x="27" y="36"/>
                  <a:pt x="27" y="36"/>
                </a:cubicBezTo>
                <a:cubicBezTo>
                  <a:pt x="28" y="37"/>
                  <a:pt x="29" y="37"/>
                  <a:pt x="30" y="36"/>
                </a:cubicBezTo>
                <a:cubicBezTo>
                  <a:pt x="36" y="30"/>
                  <a:pt x="36" y="30"/>
                  <a:pt x="36" y="30"/>
                </a:cubicBezTo>
                <a:cubicBezTo>
                  <a:pt x="37" y="29"/>
                  <a:pt x="37" y="28"/>
                  <a:pt x="36" y="27"/>
                </a:cubicBezTo>
                <a:cubicBezTo>
                  <a:pt x="28" y="19"/>
                  <a:pt x="28" y="19"/>
                  <a:pt x="28" y="19"/>
                </a:cubicBezTo>
                <a:cubicBezTo>
                  <a:pt x="36" y="10"/>
                  <a:pt x="36" y="10"/>
                  <a:pt x="36" y="10"/>
                </a:cubicBezTo>
                <a:cubicBezTo>
                  <a:pt x="37" y="9"/>
                  <a:pt x="37" y="8"/>
                  <a:pt x="36" y="7"/>
                </a:cubicBezTo>
                <a:cubicBezTo>
                  <a:pt x="30" y="1"/>
                  <a:pt x="30" y="1"/>
                  <a:pt x="30" y="1"/>
                </a:cubicBezTo>
                <a:cubicBezTo>
                  <a:pt x="29" y="0"/>
                  <a:pt x="28" y="0"/>
                  <a:pt x="27" y="1"/>
                </a:cubicBezTo>
                <a:cubicBezTo>
                  <a:pt x="18" y="10"/>
                  <a:pt x="18" y="10"/>
                  <a:pt x="18" y="10"/>
                </a:cubicBezTo>
                <a:cubicBezTo>
                  <a:pt x="10" y="1"/>
                  <a:pt x="10" y="1"/>
                  <a:pt x="10" y="1"/>
                </a:cubicBezTo>
                <a:cubicBezTo>
                  <a:pt x="9" y="0"/>
                  <a:pt x="8" y="0"/>
                  <a:pt x="7" y="1"/>
                </a:cubicBezTo>
                <a:cubicBezTo>
                  <a:pt x="1" y="7"/>
                  <a:pt x="1" y="7"/>
                  <a:pt x="1" y="7"/>
                </a:cubicBezTo>
                <a:cubicBezTo>
                  <a:pt x="0" y="8"/>
                  <a:pt x="0" y="9"/>
                  <a:pt x="1" y="10"/>
                </a:cubicBezTo>
                <a:cubicBezTo>
                  <a:pt x="9" y="19"/>
                  <a:pt x="9" y="19"/>
                  <a:pt x="9" y="19"/>
                </a:cubicBezTo>
                <a:cubicBezTo>
                  <a:pt x="1" y="27"/>
                  <a:pt x="1" y="27"/>
                  <a:pt x="1" y="27"/>
                </a:cubicBezTo>
                <a:cubicBezTo>
                  <a:pt x="0" y="28"/>
                  <a:pt x="0" y="29"/>
                  <a:pt x="1" y="30"/>
                </a:cubicBezTo>
                <a:close/>
                <a:moveTo>
                  <a:pt x="1" y="30"/>
                </a:moveTo>
                <a:cubicBezTo>
                  <a:pt x="1" y="30"/>
                  <a:pt x="1" y="30"/>
                  <a:pt x="1" y="3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164" name="ïṥļiďé">
            <a:extLst>
              <a:ext uri="{FF2B5EF4-FFF2-40B4-BE49-F238E27FC236}">
                <a16:creationId xmlns:a16="http://schemas.microsoft.com/office/drawing/2014/main" id="{401F76E3-24C3-4B1F-8204-21996E189446}"/>
              </a:ext>
            </a:extLst>
          </p:cNvPr>
          <p:cNvSpPr>
            <a:spLocks/>
          </p:cNvSpPr>
          <p:nvPr/>
        </p:nvSpPr>
        <p:spPr bwMode="auto">
          <a:xfrm>
            <a:off x="9772632" y="2331915"/>
            <a:ext cx="51082" cy="51670"/>
          </a:xfrm>
          <a:custGeom>
            <a:avLst/>
            <a:gdLst>
              <a:gd name="T0" fmla="*/ 8 w 37"/>
              <a:gd name="T1" fmla="*/ 1 h 37"/>
              <a:gd name="T2" fmla="*/ 1 w 37"/>
              <a:gd name="T3" fmla="*/ 7 h 37"/>
              <a:gd name="T4" fmla="*/ 1 w 37"/>
              <a:gd name="T5" fmla="*/ 10 h 37"/>
              <a:gd name="T6" fmla="*/ 10 w 37"/>
              <a:gd name="T7" fmla="*/ 18 h 37"/>
              <a:gd name="T8" fmla="*/ 1 w 37"/>
              <a:gd name="T9" fmla="*/ 27 h 37"/>
              <a:gd name="T10" fmla="*/ 1 w 37"/>
              <a:gd name="T11" fmla="*/ 30 h 37"/>
              <a:gd name="T12" fmla="*/ 8 w 37"/>
              <a:gd name="T13" fmla="*/ 36 h 37"/>
              <a:gd name="T14" fmla="*/ 10 w 37"/>
              <a:gd name="T15" fmla="*/ 36 h 37"/>
              <a:gd name="T16" fmla="*/ 19 w 37"/>
              <a:gd name="T17" fmla="*/ 28 h 37"/>
              <a:gd name="T18" fmla="*/ 27 w 37"/>
              <a:gd name="T19" fmla="*/ 36 h 37"/>
              <a:gd name="T20" fmla="*/ 30 w 37"/>
              <a:gd name="T21" fmla="*/ 36 h 37"/>
              <a:gd name="T22" fmla="*/ 37 w 37"/>
              <a:gd name="T23" fmla="*/ 30 h 37"/>
              <a:gd name="T24" fmla="*/ 37 w 37"/>
              <a:gd name="T25" fmla="*/ 27 h 37"/>
              <a:gd name="T26" fmla="*/ 28 w 37"/>
              <a:gd name="T27" fmla="*/ 18 h 37"/>
              <a:gd name="T28" fmla="*/ 37 w 37"/>
              <a:gd name="T29" fmla="*/ 10 h 37"/>
              <a:gd name="T30" fmla="*/ 37 w 37"/>
              <a:gd name="T31" fmla="*/ 7 h 37"/>
              <a:gd name="T32" fmla="*/ 30 w 37"/>
              <a:gd name="T33" fmla="*/ 1 h 37"/>
              <a:gd name="T34" fmla="*/ 28 w 37"/>
              <a:gd name="T35" fmla="*/ 1 h 37"/>
              <a:gd name="T36" fmla="*/ 19 w 37"/>
              <a:gd name="T37" fmla="*/ 9 h 37"/>
              <a:gd name="T38" fmla="*/ 10 w 37"/>
              <a:gd name="T39" fmla="*/ 1 h 37"/>
              <a:gd name="T40" fmla="*/ 8 w 37"/>
              <a:gd name="T41" fmla="*/ 1 h 37"/>
              <a:gd name="T42" fmla="*/ 8 w 37"/>
              <a:gd name="T43" fmla="*/ 1 h 37"/>
              <a:gd name="T44" fmla="*/ 8 w 37"/>
              <a:gd name="T45" fmla="*/ 1 h 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37" h="37">
                <a:moveTo>
                  <a:pt x="8" y="1"/>
                </a:moveTo>
                <a:cubicBezTo>
                  <a:pt x="1" y="7"/>
                  <a:pt x="1" y="7"/>
                  <a:pt x="1" y="7"/>
                </a:cubicBezTo>
                <a:cubicBezTo>
                  <a:pt x="0" y="8"/>
                  <a:pt x="0" y="9"/>
                  <a:pt x="1" y="10"/>
                </a:cubicBezTo>
                <a:cubicBezTo>
                  <a:pt x="10" y="18"/>
                  <a:pt x="10" y="18"/>
                  <a:pt x="10" y="18"/>
                </a:cubicBezTo>
                <a:cubicBezTo>
                  <a:pt x="1" y="27"/>
                  <a:pt x="1" y="27"/>
                  <a:pt x="1" y="27"/>
                </a:cubicBezTo>
                <a:cubicBezTo>
                  <a:pt x="0" y="28"/>
                  <a:pt x="0" y="29"/>
                  <a:pt x="1" y="30"/>
                </a:cubicBezTo>
                <a:cubicBezTo>
                  <a:pt x="8" y="36"/>
                  <a:pt x="8" y="36"/>
                  <a:pt x="8" y="36"/>
                </a:cubicBezTo>
                <a:cubicBezTo>
                  <a:pt x="8" y="37"/>
                  <a:pt x="10" y="37"/>
                  <a:pt x="10" y="36"/>
                </a:cubicBezTo>
                <a:cubicBezTo>
                  <a:pt x="19" y="28"/>
                  <a:pt x="19" y="28"/>
                  <a:pt x="19" y="28"/>
                </a:cubicBezTo>
                <a:cubicBezTo>
                  <a:pt x="27" y="36"/>
                  <a:pt x="27" y="36"/>
                  <a:pt x="27" y="36"/>
                </a:cubicBezTo>
                <a:cubicBezTo>
                  <a:pt x="28" y="37"/>
                  <a:pt x="30" y="37"/>
                  <a:pt x="30" y="36"/>
                </a:cubicBezTo>
                <a:cubicBezTo>
                  <a:pt x="37" y="30"/>
                  <a:pt x="37" y="30"/>
                  <a:pt x="37" y="30"/>
                </a:cubicBezTo>
                <a:cubicBezTo>
                  <a:pt x="37" y="29"/>
                  <a:pt x="37" y="28"/>
                  <a:pt x="37" y="27"/>
                </a:cubicBezTo>
                <a:cubicBezTo>
                  <a:pt x="28" y="18"/>
                  <a:pt x="28" y="18"/>
                  <a:pt x="28" y="18"/>
                </a:cubicBezTo>
                <a:cubicBezTo>
                  <a:pt x="37" y="10"/>
                  <a:pt x="37" y="10"/>
                  <a:pt x="37" y="10"/>
                </a:cubicBezTo>
                <a:cubicBezTo>
                  <a:pt x="37" y="9"/>
                  <a:pt x="37" y="8"/>
                  <a:pt x="37" y="7"/>
                </a:cubicBezTo>
                <a:cubicBezTo>
                  <a:pt x="30" y="1"/>
                  <a:pt x="30" y="1"/>
                  <a:pt x="30" y="1"/>
                </a:cubicBezTo>
                <a:cubicBezTo>
                  <a:pt x="30" y="0"/>
                  <a:pt x="28" y="0"/>
                  <a:pt x="28" y="1"/>
                </a:cubicBezTo>
                <a:cubicBezTo>
                  <a:pt x="19" y="9"/>
                  <a:pt x="19" y="9"/>
                  <a:pt x="19" y="9"/>
                </a:cubicBezTo>
                <a:cubicBezTo>
                  <a:pt x="10" y="1"/>
                  <a:pt x="10" y="1"/>
                  <a:pt x="10" y="1"/>
                </a:cubicBezTo>
                <a:cubicBezTo>
                  <a:pt x="10" y="0"/>
                  <a:pt x="8" y="0"/>
                  <a:pt x="8" y="1"/>
                </a:cubicBezTo>
                <a:close/>
                <a:moveTo>
                  <a:pt x="8" y="1"/>
                </a:moveTo>
                <a:cubicBezTo>
                  <a:pt x="8" y="1"/>
                  <a:pt x="8" y="1"/>
                  <a:pt x="8" y="1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165" name="ïṧḻïdé">
            <a:extLst>
              <a:ext uri="{FF2B5EF4-FFF2-40B4-BE49-F238E27FC236}">
                <a16:creationId xmlns:a16="http://schemas.microsoft.com/office/drawing/2014/main" id="{15828423-E77A-4322-8206-32549435EA91}"/>
              </a:ext>
            </a:extLst>
          </p:cNvPr>
          <p:cNvSpPr>
            <a:spLocks/>
          </p:cNvSpPr>
          <p:nvPr/>
        </p:nvSpPr>
        <p:spPr bwMode="auto">
          <a:xfrm>
            <a:off x="9689256" y="2387695"/>
            <a:ext cx="58128" cy="58128"/>
          </a:xfrm>
          <a:custGeom>
            <a:avLst/>
            <a:gdLst>
              <a:gd name="T0" fmla="*/ 42 w 42"/>
              <a:gd name="T1" fmla="*/ 21 h 42"/>
              <a:gd name="T2" fmla="*/ 21 w 42"/>
              <a:gd name="T3" fmla="*/ 42 h 42"/>
              <a:gd name="T4" fmla="*/ 0 w 42"/>
              <a:gd name="T5" fmla="*/ 21 h 42"/>
              <a:gd name="T6" fmla="*/ 21 w 42"/>
              <a:gd name="T7" fmla="*/ 0 h 42"/>
              <a:gd name="T8" fmla="*/ 42 w 42"/>
              <a:gd name="T9" fmla="*/ 21 h 42"/>
              <a:gd name="T10" fmla="*/ 42 w 42"/>
              <a:gd name="T11" fmla="*/ 21 h 42"/>
              <a:gd name="T12" fmla="*/ 42 w 42"/>
              <a:gd name="T13" fmla="*/ 21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2" h="42">
                <a:moveTo>
                  <a:pt x="42" y="21"/>
                </a:moveTo>
                <a:cubicBezTo>
                  <a:pt x="42" y="33"/>
                  <a:pt x="33" y="42"/>
                  <a:pt x="21" y="42"/>
                </a:cubicBezTo>
                <a:cubicBezTo>
                  <a:pt x="10" y="42"/>
                  <a:pt x="0" y="33"/>
                  <a:pt x="0" y="21"/>
                </a:cubicBezTo>
                <a:cubicBezTo>
                  <a:pt x="0" y="10"/>
                  <a:pt x="10" y="0"/>
                  <a:pt x="21" y="0"/>
                </a:cubicBezTo>
                <a:cubicBezTo>
                  <a:pt x="33" y="0"/>
                  <a:pt x="42" y="10"/>
                  <a:pt x="42" y="21"/>
                </a:cubicBezTo>
                <a:close/>
                <a:moveTo>
                  <a:pt x="42" y="21"/>
                </a:moveTo>
                <a:cubicBezTo>
                  <a:pt x="42" y="21"/>
                  <a:pt x="42" y="21"/>
                  <a:pt x="42" y="21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166" name="îṣḻíḓê">
            <a:extLst>
              <a:ext uri="{FF2B5EF4-FFF2-40B4-BE49-F238E27FC236}">
                <a16:creationId xmlns:a16="http://schemas.microsoft.com/office/drawing/2014/main" id="{33574EF8-A4EF-4F1F-88A7-C9E3FDE448E7}"/>
              </a:ext>
            </a:extLst>
          </p:cNvPr>
          <p:cNvSpPr>
            <a:spLocks/>
          </p:cNvSpPr>
          <p:nvPr/>
        </p:nvSpPr>
        <p:spPr bwMode="auto">
          <a:xfrm>
            <a:off x="9793182" y="2225053"/>
            <a:ext cx="58128" cy="58715"/>
          </a:xfrm>
          <a:custGeom>
            <a:avLst/>
            <a:gdLst>
              <a:gd name="T0" fmla="*/ 42 w 42"/>
              <a:gd name="T1" fmla="*/ 21 h 42"/>
              <a:gd name="T2" fmla="*/ 21 w 42"/>
              <a:gd name="T3" fmla="*/ 42 h 42"/>
              <a:gd name="T4" fmla="*/ 0 w 42"/>
              <a:gd name="T5" fmla="*/ 21 h 42"/>
              <a:gd name="T6" fmla="*/ 21 w 42"/>
              <a:gd name="T7" fmla="*/ 0 h 42"/>
              <a:gd name="T8" fmla="*/ 42 w 42"/>
              <a:gd name="T9" fmla="*/ 21 h 42"/>
              <a:gd name="T10" fmla="*/ 42 w 42"/>
              <a:gd name="T11" fmla="*/ 21 h 42"/>
              <a:gd name="T12" fmla="*/ 42 w 42"/>
              <a:gd name="T13" fmla="*/ 21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2" h="42">
                <a:moveTo>
                  <a:pt x="42" y="21"/>
                </a:moveTo>
                <a:cubicBezTo>
                  <a:pt x="42" y="32"/>
                  <a:pt x="32" y="42"/>
                  <a:pt x="21" y="42"/>
                </a:cubicBezTo>
                <a:cubicBezTo>
                  <a:pt x="9" y="42"/>
                  <a:pt x="0" y="32"/>
                  <a:pt x="0" y="21"/>
                </a:cubicBezTo>
                <a:cubicBezTo>
                  <a:pt x="0" y="9"/>
                  <a:pt x="9" y="0"/>
                  <a:pt x="21" y="0"/>
                </a:cubicBezTo>
                <a:cubicBezTo>
                  <a:pt x="32" y="0"/>
                  <a:pt x="42" y="9"/>
                  <a:pt x="42" y="21"/>
                </a:cubicBezTo>
                <a:close/>
                <a:moveTo>
                  <a:pt x="42" y="21"/>
                </a:moveTo>
                <a:cubicBezTo>
                  <a:pt x="42" y="21"/>
                  <a:pt x="42" y="21"/>
                  <a:pt x="42" y="21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167" name="îṧḷîḑê">
            <a:extLst>
              <a:ext uri="{FF2B5EF4-FFF2-40B4-BE49-F238E27FC236}">
                <a16:creationId xmlns:a16="http://schemas.microsoft.com/office/drawing/2014/main" id="{B5CD52BA-C139-4149-881F-93D40A3DC75A}"/>
              </a:ext>
            </a:extLst>
          </p:cNvPr>
          <p:cNvSpPr>
            <a:spLocks/>
          </p:cNvSpPr>
          <p:nvPr/>
        </p:nvSpPr>
        <p:spPr bwMode="auto">
          <a:xfrm>
            <a:off x="9719788" y="2273786"/>
            <a:ext cx="69284" cy="105687"/>
          </a:xfrm>
          <a:custGeom>
            <a:avLst/>
            <a:gdLst>
              <a:gd name="T0" fmla="*/ 18 w 50"/>
              <a:gd name="T1" fmla="*/ 29 h 76"/>
              <a:gd name="T2" fmla="*/ 6 w 50"/>
              <a:gd name="T3" fmla="*/ 51 h 76"/>
              <a:gd name="T4" fmla="*/ 0 w 50"/>
              <a:gd name="T5" fmla="*/ 73 h 76"/>
              <a:gd name="T6" fmla="*/ 2 w 50"/>
              <a:gd name="T7" fmla="*/ 76 h 76"/>
              <a:gd name="T8" fmla="*/ 2 w 50"/>
              <a:gd name="T9" fmla="*/ 76 h 76"/>
              <a:gd name="T10" fmla="*/ 5 w 50"/>
              <a:gd name="T11" fmla="*/ 73 h 76"/>
              <a:gd name="T12" fmla="*/ 11 w 50"/>
              <a:gd name="T13" fmla="*/ 53 h 76"/>
              <a:gd name="T14" fmla="*/ 22 w 50"/>
              <a:gd name="T15" fmla="*/ 32 h 76"/>
              <a:gd name="T16" fmla="*/ 41 w 50"/>
              <a:gd name="T17" fmla="*/ 11 h 76"/>
              <a:gd name="T18" fmla="*/ 44 w 50"/>
              <a:gd name="T19" fmla="*/ 15 h 76"/>
              <a:gd name="T20" fmla="*/ 49 w 50"/>
              <a:gd name="T21" fmla="*/ 2 h 76"/>
              <a:gd name="T22" fmla="*/ 48 w 50"/>
              <a:gd name="T23" fmla="*/ 0 h 76"/>
              <a:gd name="T24" fmla="*/ 34 w 50"/>
              <a:gd name="T25" fmla="*/ 2 h 76"/>
              <a:gd name="T26" fmla="*/ 38 w 50"/>
              <a:gd name="T27" fmla="*/ 6 h 76"/>
              <a:gd name="T28" fmla="*/ 18 w 50"/>
              <a:gd name="T29" fmla="*/ 29 h 76"/>
              <a:gd name="T30" fmla="*/ 18 w 50"/>
              <a:gd name="T31" fmla="*/ 29 h 76"/>
              <a:gd name="T32" fmla="*/ 18 w 50"/>
              <a:gd name="T33" fmla="*/ 29 h 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50" h="76">
                <a:moveTo>
                  <a:pt x="18" y="29"/>
                </a:moveTo>
                <a:cubicBezTo>
                  <a:pt x="13" y="36"/>
                  <a:pt x="9" y="43"/>
                  <a:pt x="6" y="51"/>
                </a:cubicBezTo>
                <a:cubicBezTo>
                  <a:pt x="0" y="63"/>
                  <a:pt x="0" y="72"/>
                  <a:pt x="0" y="73"/>
                </a:cubicBezTo>
                <a:cubicBezTo>
                  <a:pt x="0" y="74"/>
                  <a:pt x="1" y="75"/>
                  <a:pt x="2" y="76"/>
                </a:cubicBezTo>
                <a:cubicBezTo>
                  <a:pt x="2" y="76"/>
                  <a:pt x="2" y="76"/>
                  <a:pt x="2" y="76"/>
                </a:cubicBezTo>
                <a:cubicBezTo>
                  <a:pt x="4" y="76"/>
                  <a:pt x="5" y="74"/>
                  <a:pt x="5" y="73"/>
                </a:cubicBezTo>
                <a:cubicBezTo>
                  <a:pt x="5" y="73"/>
                  <a:pt x="6" y="65"/>
                  <a:pt x="11" y="53"/>
                </a:cubicBezTo>
                <a:cubicBezTo>
                  <a:pt x="13" y="45"/>
                  <a:pt x="17" y="38"/>
                  <a:pt x="22" y="32"/>
                </a:cubicBezTo>
                <a:cubicBezTo>
                  <a:pt x="27" y="24"/>
                  <a:pt x="34" y="17"/>
                  <a:pt x="41" y="11"/>
                </a:cubicBezTo>
                <a:cubicBezTo>
                  <a:pt x="44" y="15"/>
                  <a:pt x="44" y="15"/>
                  <a:pt x="44" y="15"/>
                </a:cubicBezTo>
                <a:cubicBezTo>
                  <a:pt x="49" y="2"/>
                  <a:pt x="49" y="2"/>
                  <a:pt x="49" y="2"/>
                </a:cubicBezTo>
                <a:cubicBezTo>
                  <a:pt x="50" y="1"/>
                  <a:pt x="49" y="0"/>
                  <a:pt x="48" y="0"/>
                </a:cubicBezTo>
                <a:cubicBezTo>
                  <a:pt x="34" y="2"/>
                  <a:pt x="34" y="2"/>
                  <a:pt x="34" y="2"/>
                </a:cubicBezTo>
                <a:cubicBezTo>
                  <a:pt x="38" y="6"/>
                  <a:pt x="38" y="6"/>
                  <a:pt x="38" y="6"/>
                </a:cubicBezTo>
                <a:cubicBezTo>
                  <a:pt x="30" y="13"/>
                  <a:pt x="23" y="21"/>
                  <a:pt x="18" y="29"/>
                </a:cubicBezTo>
                <a:close/>
                <a:moveTo>
                  <a:pt x="18" y="29"/>
                </a:moveTo>
                <a:cubicBezTo>
                  <a:pt x="18" y="29"/>
                  <a:pt x="18" y="29"/>
                  <a:pt x="18" y="29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168" name="iśḷiďê">
            <a:extLst>
              <a:ext uri="{FF2B5EF4-FFF2-40B4-BE49-F238E27FC236}">
                <a16:creationId xmlns:a16="http://schemas.microsoft.com/office/drawing/2014/main" id="{F7FA6A72-CC0F-4445-8A08-0D1A801376EC}"/>
              </a:ext>
            </a:extLst>
          </p:cNvPr>
          <p:cNvSpPr>
            <a:spLocks/>
          </p:cNvSpPr>
          <p:nvPr/>
        </p:nvSpPr>
        <p:spPr bwMode="auto">
          <a:xfrm>
            <a:off x="9629366" y="2213897"/>
            <a:ext cx="59890" cy="179082"/>
          </a:xfrm>
          <a:custGeom>
            <a:avLst/>
            <a:gdLst>
              <a:gd name="T0" fmla="*/ 1 w 43"/>
              <a:gd name="T1" fmla="*/ 59 h 129"/>
              <a:gd name="T2" fmla="*/ 12 w 43"/>
              <a:gd name="T3" fmla="*/ 96 h 129"/>
              <a:gd name="T4" fmla="*/ 38 w 43"/>
              <a:gd name="T5" fmla="*/ 128 h 129"/>
              <a:gd name="T6" fmla="*/ 40 w 43"/>
              <a:gd name="T7" fmla="*/ 129 h 129"/>
              <a:gd name="T8" fmla="*/ 42 w 43"/>
              <a:gd name="T9" fmla="*/ 128 h 129"/>
              <a:gd name="T10" fmla="*/ 42 w 43"/>
              <a:gd name="T11" fmla="*/ 124 h 129"/>
              <a:gd name="T12" fmla="*/ 17 w 43"/>
              <a:gd name="T13" fmla="*/ 94 h 129"/>
              <a:gd name="T14" fmla="*/ 7 w 43"/>
              <a:gd name="T15" fmla="*/ 58 h 129"/>
              <a:gd name="T16" fmla="*/ 15 w 43"/>
              <a:gd name="T17" fmla="*/ 13 h 129"/>
              <a:gd name="T18" fmla="*/ 20 w 43"/>
              <a:gd name="T19" fmla="*/ 15 h 129"/>
              <a:gd name="T20" fmla="*/ 19 w 43"/>
              <a:gd name="T21" fmla="*/ 1 h 129"/>
              <a:gd name="T22" fmla="*/ 17 w 43"/>
              <a:gd name="T23" fmla="*/ 1 h 129"/>
              <a:gd name="T24" fmla="*/ 6 w 43"/>
              <a:gd name="T25" fmla="*/ 8 h 129"/>
              <a:gd name="T26" fmla="*/ 10 w 43"/>
              <a:gd name="T27" fmla="*/ 11 h 129"/>
              <a:gd name="T28" fmla="*/ 1 w 43"/>
              <a:gd name="T29" fmla="*/ 59 h 129"/>
              <a:gd name="T30" fmla="*/ 1 w 43"/>
              <a:gd name="T31" fmla="*/ 59 h 129"/>
              <a:gd name="T32" fmla="*/ 1 w 43"/>
              <a:gd name="T33" fmla="*/ 59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43" h="129">
                <a:moveTo>
                  <a:pt x="1" y="59"/>
                </a:moveTo>
                <a:cubicBezTo>
                  <a:pt x="2" y="72"/>
                  <a:pt x="6" y="84"/>
                  <a:pt x="12" y="96"/>
                </a:cubicBezTo>
                <a:cubicBezTo>
                  <a:pt x="23" y="117"/>
                  <a:pt x="38" y="128"/>
                  <a:pt x="38" y="128"/>
                </a:cubicBezTo>
                <a:cubicBezTo>
                  <a:pt x="39" y="129"/>
                  <a:pt x="39" y="129"/>
                  <a:pt x="40" y="129"/>
                </a:cubicBezTo>
                <a:cubicBezTo>
                  <a:pt x="41" y="129"/>
                  <a:pt x="42" y="129"/>
                  <a:pt x="42" y="128"/>
                </a:cubicBezTo>
                <a:cubicBezTo>
                  <a:pt x="43" y="127"/>
                  <a:pt x="43" y="125"/>
                  <a:pt x="42" y="124"/>
                </a:cubicBezTo>
                <a:cubicBezTo>
                  <a:pt x="42" y="124"/>
                  <a:pt x="27" y="113"/>
                  <a:pt x="17" y="94"/>
                </a:cubicBezTo>
                <a:cubicBezTo>
                  <a:pt x="11" y="82"/>
                  <a:pt x="7" y="70"/>
                  <a:pt x="7" y="58"/>
                </a:cubicBezTo>
                <a:cubicBezTo>
                  <a:pt x="6" y="43"/>
                  <a:pt x="9" y="28"/>
                  <a:pt x="15" y="13"/>
                </a:cubicBezTo>
                <a:cubicBezTo>
                  <a:pt x="20" y="15"/>
                  <a:pt x="20" y="15"/>
                  <a:pt x="20" y="15"/>
                </a:cubicBezTo>
                <a:cubicBezTo>
                  <a:pt x="19" y="1"/>
                  <a:pt x="19" y="1"/>
                  <a:pt x="19" y="1"/>
                </a:cubicBezTo>
                <a:cubicBezTo>
                  <a:pt x="19" y="0"/>
                  <a:pt x="18" y="0"/>
                  <a:pt x="17" y="1"/>
                </a:cubicBezTo>
                <a:cubicBezTo>
                  <a:pt x="6" y="8"/>
                  <a:pt x="6" y="8"/>
                  <a:pt x="6" y="8"/>
                </a:cubicBezTo>
                <a:cubicBezTo>
                  <a:pt x="10" y="11"/>
                  <a:pt x="10" y="11"/>
                  <a:pt x="10" y="11"/>
                </a:cubicBezTo>
                <a:cubicBezTo>
                  <a:pt x="3" y="27"/>
                  <a:pt x="0" y="43"/>
                  <a:pt x="1" y="59"/>
                </a:cubicBezTo>
                <a:close/>
                <a:moveTo>
                  <a:pt x="1" y="59"/>
                </a:moveTo>
                <a:cubicBezTo>
                  <a:pt x="1" y="59"/>
                  <a:pt x="1" y="59"/>
                  <a:pt x="1" y="59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169" name="ïṩ1íḑe">
            <a:extLst>
              <a:ext uri="{FF2B5EF4-FFF2-40B4-BE49-F238E27FC236}">
                <a16:creationId xmlns:a16="http://schemas.microsoft.com/office/drawing/2014/main" id="{D9A92285-79D3-45F1-A4B2-76595F86347D}"/>
              </a:ext>
            </a:extLst>
          </p:cNvPr>
          <p:cNvSpPr>
            <a:spLocks/>
          </p:cNvSpPr>
          <p:nvPr/>
        </p:nvSpPr>
        <p:spPr bwMode="auto">
          <a:xfrm>
            <a:off x="8510250" y="3004207"/>
            <a:ext cx="107449" cy="106862"/>
          </a:xfrm>
          <a:custGeom>
            <a:avLst/>
            <a:gdLst>
              <a:gd name="T0" fmla="*/ 77 w 77"/>
              <a:gd name="T1" fmla="*/ 38 h 77"/>
              <a:gd name="T2" fmla="*/ 39 w 77"/>
              <a:gd name="T3" fmla="*/ 77 h 77"/>
              <a:gd name="T4" fmla="*/ 0 w 77"/>
              <a:gd name="T5" fmla="*/ 38 h 77"/>
              <a:gd name="T6" fmla="*/ 39 w 77"/>
              <a:gd name="T7" fmla="*/ 0 h 77"/>
              <a:gd name="T8" fmla="*/ 77 w 77"/>
              <a:gd name="T9" fmla="*/ 38 h 77"/>
              <a:gd name="T10" fmla="*/ 77 w 77"/>
              <a:gd name="T11" fmla="*/ 38 h 77"/>
              <a:gd name="T12" fmla="*/ 77 w 77"/>
              <a:gd name="T13" fmla="*/ 38 h 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7" h="77">
                <a:moveTo>
                  <a:pt x="77" y="38"/>
                </a:moveTo>
                <a:cubicBezTo>
                  <a:pt x="77" y="60"/>
                  <a:pt x="60" y="77"/>
                  <a:pt x="39" y="77"/>
                </a:cubicBezTo>
                <a:cubicBezTo>
                  <a:pt x="17" y="77"/>
                  <a:pt x="0" y="60"/>
                  <a:pt x="0" y="38"/>
                </a:cubicBezTo>
                <a:cubicBezTo>
                  <a:pt x="0" y="17"/>
                  <a:pt x="17" y="0"/>
                  <a:pt x="39" y="0"/>
                </a:cubicBezTo>
                <a:cubicBezTo>
                  <a:pt x="60" y="0"/>
                  <a:pt x="77" y="17"/>
                  <a:pt x="77" y="38"/>
                </a:cubicBezTo>
                <a:close/>
                <a:moveTo>
                  <a:pt x="77" y="38"/>
                </a:moveTo>
                <a:cubicBezTo>
                  <a:pt x="77" y="38"/>
                  <a:pt x="77" y="38"/>
                  <a:pt x="77" y="38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170" name="îŝliḑê">
            <a:extLst>
              <a:ext uri="{FF2B5EF4-FFF2-40B4-BE49-F238E27FC236}">
                <a16:creationId xmlns:a16="http://schemas.microsoft.com/office/drawing/2014/main" id="{3952C7E8-E28C-4AEA-A1ED-7F97F18ED0E9}"/>
              </a:ext>
            </a:extLst>
          </p:cNvPr>
          <p:cNvSpPr>
            <a:spLocks/>
          </p:cNvSpPr>
          <p:nvPr/>
        </p:nvSpPr>
        <p:spPr bwMode="auto">
          <a:xfrm>
            <a:off x="8510250" y="2879143"/>
            <a:ext cx="231926" cy="231926"/>
          </a:xfrm>
          <a:custGeom>
            <a:avLst/>
            <a:gdLst>
              <a:gd name="T0" fmla="*/ 128 w 167"/>
              <a:gd name="T1" fmla="*/ 148 h 167"/>
              <a:gd name="T2" fmla="*/ 148 w 167"/>
              <a:gd name="T3" fmla="*/ 167 h 167"/>
              <a:gd name="T4" fmla="*/ 167 w 167"/>
              <a:gd name="T5" fmla="*/ 148 h 167"/>
              <a:gd name="T6" fmla="*/ 19 w 167"/>
              <a:gd name="T7" fmla="*/ 0 h 167"/>
              <a:gd name="T8" fmla="*/ 0 w 167"/>
              <a:gd name="T9" fmla="*/ 19 h 167"/>
              <a:gd name="T10" fmla="*/ 19 w 167"/>
              <a:gd name="T11" fmla="*/ 38 h 167"/>
              <a:gd name="T12" fmla="*/ 128 w 167"/>
              <a:gd name="T13" fmla="*/ 148 h 167"/>
              <a:gd name="T14" fmla="*/ 128 w 167"/>
              <a:gd name="T15" fmla="*/ 148 h 167"/>
              <a:gd name="T16" fmla="*/ 128 w 167"/>
              <a:gd name="T17" fmla="*/ 148 h 1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67" h="167">
                <a:moveTo>
                  <a:pt x="128" y="148"/>
                </a:moveTo>
                <a:cubicBezTo>
                  <a:pt x="128" y="158"/>
                  <a:pt x="137" y="167"/>
                  <a:pt x="148" y="167"/>
                </a:cubicBezTo>
                <a:cubicBezTo>
                  <a:pt x="158" y="167"/>
                  <a:pt x="167" y="158"/>
                  <a:pt x="167" y="148"/>
                </a:cubicBezTo>
                <a:cubicBezTo>
                  <a:pt x="167" y="66"/>
                  <a:pt x="100" y="0"/>
                  <a:pt x="19" y="0"/>
                </a:cubicBezTo>
                <a:cubicBezTo>
                  <a:pt x="8" y="0"/>
                  <a:pt x="0" y="9"/>
                  <a:pt x="0" y="19"/>
                </a:cubicBezTo>
                <a:cubicBezTo>
                  <a:pt x="0" y="30"/>
                  <a:pt x="8" y="38"/>
                  <a:pt x="19" y="38"/>
                </a:cubicBezTo>
                <a:cubicBezTo>
                  <a:pt x="79" y="38"/>
                  <a:pt x="128" y="88"/>
                  <a:pt x="128" y="148"/>
                </a:cubicBezTo>
                <a:close/>
                <a:moveTo>
                  <a:pt x="128" y="148"/>
                </a:moveTo>
                <a:cubicBezTo>
                  <a:pt x="128" y="148"/>
                  <a:pt x="128" y="148"/>
                  <a:pt x="128" y="148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171" name="îSḷîďé">
            <a:extLst>
              <a:ext uri="{FF2B5EF4-FFF2-40B4-BE49-F238E27FC236}">
                <a16:creationId xmlns:a16="http://schemas.microsoft.com/office/drawing/2014/main" id="{83407871-E986-4123-80DB-3EC94F3EAA80}"/>
              </a:ext>
            </a:extLst>
          </p:cNvPr>
          <p:cNvSpPr>
            <a:spLocks/>
          </p:cNvSpPr>
          <p:nvPr/>
        </p:nvSpPr>
        <p:spPr bwMode="auto">
          <a:xfrm>
            <a:off x="8510250" y="2780501"/>
            <a:ext cx="330568" cy="330568"/>
          </a:xfrm>
          <a:custGeom>
            <a:avLst/>
            <a:gdLst>
              <a:gd name="T0" fmla="*/ 219 w 238"/>
              <a:gd name="T1" fmla="*/ 238 h 238"/>
              <a:gd name="T2" fmla="*/ 238 w 238"/>
              <a:gd name="T3" fmla="*/ 219 h 238"/>
              <a:gd name="T4" fmla="*/ 19 w 238"/>
              <a:gd name="T5" fmla="*/ 0 h 238"/>
              <a:gd name="T6" fmla="*/ 0 w 238"/>
              <a:gd name="T7" fmla="*/ 19 h 238"/>
              <a:gd name="T8" fmla="*/ 19 w 238"/>
              <a:gd name="T9" fmla="*/ 38 h 238"/>
              <a:gd name="T10" fmla="*/ 199 w 238"/>
              <a:gd name="T11" fmla="*/ 219 h 238"/>
              <a:gd name="T12" fmla="*/ 219 w 238"/>
              <a:gd name="T13" fmla="*/ 238 h 238"/>
              <a:gd name="T14" fmla="*/ 219 w 238"/>
              <a:gd name="T15" fmla="*/ 238 h 238"/>
              <a:gd name="T16" fmla="*/ 219 w 238"/>
              <a:gd name="T17" fmla="*/ 238 h 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38" h="238">
                <a:moveTo>
                  <a:pt x="219" y="238"/>
                </a:moveTo>
                <a:cubicBezTo>
                  <a:pt x="229" y="238"/>
                  <a:pt x="238" y="229"/>
                  <a:pt x="238" y="219"/>
                </a:cubicBezTo>
                <a:cubicBezTo>
                  <a:pt x="238" y="98"/>
                  <a:pt x="140" y="0"/>
                  <a:pt x="19" y="0"/>
                </a:cubicBezTo>
                <a:cubicBezTo>
                  <a:pt x="8" y="0"/>
                  <a:pt x="0" y="9"/>
                  <a:pt x="0" y="19"/>
                </a:cubicBezTo>
                <a:cubicBezTo>
                  <a:pt x="0" y="30"/>
                  <a:pt x="8" y="38"/>
                  <a:pt x="19" y="38"/>
                </a:cubicBezTo>
                <a:cubicBezTo>
                  <a:pt x="119" y="38"/>
                  <a:pt x="199" y="119"/>
                  <a:pt x="199" y="219"/>
                </a:cubicBezTo>
                <a:cubicBezTo>
                  <a:pt x="199" y="229"/>
                  <a:pt x="208" y="238"/>
                  <a:pt x="219" y="238"/>
                </a:cubicBezTo>
                <a:close/>
                <a:moveTo>
                  <a:pt x="219" y="238"/>
                </a:moveTo>
                <a:cubicBezTo>
                  <a:pt x="219" y="238"/>
                  <a:pt x="219" y="238"/>
                  <a:pt x="219" y="238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10" name="iS1ïḋé">
            <a:extLst>
              <a:ext uri="{FF2B5EF4-FFF2-40B4-BE49-F238E27FC236}">
                <a16:creationId xmlns:a16="http://schemas.microsoft.com/office/drawing/2014/main" id="{4ED6D6DA-4228-4595-BE7A-1492F012DCCD}"/>
              </a:ext>
            </a:extLst>
          </p:cNvPr>
          <p:cNvSpPr txBox="1"/>
          <p:nvPr/>
        </p:nvSpPr>
        <p:spPr>
          <a:xfrm>
            <a:off x="8637984" y="5398296"/>
            <a:ext cx="914400" cy="521720"/>
          </a:xfrm>
          <a:prstGeom prst="rect">
            <a:avLst/>
          </a:prstGeom>
          <a:noFill/>
        </p:spPr>
        <p:txBody>
          <a:bodyPr wrap="none" lIns="90000" tIns="46800" rIns="90000" bIns="46800" rtlCol="0" anchor="ctr" anchorCtr="0">
            <a:normAutofit/>
          </a:bodyPr>
          <a:lstStyle/>
          <a:p>
            <a:pPr algn="ctr"/>
            <a:r>
              <a:rPr lang="zh-CN" altLang="en-US" sz="1400" b="1" dirty="0">
                <a:solidFill>
                  <a:schemeClr val="accent1"/>
                </a:solidFill>
              </a:rPr>
              <a:t>关键词</a:t>
            </a:r>
          </a:p>
        </p:txBody>
      </p:sp>
      <p:sp>
        <p:nvSpPr>
          <p:cNvPr id="11" name="ïśḻïdé">
            <a:extLst>
              <a:ext uri="{FF2B5EF4-FFF2-40B4-BE49-F238E27FC236}">
                <a16:creationId xmlns:a16="http://schemas.microsoft.com/office/drawing/2014/main" id="{C7362BB6-8320-4AAD-AA86-D43B344C9530}"/>
              </a:ext>
            </a:extLst>
          </p:cNvPr>
          <p:cNvSpPr txBox="1"/>
          <p:nvPr/>
        </p:nvSpPr>
        <p:spPr>
          <a:xfrm>
            <a:off x="9387443" y="5225878"/>
            <a:ext cx="914400" cy="521720"/>
          </a:xfrm>
          <a:prstGeom prst="rect">
            <a:avLst/>
          </a:prstGeom>
          <a:noFill/>
        </p:spPr>
        <p:txBody>
          <a:bodyPr wrap="none" lIns="90000" tIns="46800" rIns="90000" bIns="46800" rtlCol="0" anchor="ctr" anchorCtr="0">
            <a:normAutofit/>
          </a:bodyPr>
          <a:lstStyle/>
          <a:p>
            <a:pPr algn="ctr"/>
            <a:r>
              <a:rPr lang="zh-CN" altLang="en-US" sz="1400" b="1" dirty="0">
                <a:solidFill>
                  <a:schemeClr val="accent2"/>
                </a:solidFill>
              </a:rPr>
              <a:t>关键词</a:t>
            </a:r>
          </a:p>
        </p:txBody>
      </p:sp>
      <p:sp>
        <p:nvSpPr>
          <p:cNvPr id="12" name="iṧḷïdé">
            <a:extLst>
              <a:ext uri="{FF2B5EF4-FFF2-40B4-BE49-F238E27FC236}">
                <a16:creationId xmlns:a16="http://schemas.microsoft.com/office/drawing/2014/main" id="{E3299D62-C858-4B31-A4BB-BEFCB0A8D898}"/>
              </a:ext>
            </a:extLst>
          </p:cNvPr>
          <p:cNvSpPr txBox="1"/>
          <p:nvPr/>
        </p:nvSpPr>
        <p:spPr>
          <a:xfrm>
            <a:off x="10523602" y="5100091"/>
            <a:ext cx="914400" cy="521720"/>
          </a:xfrm>
          <a:prstGeom prst="rect">
            <a:avLst/>
          </a:prstGeom>
          <a:noFill/>
        </p:spPr>
        <p:txBody>
          <a:bodyPr wrap="none" lIns="90000" tIns="46800" rIns="90000" bIns="46800" rtlCol="0" anchor="ctr" anchorCtr="0">
            <a:normAutofit/>
          </a:bodyPr>
          <a:lstStyle/>
          <a:p>
            <a:pPr algn="ctr"/>
            <a:r>
              <a:rPr lang="zh-CN" altLang="en-US" sz="1400" b="1" dirty="0">
                <a:solidFill>
                  <a:schemeClr val="accent3"/>
                </a:solidFill>
              </a:rPr>
              <a:t>关键词</a:t>
            </a:r>
          </a:p>
        </p:txBody>
      </p:sp>
      <p:sp>
        <p:nvSpPr>
          <p:cNvPr id="41" name="îs1ïḑe">
            <a:extLst>
              <a:ext uri="{FF2B5EF4-FFF2-40B4-BE49-F238E27FC236}">
                <a16:creationId xmlns:a16="http://schemas.microsoft.com/office/drawing/2014/main" id="{D09F1C34-E74D-4EAB-98B3-2603403D4881}"/>
              </a:ext>
            </a:extLst>
          </p:cNvPr>
          <p:cNvSpPr>
            <a:spLocks/>
          </p:cNvSpPr>
          <p:nvPr/>
        </p:nvSpPr>
        <p:spPr bwMode="auto">
          <a:xfrm>
            <a:off x="8893662" y="4611834"/>
            <a:ext cx="348770" cy="639999"/>
          </a:xfrm>
          <a:custGeom>
            <a:avLst/>
            <a:gdLst>
              <a:gd name="T0" fmla="*/ 251 w 251"/>
              <a:gd name="T1" fmla="*/ 444 h 461"/>
              <a:gd name="T2" fmla="*/ 233 w 251"/>
              <a:gd name="T3" fmla="*/ 461 h 461"/>
              <a:gd name="T4" fmla="*/ 18 w 251"/>
              <a:gd name="T5" fmla="*/ 461 h 461"/>
              <a:gd name="T6" fmla="*/ 0 w 251"/>
              <a:gd name="T7" fmla="*/ 444 h 461"/>
              <a:gd name="T8" fmla="*/ 0 w 251"/>
              <a:gd name="T9" fmla="*/ 18 h 461"/>
              <a:gd name="T10" fmla="*/ 18 w 251"/>
              <a:gd name="T11" fmla="*/ 0 h 461"/>
              <a:gd name="T12" fmla="*/ 233 w 251"/>
              <a:gd name="T13" fmla="*/ 0 h 461"/>
              <a:gd name="T14" fmla="*/ 251 w 251"/>
              <a:gd name="T15" fmla="*/ 18 h 461"/>
              <a:gd name="T16" fmla="*/ 251 w 251"/>
              <a:gd name="T17" fmla="*/ 444 h 4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51" h="461">
                <a:moveTo>
                  <a:pt x="251" y="444"/>
                </a:moveTo>
                <a:cubicBezTo>
                  <a:pt x="251" y="454"/>
                  <a:pt x="243" y="461"/>
                  <a:pt x="233" y="461"/>
                </a:cubicBezTo>
                <a:cubicBezTo>
                  <a:pt x="18" y="461"/>
                  <a:pt x="18" y="461"/>
                  <a:pt x="18" y="461"/>
                </a:cubicBezTo>
                <a:cubicBezTo>
                  <a:pt x="8" y="461"/>
                  <a:pt x="0" y="454"/>
                  <a:pt x="0" y="444"/>
                </a:cubicBezTo>
                <a:cubicBezTo>
                  <a:pt x="0" y="18"/>
                  <a:pt x="0" y="18"/>
                  <a:pt x="0" y="18"/>
                </a:cubicBezTo>
                <a:cubicBezTo>
                  <a:pt x="0" y="8"/>
                  <a:pt x="8" y="0"/>
                  <a:pt x="18" y="0"/>
                </a:cubicBezTo>
                <a:cubicBezTo>
                  <a:pt x="233" y="0"/>
                  <a:pt x="233" y="0"/>
                  <a:pt x="233" y="0"/>
                </a:cubicBezTo>
                <a:cubicBezTo>
                  <a:pt x="243" y="0"/>
                  <a:pt x="251" y="8"/>
                  <a:pt x="251" y="18"/>
                </a:cubicBezTo>
                <a:lnTo>
                  <a:pt x="251" y="444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42" name="îṣlïďé">
            <a:extLst>
              <a:ext uri="{FF2B5EF4-FFF2-40B4-BE49-F238E27FC236}">
                <a16:creationId xmlns:a16="http://schemas.microsoft.com/office/drawing/2014/main" id="{49BFD6CC-A1B3-4752-B6A8-034A5F8468E2}"/>
              </a:ext>
            </a:extLst>
          </p:cNvPr>
          <p:cNvSpPr>
            <a:spLocks/>
          </p:cNvSpPr>
          <p:nvPr/>
        </p:nvSpPr>
        <p:spPr bwMode="auto">
          <a:xfrm>
            <a:off x="9003459" y="4631211"/>
            <a:ext cx="129174" cy="14092"/>
          </a:xfrm>
          <a:custGeom>
            <a:avLst/>
            <a:gdLst>
              <a:gd name="T0" fmla="*/ 93 w 93"/>
              <a:gd name="T1" fmla="*/ 5 h 10"/>
              <a:gd name="T2" fmla="*/ 88 w 93"/>
              <a:gd name="T3" fmla="*/ 10 h 10"/>
              <a:gd name="T4" fmla="*/ 5 w 93"/>
              <a:gd name="T5" fmla="*/ 10 h 10"/>
              <a:gd name="T6" fmla="*/ 0 w 93"/>
              <a:gd name="T7" fmla="*/ 5 h 10"/>
              <a:gd name="T8" fmla="*/ 0 w 93"/>
              <a:gd name="T9" fmla="*/ 5 h 10"/>
              <a:gd name="T10" fmla="*/ 5 w 93"/>
              <a:gd name="T11" fmla="*/ 0 h 10"/>
              <a:gd name="T12" fmla="*/ 88 w 93"/>
              <a:gd name="T13" fmla="*/ 0 h 10"/>
              <a:gd name="T14" fmla="*/ 93 w 93"/>
              <a:gd name="T15" fmla="*/ 5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93" h="10">
                <a:moveTo>
                  <a:pt x="93" y="5"/>
                </a:moveTo>
                <a:cubicBezTo>
                  <a:pt x="93" y="7"/>
                  <a:pt x="91" y="10"/>
                  <a:pt x="88" y="10"/>
                </a:cubicBezTo>
                <a:cubicBezTo>
                  <a:pt x="5" y="10"/>
                  <a:pt x="5" y="10"/>
                  <a:pt x="5" y="10"/>
                </a:cubicBezTo>
                <a:cubicBezTo>
                  <a:pt x="3" y="10"/>
                  <a:pt x="0" y="7"/>
                  <a:pt x="0" y="5"/>
                </a:cubicBezTo>
                <a:cubicBezTo>
                  <a:pt x="0" y="5"/>
                  <a:pt x="0" y="5"/>
                  <a:pt x="0" y="5"/>
                </a:cubicBezTo>
                <a:cubicBezTo>
                  <a:pt x="0" y="2"/>
                  <a:pt x="3" y="0"/>
                  <a:pt x="5" y="0"/>
                </a:cubicBezTo>
                <a:cubicBezTo>
                  <a:pt x="88" y="0"/>
                  <a:pt x="88" y="0"/>
                  <a:pt x="88" y="0"/>
                </a:cubicBezTo>
                <a:cubicBezTo>
                  <a:pt x="91" y="0"/>
                  <a:pt x="93" y="2"/>
                  <a:pt x="93" y="5"/>
                </a:cubicBezTo>
                <a:close/>
              </a:path>
            </a:pathLst>
          </a:custGeom>
          <a:solidFill>
            <a:srgbClr val="F2F2F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43" name="ïśliḓê">
            <a:extLst>
              <a:ext uri="{FF2B5EF4-FFF2-40B4-BE49-F238E27FC236}">
                <a16:creationId xmlns:a16="http://schemas.microsoft.com/office/drawing/2014/main" id="{BCA75DFB-7FA7-4AF8-A679-EAF17674E547}"/>
              </a:ext>
            </a:extLst>
          </p:cNvPr>
          <p:cNvSpPr>
            <a:spLocks/>
          </p:cNvSpPr>
          <p:nvPr/>
        </p:nvSpPr>
        <p:spPr bwMode="auto">
          <a:xfrm>
            <a:off x="8915974" y="4660569"/>
            <a:ext cx="304146" cy="52315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44" name="ïşlíḍè">
            <a:extLst>
              <a:ext uri="{FF2B5EF4-FFF2-40B4-BE49-F238E27FC236}">
                <a16:creationId xmlns:a16="http://schemas.microsoft.com/office/drawing/2014/main" id="{CF8A18AC-4243-4251-BDF3-CD49961CF4E3}"/>
              </a:ext>
            </a:extLst>
          </p:cNvPr>
          <p:cNvSpPr>
            <a:spLocks/>
          </p:cNvSpPr>
          <p:nvPr/>
        </p:nvSpPr>
        <p:spPr bwMode="auto">
          <a:xfrm>
            <a:off x="9048084" y="5194879"/>
            <a:ext cx="41101" cy="41688"/>
          </a:xfrm>
          <a:prstGeom prst="ellipse">
            <a:avLst/>
          </a:prstGeom>
          <a:solidFill>
            <a:srgbClr val="F2F2F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45" name="išļîdé">
            <a:extLst>
              <a:ext uri="{FF2B5EF4-FFF2-40B4-BE49-F238E27FC236}">
                <a16:creationId xmlns:a16="http://schemas.microsoft.com/office/drawing/2014/main" id="{6EBEBF04-1729-4BBA-B1CF-1B336E4BE171}"/>
              </a:ext>
            </a:extLst>
          </p:cNvPr>
          <p:cNvSpPr>
            <a:spLocks/>
          </p:cNvSpPr>
          <p:nvPr/>
        </p:nvSpPr>
        <p:spPr bwMode="auto">
          <a:xfrm>
            <a:off x="9032230" y="4500863"/>
            <a:ext cx="71045" cy="110972"/>
          </a:xfrm>
          <a:custGeom>
            <a:avLst/>
            <a:gdLst>
              <a:gd name="T0" fmla="*/ 51 w 51"/>
              <a:gd name="T1" fmla="*/ 20 h 80"/>
              <a:gd name="T2" fmla="*/ 51 w 51"/>
              <a:gd name="T3" fmla="*/ 80 h 80"/>
              <a:gd name="T4" fmla="*/ 0 w 51"/>
              <a:gd name="T5" fmla="*/ 80 h 80"/>
              <a:gd name="T6" fmla="*/ 0 w 51"/>
              <a:gd name="T7" fmla="*/ 20 h 80"/>
              <a:gd name="T8" fmla="*/ 20 w 51"/>
              <a:gd name="T9" fmla="*/ 0 h 80"/>
              <a:gd name="T10" fmla="*/ 31 w 51"/>
              <a:gd name="T11" fmla="*/ 0 h 80"/>
              <a:gd name="T12" fmla="*/ 51 w 51"/>
              <a:gd name="T13" fmla="*/ 20 h 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1" h="80">
                <a:moveTo>
                  <a:pt x="51" y="20"/>
                </a:moveTo>
                <a:cubicBezTo>
                  <a:pt x="51" y="80"/>
                  <a:pt x="51" y="80"/>
                  <a:pt x="51" y="80"/>
                </a:cubicBezTo>
                <a:cubicBezTo>
                  <a:pt x="0" y="80"/>
                  <a:pt x="0" y="80"/>
                  <a:pt x="0" y="80"/>
                </a:cubicBezTo>
                <a:cubicBezTo>
                  <a:pt x="0" y="20"/>
                  <a:pt x="0" y="20"/>
                  <a:pt x="0" y="20"/>
                </a:cubicBezTo>
                <a:cubicBezTo>
                  <a:pt x="0" y="9"/>
                  <a:pt x="9" y="0"/>
                  <a:pt x="20" y="0"/>
                </a:cubicBezTo>
                <a:cubicBezTo>
                  <a:pt x="31" y="0"/>
                  <a:pt x="31" y="0"/>
                  <a:pt x="31" y="0"/>
                </a:cubicBezTo>
                <a:cubicBezTo>
                  <a:pt x="43" y="0"/>
                  <a:pt x="51" y="9"/>
                  <a:pt x="51" y="2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46" name="išḻidê">
            <a:extLst>
              <a:ext uri="{FF2B5EF4-FFF2-40B4-BE49-F238E27FC236}">
                <a16:creationId xmlns:a16="http://schemas.microsoft.com/office/drawing/2014/main" id="{B3ABF0E9-709F-4D2B-A5BE-98AF5C09EE57}"/>
              </a:ext>
            </a:extLst>
          </p:cNvPr>
          <p:cNvSpPr>
            <a:spLocks noChangeAspect="1"/>
          </p:cNvSpPr>
          <p:nvPr/>
        </p:nvSpPr>
        <p:spPr bwMode="auto">
          <a:xfrm>
            <a:off x="8961041" y="4810161"/>
            <a:ext cx="204438" cy="204169"/>
          </a:xfrm>
          <a:custGeom>
            <a:avLst/>
            <a:gdLst>
              <a:gd name="connsiteX0" fmla="*/ 86413 w 591547"/>
              <a:gd name="connsiteY0" fmla="*/ 515758 h 590770"/>
              <a:gd name="connsiteX1" fmla="*/ 171919 w 591547"/>
              <a:gd name="connsiteY1" fmla="*/ 515758 h 590770"/>
              <a:gd name="connsiteX2" fmla="*/ 171919 w 591547"/>
              <a:gd name="connsiteY2" fmla="*/ 537523 h 590770"/>
              <a:gd name="connsiteX3" fmla="*/ 86413 w 591547"/>
              <a:gd name="connsiteY3" fmla="*/ 537523 h 590770"/>
              <a:gd name="connsiteX4" fmla="*/ 86413 w 591547"/>
              <a:gd name="connsiteY4" fmla="*/ 461733 h 590770"/>
              <a:gd name="connsiteX5" fmla="*/ 171919 w 591547"/>
              <a:gd name="connsiteY5" fmla="*/ 461733 h 590770"/>
              <a:gd name="connsiteX6" fmla="*/ 171919 w 591547"/>
              <a:gd name="connsiteY6" fmla="*/ 483498 h 590770"/>
              <a:gd name="connsiteX7" fmla="*/ 86413 w 591547"/>
              <a:gd name="connsiteY7" fmla="*/ 483498 h 590770"/>
              <a:gd name="connsiteX8" fmla="*/ 86413 w 591547"/>
              <a:gd name="connsiteY8" fmla="*/ 408616 h 590770"/>
              <a:gd name="connsiteX9" fmla="*/ 171919 w 591547"/>
              <a:gd name="connsiteY9" fmla="*/ 408616 h 590770"/>
              <a:gd name="connsiteX10" fmla="*/ 171919 w 591547"/>
              <a:gd name="connsiteY10" fmla="*/ 429474 h 590770"/>
              <a:gd name="connsiteX11" fmla="*/ 86413 w 591547"/>
              <a:gd name="connsiteY11" fmla="*/ 429474 h 590770"/>
              <a:gd name="connsiteX12" fmla="*/ 204177 w 591547"/>
              <a:gd name="connsiteY12" fmla="*/ 357041 h 590770"/>
              <a:gd name="connsiteX13" fmla="*/ 204177 w 591547"/>
              <a:gd name="connsiteY13" fmla="*/ 569815 h 590770"/>
              <a:gd name="connsiteX14" fmla="*/ 333300 w 591547"/>
              <a:gd name="connsiteY14" fmla="*/ 569815 h 590770"/>
              <a:gd name="connsiteX15" fmla="*/ 333300 w 591547"/>
              <a:gd name="connsiteY15" fmla="*/ 382026 h 590770"/>
              <a:gd name="connsiteX16" fmla="*/ 183194 w 591547"/>
              <a:gd name="connsiteY16" fmla="*/ 357041 h 590770"/>
              <a:gd name="connsiteX17" fmla="*/ 75053 w 591547"/>
              <a:gd name="connsiteY17" fmla="*/ 382026 h 590770"/>
              <a:gd name="connsiteX18" fmla="*/ 75053 w 591547"/>
              <a:gd name="connsiteY18" fmla="*/ 569815 h 590770"/>
              <a:gd name="connsiteX19" fmla="*/ 183194 w 591547"/>
              <a:gd name="connsiteY19" fmla="*/ 569815 h 590770"/>
              <a:gd name="connsiteX20" fmla="*/ 247709 w 591547"/>
              <a:gd name="connsiteY20" fmla="*/ 311838 h 590770"/>
              <a:gd name="connsiteX21" fmla="*/ 322851 w 591547"/>
              <a:gd name="connsiteY21" fmla="*/ 311838 h 590770"/>
              <a:gd name="connsiteX22" fmla="*/ 322851 w 591547"/>
              <a:gd name="connsiteY22" fmla="*/ 332826 h 590770"/>
              <a:gd name="connsiteX23" fmla="*/ 247709 w 591547"/>
              <a:gd name="connsiteY23" fmla="*/ 332826 h 590770"/>
              <a:gd name="connsiteX24" fmla="*/ 247709 w 591547"/>
              <a:gd name="connsiteY24" fmla="*/ 257944 h 590770"/>
              <a:gd name="connsiteX25" fmla="*/ 322851 w 591547"/>
              <a:gd name="connsiteY25" fmla="*/ 257944 h 590770"/>
              <a:gd name="connsiteX26" fmla="*/ 322851 w 591547"/>
              <a:gd name="connsiteY26" fmla="*/ 279580 h 590770"/>
              <a:gd name="connsiteX27" fmla="*/ 247709 w 591547"/>
              <a:gd name="connsiteY27" fmla="*/ 279580 h 590770"/>
              <a:gd name="connsiteX28" fmla="*/ 247709 w 591547"/>
              <a:gd name="connsiteY28" fmla="*/ 203919 h 590770"/>
              <a:gd name="connsiteX29" fmla="*/ 322851 w 591547"/>
              <a:gd name="connsiteY29" fmla="*/ 203919 h 590770"/>
              <a:gd name="connsiteX30" fmla="*/ 322851 w 591547"/>
              <a:gd name="connsiteY30" fmla="*/ 225684 h 590770"/>
              <a:gd name="connsiteX31" fmla="*/ 247709 w 591547"/>
              <a:gd name="connsiteY31" fmla="*/ 225684 h 590770"/>
              <a:gd name="connsiteX32" fmla="*/ 247709 w 591547"/>
              <a:gd name="connsiteY32" fmla="*/ 150672 h 590770"/>
              <a:gd name="connsiteX33" fmla="*/ 322851 w 591547"/>
              <a:gd name="connsiteY33" fmla="*/ 150672 h 590770"/>
              <a:gd name="connsiteX34" fmla="*/ 322851 w 591547"/>
              <a:gd name="connsiteY34" fmla="*/ 171660 h 590770"/>
              <a:gd name="connsiteX35" fmla="*/ 247709 w 591547"/>
              <a:gd name="connsiteY35" fmla="*/ 171660 h 590770"/>
              <a:gd name="connsiteX36" fmla="*/ 355090 w 591547"/>
              <a:gd name="connsiteY36" fmla="*/ 102357 h 590770"/>
              <a:gd name="connsiteX37" fmla="*/ 355090 w 591547"/>
              <a:gd name="connsiteY37" fmla="*/ 373160 h 590770"/>
              <a:gd name="connsiteX38" fmla="*/ 355090 w 591547"/>
              <a:gd name="connsiteY38" fmla="*/ 376384 h 590770"/>
              <a:gd name="connsiteX39" fmla="*/ 355090 w 591547"/>
              <a:gd name="connsiteY39" fmla="*/ 569815 h 590770"/>
              <a:gd name="connsiteX40" fmla="*/ 484213 w 591547"/>
              <a:gd name="connsiteY40" fmla="*/ 569815 h 590770"/>
              <a:gd name="connsiteX41" fmla="*/ 484213 w 591547"/>
              <a:gd name="connsiteY41" fmla="*/ 154744 h 590770"/>
              <a:gd name="connsiteX42" fmla="*/ 333300 w 591547"/>
              <a:gd name="connsiteY42" fmla="*/ 99939 h 590770"/>
              <a:gd name="connsiteX43" fmla="*/ 236458 w 591547"/>
              <a:gd name="connsiteY43" fmla="*/ 125730 h 590770"/>
              <a:gd name="connsiteX44" fmla="*/ 236458 w 591547"/>
              <a:gd name="connsiteY44" fmla="*/ 341728 h 590770"/>
              <a:gd name="connsiteX45" fmla="*/ 333300 w 591547"/>
              <a:gd name="connsiteY45" fmla="*/ 360265 h 590770"/>
              <a:gd name="connsiteX46" fmla="*/ 397862 w 591547"/>
              <a:gd name="connsiteY46" fmla="*/ 21761 h 590770"/>
              <a:gd name="connsiteX47" fmla="*/ 387371 w 591547"/>
              <a:gd name="connsiteY47" fmla="*/ 32238 h 590770"/>
              <a:gd name="connsiteX48" fmla="*/ 397862 w 591547"/>
              <a:gd name="connsiteY48" fmla="*/ 42716 h 590770"/>
              <a:gd name="connsiteX49" fmla="*/ 409160 w 591547"/>
              <a:gd name="connsiteY49" fmla="*/ 32238 h 590770"/>
              <a:gd name="connsiteX50" fmla="*/ 397862 w 591547"/>
              <a:gd name="connsiteY50" fmla="*/ 21761 h 590770"/>
              <a:gd name="connsiteX51" fmla="*/ 397862 w 591547"/>
              <a:gd name="connsiteY51" fmla="*/ 0 h 590770"/>
              <a:gd name="connsiteX52" fmla="*/ 430143 w 591547"/>
              <a:gd name="connsiteY52" fmla="*/ 32238 h 590770"/>
              <a:gd name="connsiteX53" fmla="*/ 409160 w 591547"/>
              <a:gd name="connsiteY53" fmla="*/ 62865 h 590770"/>
              <a:gd name="connsiteX54" fmla="*/ 409160 w 591547"/>
              <a:gd name="connsiteY54" fmla="*/ 100745 h 590770"/>
              <a:gd name="connsiteX55" fmla="*/ 498740 w 591547"/>
              <a:gd name="connsiteY55" fmla="*/ 137819 h 590770"/>
              <a:gd name="connsiteX56" fmla="*/ 506003 w 591547"/>
              <a:gd name="connsiteY56" fmla="*/ 147491 h 590770"/>
              <a:gd name="connsiteX57" fmla="*/ 506003 w 591547"/>
              <a:gd name="connsiteY57" fmla="*/ 569815 h 590770"/>
              <a:gd name="connsiteX58" fmla="*/ 591547 w 591547"/>
              <a:gd name="connsiteY58" fmla="*/ 569815 h 590770"/>
              <a:gd name="connsiteX59" fmla="*/ 591547 w 591547"/>
              <a:gd name="connsiteY59" fmla="*/ 590770 h 590770"/>
              <a:gd name="connsiteX60" fmla="*/ 494705 w 591547"/>
              <a:gd name="connsiteY60" fmla="*/ 590770 h 590770"/>
              <a:gd name="connsiteX61" fmla="*/ 344598 w 591547"/>
              <a:gd name="connsiteY61" fmla="*/ 590770 h 590770"/>
              <a:gd name="connsiteX62" fmla="*/ 193685 w 591547"/>
              <a:gd name="connsiteY62" fmla="*/ 590770 h 590770"/>
              <a:gd name="connsiteX63" fmla="*/ 64562 w 591547"/>
              <a:gd name="connsiteY63" fmla="*/ 590770 h 590770"/>
              <a:gd name="connsiteX64" fmla="*/ 0 w 591547"/>
              <a:gd name="connsiteY64" fmla="*/ 590770 h 590770"/>
              <a:gd name="connsiteX65" fmla="*/ 0 w 591547"/>
              <a:gd name="connsiteY65" fmla="*/ 569815 h 590770"/>
              <a:gd name="connsiteX66" fmla="*/ 54070 w 591547"/>
              <a:gd name="connsiteY66" fmla="*/ 569815 h 590770"/>
              <a:gd name="connsiteX67" fmla="*/ 54070 w 591547"/>
              <a:gd name="connsiteY67" fmla="*/ 373160 h 590770"/>
              <a:gd name="connsiteX68" fmla="*/ 62141 w 591547"/>
              <a:gd name="connsiteY68" fmla="*/ 362683 h 590770"/>
              <a:gd name="connsiteX69" fmla="*/ 191264 w 591547"/>
              <a:gd name="connsiteY69" fmla="*/ 333668 h 590770"/>
              <a:gd name="connsiteX70" fmla="*/ 195299 w 591547"/>
              <a:gd name="connsiteY70" fmla="*/ 333668 h 590770"/>
              <a:gd name="connsiteX71" fmla="*/ 196106 w 591547"/>
              <a:gd name="connsiteY71" fmla="*/ 333668 h 590770"/>
              <a:gd name="connsiteX72" fmla="*/ 215475 w 591547"/>
              <a:gd name="connsiteY72" fmla="*/ 336892 h 590770"/>
              <a:gd name="connsiteX73" fmla="*/ 215475 w 591547"/>
              <a:gd name="connsiteY73" fmla="*/ 116864 h 590770"/>
              <a:gd name="connsiteX74" fmla="*/ 223545 w 591547"/>
              <a:gd name="connsiteY74" fmla="*/ 106387 h 590770"/>
              <a:gd name="connsiteX75" fmla="*/ 341370 w 591547"/>
              <a:gd name="connsiteY75" fmla="*/ 75760 h 590770"/>
              <a:gd name="connsiteX76" fmla="*/ 342984 w 591547"/>
              <a:gd name="connsiteY76" fmla="*/ 75760 h 590770"/>
              <a:gd name="connsiteX77" fmla="*/ 345405 w 591547"/>
              <a:gd name="connsiteY77" fmla="*/ 75760 h 590770"/>
              <a:gd name="connsiteX78" fmla="*/ 347020 w 591547"/>
              <a:gd name="connsiteY78" fmla="*/ 75760 h 590770"/>
              <a:gd name="connsiteX79" fmla="*/ 348634 w 591547"/>
              <a:gd name="connsiteY79" fmla="*/ 75760 h 590770"/>
              <a:gd name="connsiteX80" fmla="*/ 387371 w 591547"/>
              <a:gd name="connsiteY80" fmla="*/ 91879 h 590770"/>
              <a:gd name="connsiteX81" fmla="*/ 387371 w 591547"/>
              <a:gd name="connsiteY81" fmla="*/ 62865 h 590770"/>
              <a:gd name="connsiteX82" fmla="*/ 365581 w 591547"/>
              <a:gd name="connsiteY82" fmla="*/ 32238 h 590770"/>
              <a:gd name="connsiteX83" fmla="*/ 397862 w 591547"/>
              <a:gd name="connsiteY83" fmla="*/ 0 h 5907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</a:cxnLst>
            <a:rect l="l" t="t" r="r" b="b"/>
            <a:pathLst>
              <a:path w="591547" h="590770">
                <a:moveTo>
                  <a:pt x="86413" y="515758"/>
                </a:moveTo>
                <a:lnTo>
                  <a:pt x="171919" y="515758"/>
                </a:lnTo>
                <a:lnTo>
                  <a:pt x="171919" y="537523"/>
                </a:lnTo>
                <a:lnTo>
                  <a:pt x="86413" y="537523"/>
                </a:lnTo>
                <a:close/>
                <a:moveTo>
                  <a:pt x="86413" y="461733"/>
                </a:moveTo>
                <a:lnTo>
                  <a:pt x="171919" y="461733"/>
                </a:lnTo>
                <a:lnTo>
                  <a:pt x="171919" y="483498"/>
                </a:lnTo>
                <a:lnTo>
                  <a:pt x="86413" y="483498"/>
                </a:lnTo>
                <a:close/>
                <a:moveTo>
                  <a:pt x="86413" y="408616"/>
                </a:moveTo>
                <a:lnTo>
                  <a:pt x="171919" y="408616"/>
                </a:lnTo>
                <a:lnTo>
                  <a:pt x="171919" y="429474"/>
                </a:lnTo>
                <a:lnTo>
                  <a:pt x="86413" y="429474"/>
                </a:lnTo>
                <a:close/>
                <a:moveTo>
                  <a:pt x="204177" y="357041"/>
                </a:moveTo>
                <a:lnTo>
                  <a:pt x="204177" y="569815"/>
                </a:lnTo>
                <a:lnTo>
                  <a:pt x="333300" y="569815"/>
                </a:lnTo>
                <a:lnTo>
                  <a:pt x="333300" y="382026"/>
                </a:lnTo>
                <a:close/>
                <a:moveTo>
                  <a:pt x="183194" y="357041"/>
                </a:moveTo>
                <a:lnTo>
                  <a:pt x="75053" y="382026"/>
                </a:lnTo>
                <a:lnTo>
                  <a:pt x="75053" y="569815"/>
                </a:lnTo>
                <a:lnTo>
                  <a:pt x="183194" y="569815"/>
                </a:lnTo>
                <a:close/>
                <a:moveTo>
                  <a:pt x="247709" y="311838"/>
                </a:moveTo>
                <a:lnTo>
                  <a:pt x="322851" y="311838"/>
                </a:lnTo>
                <a:lnTo>
                  <a:pt x="322851" y="332826"/>
                </a:lnTo>
                <a:lnTo>
                  <a:pt x="247709" y="332826"/>
                </a:lnTo>
                <a:close/>
                <a:moveTo>
                  <a:pt x="247709" y="257944"/>
                </a:moveTo>
                <a:lnTo>
                  <a:pt x="322851" y="257944"/>
                </a:lnTo>
                <a:lnTo>
                  <a:pt x="322851" y="279580"/>
                </a:lnTo>
                <a:lnTo>
                  <a:pt x="247709" y="279580"/>
                </a:lnTo>
                <a:close/>
                <a:moveTo>
                  <a:pt x="247709" y="203919"/>
                </a:moveTo>
                <a:lnTo>
                  <a:pt x="322851" y="203919"/>
                </a:lnTo>
                <a:lnTo>
                  <a:pt x="322851" y="225684"/>
                </a:lnTo>
                <a:lnTo>
                  <a:pt x="247709" y="225684"/>
                </a:lnTo>
                <a:close/>
                <a:moveTo>
                  <a:pt x="247709" y="150672"/>
                </a:moveTo>
                <a:lnTo>
                  <a:pt x="322851" y="150672"/>
                </a:lnTo>
                <a:lnTo>
                  <a:pt x="322851" y="171660"/>
                </a:lnTo>
                <a:lnTo>
                  <a:pt x="247709" y="171660"/>
                </a:lnTo>
                <a:close/>
                <a:moveTo>
                  <a:pt x="355090" y="102357"/>
                </a:moveTo>
                <a:lnTo>
                  <a:pt x="355090" y="373160"/>
                </a:lnTo>
                <a:lnTo>
                  <a:pt x="355090" y="376384"/>
                </a:lnTo>
                <a:lnTo>
                  <a:pt x="355090" y="569815"/>
                </a:lnTo>
                <a:lnTo>
                  <a:pt x="484213" y="569815"/>
                </a:lnTo>
                <a:lnTo>
                  <a:pt x="484213" y="154744"/>
                </a:lnTo>
                <a:close/>
                <a:moveTo>
                  <a:pt x="333300" y="99939"/>
                </a:moveTo>
                <a:lnTo>
                  <a:pt x="236458" y="125730"/>
                </a:lnTo>
                <a:lnTo>
                  <a:pt x="236458" y="341728"/>
                </a:lnTo>
                <a:lnTo>
                  <a:pt x="333300" y="360265"/>
                </a:lnTo>
                <a:close/>
                <a:moveTo>
                  <a:pt x="397862" y="21761"/>
                </a:moveTo>
                <a:cubicBezTo>
                  <a:pt x="392213" y="21761"/>
                  <a:pt x="387371" y="26596"/>
                  <a:pt x="387371" y="32238"/>
                </a:cubicBezTo>
                <a:cubicBezTo>
                  <a:pt x="387371" y="37880"/>
                  <a:pt x="392213" y="42716"/>
                  <a:pt x="397862" y="42716"/>
                </a:cubicBezTo>
                <a:cubicBezTo>
                  <a:pt x="404318" y="42716"/>
                  <a:pt x="409160" y="37880"/>
                  <a:pt x="409160" y="32238"/>
                </a:cubicBezTo>
                <a:cubicBezTo>
                  <a:pt x="409160" y="26596"/>
                  <a:pt x="404318" y="21761"/>
                  <a:pt x="397862" y="21761"/>
                </a:cubicBezTo>
                <a:close/>
                <a:moveTo>
                  <a:pt x="397862" y="0"/>
                </a:moveTo>
                <a:cubicBezTo>
                  <a:pt x="415616" y="0"/>
                  <a:pt x="430143" y="14507"/>
                  <a:pt x="430143" y="32238"/>
                </a:cubicBezTo>
                <a:cubicBezTo>
                  <a:pt x="430143" y="45940"/>
                  <a:pt x="421266" y="58029"/>
                  <a:pt x="409160" y="62865"/>
                </a:cubicBezTo>
                <a:lnTo>
                  <a:pt x="409160" y="100745"/>
                </a:lnTo>
                <a:lnTo>
                  <a:pt x="498740" y="137819"/>
                </a:lnTo>
                <a:cubicBezTo>
                  <a:pt x="502775" y="139431"/>
                  <a:pt x="506003" y="143461"/>
                  <a:pt x="506003" y="147491"/>
                </a:cubicBezTo>
                <a:lnTo>
                  <a:pt x="506003" y="569815"/>
                </a:lnTo>
                <a:lnTo>
                  <a:pt x="591547" y="569815"/>
                </a:lnTo>
                <a:lnTo>
                  <a:pt x="591547" y="590770"/>
                </a:lnTo>
                <a:lnTo>
                  <a:pt x="494705" y="590770"/>
                </a:lnTo>
                <a:lnTo>
                  <a:pt x="344598" y="590770"/>
                </a:lnTo>
                <a:lnTo>
                  <a:pt x="193685" y="590770"/>
                </a:lnTo>
                <a:lnTo>
                  <a:pt x="64562" y="590770"/>
                </a:lnTo>
                <a:lnTo>
                  <a:pt x="0" y="590770"/>
                </a:lnTo>
                <a:lnTo>
                  <a:pt x="0" y="569815"/>
                </a:lnTo>
                <a:lnTo>
                  <a:pt x="54070" y="569815"/>
                </a:lnTo>
                <a:lnTo>
                  <a:pt x="54070" y="373160"/>
                </a:lnTo>
                <a:cubicBezTo>
                  <a:pt x="54070" y="368324"/>
                  <a:pt x="57298" y="364294"/>
                  <a:pt x="62141" y="362683"/>
                </a:cubicBezTo>
                <a:lnTo>
                  <a:pt x="191264" y="333668"/>
                </a:lnTo>
                <a:cubicBezTo>
                  <a:pt x="192878" y="332862"/>
                  <a:pt x="194492" y="332862"/>
                  <a:pt x="195299" y="333668"/>
                </a:cubicBezTo>
                <a:cubicBezTo>
                  <a:pt x="196106" y="333668"/>
                  <a:pt x="196106" y="333668"/>
                  <a:pt x="196106" y="333668"/>
                </a:cubicBezTo>
                <a:lnTo>
                  <a:pt x="215475" y="336892"/>
                </a:lnTo>
                <a:lnTo>
                  <a:pt x="215475" y="116864"/>
                </a:lnTo>
                <a:cubicBezTo>
                  <a:pt x="215475" y="112028"/>
                  <a:pt x="218703" y="107999"/>
                  <a:pt x="223545" y="106387"/>
                </a:cubicBezTo>
                <a:lnTo>
                  <a:pt x="341370" y="75760"/>
                </a:lnTo>
                <a:cubicBezTo>
                  <a:pt x="342177" y="75760"/>
                  <a:pt x="342177" y="75760"/>
                  <a:pt x="342984" y="75760"/>
                </a:cubicBezTo>
                <a:cubicBezTo>
                  <a:pt x="343791" y="75760"/>
                  <a:pt x="344598" y="74954"/>
                  <a:pt x="345405" y="75760"/>
                </a:cubicBezTo>
                <a:cubicBezTo>
                  <a:pt x="346213" y="75760"/>
                  <a:pt x="347020" y="75760"/>
                  <a:pt x="347020" y="75760"/>
                </a:cubicBezTo>
                <a:cubicBezTo>
                  <a:pt x="347827" y="75760"/>
                  <a:pt x="347827" y="75760"/>
                  <a:pt x="348634" y="75760"/>
                </a:cubicBezTo>
                <a:lnTo>
                  <a:pt x="387371" y="91879"/>
                </a:lnTo>
                <a:lnTo>
                  <a:pt x="387371" y="62865"/>
                </a:lnTo>
                <a:cubicBezTo>
                  <a:pt x="375265" y="58029"/>
                  <a:pt x="365581" y="45940"/>
                  <a:pt x="365581" y="32238"/>
                </a:cubicBezTo>
                <a:cubicBezTo>
                  <a:pt x="365581" y="14507"/>
                  <a:pt x="380107" y="0"/>
                  <a:pt x="397862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36" name="îṩľiḋé">
            <a:extLst>
              <a:ext uri="{FF2B5EF4-FFF2-40B4-BE49-F238E27FC236}">
                <a16:creationId xmlns:a16="http://schemas.microsoft.com/office/drawing/2014/main" id="{7380AB07-1CAD-4AEB-9CCB-19368652C213}"/>
              </a:ext>
            </a:extLst>
          </p:cNvPr>
          <p:cNvSpPr>
            <a:spLocks/>
          </p:cNvSpPr>
          <p:nvPr/>
        </p:nvSpPr>
        <p:spPr bwMode="auto">
          <a:xfrm>
            <a:off x="9540706" y="4414551"/>
            <a:ext cx="644109" cy="837283"/>
          </a:xfrm>
          <a:custGeom>
            <a:avLst/>
            <a:gdLst>
              <a:gd name="T0" fmla="*/ 464 w 464"/>
              <a:gd name="T1" fmla="*/ 586 h 603"/>
              <a:gd name="T2" fmla="*/ 446 w 464"/>
              <a:gd name="T3" fmla="*/ 603 h 603"/>
              <a:gd name="T4" fmla="*/ 18 w 464"/>
              <a:gd name="T5" fmla="*/ 603 h 603"/>
              <a:gd name="T6" fmla="*/ 0 w 464"/>
              <a:gd name="T7" fmla="*/ 586 h 603"/>
              <a:gd name="T8" fmla="*/ 0 w 464"/>
              <a:gd name="T9" fmla="*/ 18 h 603"/>
              <a:gd name="T10" fmla="*/ 18 w 464"/>
              <a:gd name="T11" fmla="*/ 0 h 603"/>
              <a:gd name="T12" fmla="*/ 446 w 464"/>
              <a:gd name="T13" fmla="*/ 0 h 603"/>
              <a:gd name="T14" fmla="*/ 464 w 464"/>
              <a:gd name="T15" fmla="*/ 18 h 603"/>
              <a:gd name="T16" fmla="*/ 464 w 464"/>
              <a:gd name="T17" fmla="*/ 586 h 6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64" h="603">
                <a:moveTo>
                  <a:pt x="464" y="586"/>
                </a:moveTo>
                <a:cubicBezTo>
                  <a:pt x="464" y="596"/>
                  <a:pt x="456" y="603"/>
                  <a:pt x="446" y="603"/>
                </a:cubicBezTo>
                <a:cubicBezTo>
                  <a:pt x="18" y="603"/>
                  <a:pt x="18" y="603"/>
                  <a:pt x="18" y="603"/>
                </a:cubicBezTo>
                <a:cubicBezTo>
                  <a:pt x="8" y="603"/>
                  <a:pt x="0" y="596"/>
                  <a:pt x="0" y="586"/>
                </a:cubicBezTo>
                <a:cubicBezTo>
                  <a:pt x="0" y="18"/>
                  <a:pt x="0" y="18"/>
                  <a:pt x="0" y="18"/>
                </a:cubicBezTo>
                <a:cubicBezTo>
                  <a:pt x="0" y="8"/>
                  <a:pt x="8" y="0"/>
                  <a:pt x="18" y="0"/>
                </a:cubicBezTo>
                <a:cubicBezTo>
                  <a:pt x="446" y="0"/>
                  <a:pt x="446" y="0"/>
                  <a:pt x="446" y="0"/>
                </a:cubicBezTo>
                <a:cubicBezTo>
                  <a:pt x="456" y="0"/>
                  <a:pt x="464" y="8"/>
                  <a:pt x="464" y="18"/>
                </a:cubicBezTo>
                <a:lnTo>
                  <a:pt x="464" y="586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37" name="îSlíḓé">
            <a:extLst>
              <a:ext uri="{FF2B5EF4-FFF2-40B4-BE49-F238E27FC236}">
                <a16:creationId xmlns:a16="http://schemas.microsoft.com/office/drawing/2014/main" id="{AB1B0BE7-14DD-41AF-AA20-92CC9109D302}"/>
              </a:ext>
            </a:extLst>
          </p:cNvPr>
          <p:cNvSpPr>
            <a:spLocks/>
          </p:cNvSpPr>
          <p:nvPr/>
        </p:nvSpPr>
        <p:spPr bwMode="auto">
          <a:xfrm>
            <a:off x="9563018" y="4442735"/>
            <a:ext cx="599485" cy="740989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38" name="íş1ïde">
            <a:extLst>
              <a:ext uri="{FF2B5EF4-FFF2-40B4-BE49-F238E27FC236}">
                <a16:creationId xmlns:a16="http://schemas.microsoft.com/office/drawing/2014/main" id="{03250E56-D8F3-451D-B6CC-70781184BB59}"/>
              </a:ext>
            </a:extLst>
          </p:cNvPr>
          <p:cNvSpPr>
            <a:spLocks/>
          </p:cNvSpPr>
          <p:nvPr/>
        </p:nvSpPr>
        <p:spPr bwMode="auto">
          <a:xfrm>
            <a:off x="9841916" y="5194880"/>
            <a:ext cx="41688" cy="41688"/>
          </a:xfrm>
          <a:prstGeom prst="ellipse">
            <a:avLst/>
          </a:prstGeom>
          <a:solidFill>
            <a:srgbClr val="F2F2F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39" name="íṡļîḑé">
            <a:extLst>
              <a:ext uri="{FF2B5EF4-FFF2-40B4-BE49-F238E27FC236}">
                <a16:creationId xmlns:a16="http://schemas.microsoft.com/office/drawing/2014/main" id="{70E0B302-DA37-4647-89C2-6299C51288D6}"/>
              </a:ext>
            </a:extLst>
          </p:cNvPr>
          <p:cNvSpPr>
            <a:spLocks/>
          </p:cNvSpPr>
          <p:nvPr/>
        </p:nvSpPr>
        <p:spPr bwMode="auto">
          <a:xfrm>
            <a:off x="9631128" y="4303580"/>
            <a:ext cx="71633" cy="110972"/>
          </a:xfrm>
          <a:custGeom>
            <a:avLst/>
            <a:gdLst>
              <a:gd name="T0" fmla="*/ 52 w 52"/>
              <a:gd name="T1" fmla="*/ 20 h 80"/>
              <a:gd name="T2" fmla="*/ 52 w 52"/>
              <a:gd name="T3" fmla="*/ 80 h 80"/>
              <a:gd name="T4" fmla="*/ 0 w 52"/>
              <a:gd name="T5" fmla="*/ 80 h 80"/>
              <a:gd name="T6" fmla="*/ 0 w 52"/>
              <a:gd name="T7" fmla="*/ 20 h 80"/>
              <a:gd name="T8" fmla="*/ 20 w 52"/>
              <a:gd name="T9" fmla="*/ 0 h 80"/>
              <a:gd name="T10" fmla="*/ 32 w 52"/>
              <a:gd name="T11" fmla="*/ 0 h 80"/>
              <a:gd name="T12" fmla="*/ 52 w 52"/>
              <a:gd name="T13" fmla="*/ 20 h 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2" h="80">
                <a:moveTo>
                  <a:pt x="52" y="20"/>
                </a:moveTo>
                <a:cubicBezTo>
                  <a:pt x="52" y="80"/>
                  <a:pt x="52" y="80"/>
                  <a:pt x="52" y="80"/>
                </a:cubicBezTo>
                <a:cubicBezTo>
                  <a:pt x="0" y="80"/>
                  <a:pt x="0" y="80"/>
                  <a:pt x="0" y="80"/>
                </a:cubicBezTo>
                <a:cubicBezTo>
                  <a:pt x="0" y="20"/>
                  <a:pt x="0" y="20"/>
                  <a:pt x="0" y="20"/>
                </a:cubicBezTo>
                <a:cubicBezTo>
                  <a:pt x="0" y="9"/>
                  <a:pt x="9" y="0"/>
                  <a:pt x="20" y="0"/>
                </a:cubicBezTo>
                <a:cubicBezTo>
                  <a:pt x="32" y="0"/>
                  <a:pt x="32" y="0"/>
                  <a:pt x="32" y="0"/>
                </a:cubicBezTo>
                <a:cubicBezTo>
                  <a:pt x="43" y="0"/>
                  <a:pt x="52" y="9"/>
                  <a:pt x="52" y="2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40" name="íSļíḓe">
            <a:extLst>
              <a:ext uri="{FF2B5EF4-FFF2-40B4-BE49-F238E27FC236}">
                <a16:creationId xmlns:a16="http://schemas.microsoft.com/office/drawing/2014/main" id="{4D6DF6C7-58A1-4074-96C0-686A6655D372}"/>
              </a:ext>
            </a:extLst>
          </p:cNvPr>
          <p:cNvSpPr>
            <a:spLocks noChangeAspect="1"/>
          </p:cNvSpPr>
          <p:nvPr/>
        </p:nvSpPr>
        <p:spPr bwMode="auto">
          <a:xfrm>
            <a:off x="9709860" y="4660919"/>
            <a:ext cx="268592" cy="268186"/>
          </a:xfrm>
          <a:custGeom>
            <a:avLst/>
            <a:gdLst>
              <a:gd name="T0" fmla="*/ 6827 w 6827"/>
              <a:gd name="T1" fmla="*/ 910 h 6827"/>
              <a:gd name="T2" fmla="*/ 5916 w 6827"/>
              <a:gd name="T3" fmla="*/ 0 h 6827"/>
              <a:gd name="T4" fmla="*/ 5006 w 6827"/>
              <a:gd name="T5" fmla="*/ 910 h 6827"/>
              <a:gd name="T6" fmla="*/ 5796 w 6827"/>
              <a:gd name="T7" fmla="*/ 1812 h 6827"/>
              <a:gd name="T8" fmla="*/ 4892 w 6827"/>
              <a:gd name="T9" fmla="*/ 2617 h 6827"/>
              <a:gd name="T10" fmla="*/ 1934 w 6827"/>
              <a:gd name="T11" fmla="*/ 2617 h 6827"/>
              <a:gd name="T12" fmla="*/ 796 w 6827"/>
              <a:gd name="T13" fmla="*/ 3755 h 6827"/>
              <a:gd name="T14" fmla="*/ 796 w 6827"/>
              <a:gd name="T15" fmla="*/ 5014 h 6827"/>
              <a:gd name="T16" fmla="*/ 0 w 6827"/>
              <a:gd name="T17" fmla="*/ 5916 h 6827"/>
              <a:gd name="T18" fmla="*/ 910 w 6827"/>
              <a:gd name="T19" fmla="*/ 6827 h 6827"/>
              <a:gd name="T20" fmla="*/ 1820 w 6827"/>
              <a:gd name="T21" fmla="*/ 5916 h 6827"/>
              <a:gd name="T22" fmla="*/ 1024 w 6827"/>
              <a:gd name="T23" fmla="*/ 5014 h 6827"/>
              <a:gd name="T24" fmla="*/ 1024 w 6827"/>
              <a:gd name="T25" fmla="*/ 3755 h 6827"/>
              <a:gd name="T26" fmla="*/ 1934 w 6827"/>
              <a:gd name="T27" fmla="*/ 2844 h 6827"/>
              <a:gd name="T28" fmla="*/ 3757 w 6827"/>
              <a:gd name="T29" fmla="*/ 2844 h 6827"/>
              <a:gd name="T30" fmla="*/ 3300 w 6827"/>
              <a:gd name="T31" fmla="*/ 3755 h 6827"/>
              <a:gd name="T32" fmla="*/ 3300 w 6827"/>
              <a:gd name="T33" fmla="*/ 5014 h 6827"/>
              <a:gd name="T34" fmla="*/ 2503 w 6827"/>
              <a:gd name="T35" fmla="*/ 5916 h 6827"/>
              <a:gd name="T36" fmla="*/ 3413 w 6827"/>
              <a:gd name="T37" fmla="*/ 6827 h 6827"/>
              <a:gd name="T38" fmla="*/ 4324 w 6827"/>
              <a:gd name="T39" fmla="*/ 5916 h 6827"/>
              <a:gd name="T40" fmla="*/ 3527 w 6827"/>
              <a:gd name="T41" fmla="*/ 5014 h 6827"/>
              <a:gd name="T42" fmla="*/ 3527 w 6827"/>
              <a:gd name="T43" fmla="*/ 3755 h 6827"/>
              <a:gd name="T44" fmla="*/ 4437 w 6827"/>
              <a:gd name="T45" fmla="*/ 2844 h 6827"/>
              <a:gd name="T46" fmla="*/ 4892 w 6827"/>
              <a:gd name="T47" fmla="*/ 2844 h 6827"/>
              <a:gd name="T48" fmla="*/ 6025 w 6827"/>
              <a:gd name="T49" fmla="*/ 1814 h 6827"/>
              <a:gd name="T50" fmla="*/ 6827 w 6827"/>
              <a:gd name="T51" fmla="*/ 910 h 6827"/>
              <a:gd name="T52" fmla="*/ 1593 w 6827"/>
              <a:gd name="T53" fmla="*/ 5916 h 6827"/>
              <a:gd name="T54" fmla="*/ 910 w 6827"/>
              <a:gd name="T55" fmla="*/ 6599 h 6827"/>
              <a:gd name="T56" fmla="*/ 228 w 6827"/>
              <a:gd name="T57" fmla="*/ 5916 h 6827"/>
              <a:gd name="T58" fmla="*/ 910 w 6827"/>
              <a:gd name="T59" fmla="*/ 5234 h 6827"/>
              <a:gd name="T60" fmla="*/ 1593 w 6827"/>
              <a:gd name="T61" fmla="*/ 5916 h 6827"/>
              <a:gd name="T62" fmla="*/ 4096 w 6827"/>
              <a:gd name="T63" fmla="*/ 5916 h 6827"/>
              <a:gd name="T64" fmla="*/ 3413 w 6827"/>
              <a:gd name="T65" fmla="*/ 6599 h 6827"/>
              <a:gd name="T66" fmla="*/ 2731 w 6827"/>
              <a:gd name="T67" fmla="*/ 5916 h 6827"/>
              <a:gd name="T68" fmla="*/ 3413 w 6827"/>
              <a:gd name="T69" fmla="*/ 5234 h 6827"/>
              <a:gd name="T70" fmla="*/ 4096 w 6827"/>
              <a:gd name="T71" fmla="*/ 5916 h 6827"/>
              <a:gd name="T72" fmla="*/ 5916 w 6827"/>
              <a:gd name="T73" fmla="*/ 1593 h 6827"/>
              <a:gd name="T74" fmla="*/ 5234 w 6827"/>
              <a:gd name="T75" fmla="*/ 910 h 6827"/>
              <a:gd name="T76" fmla="*/ 5916 w 6827"/>
              <a:gd name="T77" fmla="*/ 228 h 6827"/>
              <a:gd name="T78" fmla="*/ 6599 w 6827"/>
              <a:gd name="T79" fmla="*/ 910 h 6827"/>
              <a:gd name="T80" fmla="*/ 5916 w 6827"/>
              <a:gd name="T81" fmla="*/ 1593 h 68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6827" h="6827">
                <a:moveTo>
                  <a:pt x="6827" y="910"/>
                </a:moveTo>
                <a:cubicBezTo>
                  <a:pt x="6827" y="410"/>
                  <a:pt x="6417" y="0"/>
                  <a:pt x="5916" y="0"/>
                </a:cubicBezTo>
                <a:cubicBezTo>
                  <a:pt x="5416" y="0"/>
                  <a:pt x="5006" y="410"/>
                  <a:pt x="5006" y="910"/>
                </a:cubicBezTo>
                <a:cubicBezTo>
                  <a:pt x="5006" y="1370"/>
                  <a:pt x="5352" y="1753"/>
                  <a:pt x="5796" y="1812"/>
                </a:cubicBezTo>
                <a:cubicBezTo>
                  <a:pt x="5744" y="2264"/>
                  <a:pt x="5357" y="2617"/>
                  <a:pt x="4892" y="2617"/>
                </a:cubicBezTo>
                <a:lnTo>
                  <a:pt x="1934" y="2617"/>
                </a:lnTo>
                <a:cubicBezTo>
                  <a:pt x="1308" y="2617"/>
                  <a:pt x="796" y="3129"/>
                  <a:pt x="796" y="3755"/>
                </a:cubicBezTo>
                <a:lnTo>
                  <a:pt x="796" y="5014"/>
                </a:lnTo>
                <a:cubicBezTo>
                  <a:pt x="349" y="5070"/>
                  <a:pt x="0" y="5454"/>
                  <a:pt x="0" y="5916"/>
                </a:cubicBezTo>
                <a:cubicBezTo>
                  <a:pt x="0" y="6417"/>
                  <a:pt x="410" y="6827"/>
                  <a:pt x="910" y="6827"/>
                </a:cubicBezTo>
                <a:cubicBezTo>
                  <a:pt x="1411" y="6827"/>
                  <a:pt x="1820" y="6417"/>
                  <a:pt x="1820" y="5916"/>
                </a:cubicBezTo>
                <a:cubicBezTo>
                  <a:pt x="1820" y="5454"/>
                  <a:pt x="1471" y="5070"/>
                  <a:pt x="1024" y="5014"/>
                </a:cubicBezTo>
                <a:lnTo>
                  <a:pt x="1024" y="3755"/>
                </a:lnTo>
                <a:cubicBezTo>
                  <a:pt x="1024" y="3254"/>
                  <a:pt x="1434" y="2844"/>
                  <a:pt x="1934" y="2844"/>
                </a:cubicBezTo>
                <a:lnTo>
                  <a:pt x="3757" y="2844"/>
                </a:lnTo>
                <a:cubicBezTo>
                  <a:pt x="3480" y="3052"/>
                  <a:pt x="3300" y="3384"/>
                  <a:pt x="3300" y="3755"/>
                </a:cubicBezTo>
                <a:lnTo>
                  <a:pt x="3300" y="5014"/>
                </a:lnTo>
                <a:cubicBezTo>
                  <a:pt x="2852" y="5070"/>
                  <a:pt x="2503" y="5454"/>
                  <a:pt x="2503" y="5916"/>
                </a:cubicBezTo>
                <a:cubicBezTo>
                  <a:pt x="2503" y="6417"/>
                  <a:pt x="2913" y="6827"/>
                  <a:pt x="3413" y="6827"/>
                </a:cubicBezTo>
                <a:cubicBezTo>
                  <a:pt x="3914" y="6827"/>
                  <a:pt x="4324" y="6417"/>
                  <a:pt x="4324" y="5916"/>
                </a:cubicBezTo>
                <a:cubicBezTo>
                  <a:pt x="4324" y="5454"/>
                  <a:pt x="3975" y="5070"/>
                  <a:pt x="3527" y="5014"/>
                </a:cubicBezTo>
                <a:lnTo>
                  <a:pt x="3527" y="3755"/>
                </a:lnTo>
                <a:cubicBezTo>
                  <a:pt x="3527" y="3254"/>
                  <a:pt x="3937" y="2844"/>
                  <a:pt x="4437" y="2844"/>
                </a:cubicBezTo>
                <a:lnTo>
                  <a:pt x="4892" y="2844"/>
                </a:lnTo>
                <a:cubicBezTo>
                  <a:pt x="5482" y="2844"/>
                  <a:pt x="5971" y="2390"/>
                  <a:pt x="6025" y="1814"/>
                </a:cubicBezTo>
                <a:cubicBezTo>
                  <a:pt x="6475" y="1760"/>
                  <a:pt x="6827" y="1374"/>
                  <a:pt x="6827" y="910"/>
                </a:cubicBezTo>
                <a:close/>
                <a:moveTo>
                  <a:pt x="1593" y="5916"/>
                </a:moveTo>
                <a:cubicBezTo>
                  <a:pt x="1593" y="6292"/>
                  <a:pt x="1286" y="6599"/>
                  <a:pt x="910" y="6599"/>
                </a:cubicBezTo>
                <a:cubicBezTo>
                  <a:pt x="535" y="6599"/>
                  <a:pt x="228" y="6292"/>
                  <a:pt x="228" y="5916"/>
                </a:cubicBezTo>
                <a:cubicBezTo>
                  <a:pt x="228" y="5541"/>
                  <a:pt x="535" y="5234"/>
                  <a:pt x="910" y="5234"/>
                </a:cubicBezTo>
                <a:cubicBezTo>
                  <a:pt x="1286" y="5234"/>
                  <a:pt x="1593" y="5541"/>
                  <a:pt x="1593" y="5916"/>
                </a:cubicBezTo>
                <a:close/>
                <a:moveTo>
                  <a:pt x="4096" y="5916"/>
                </a:moveTo>
                <a:cubicBezTo>
                  <a:pt x="4096" y="6292"/>
                  <a:pt x="3789" y="6599"/>
                  <a:pt x="3413" y="6599"/>
                </a:cubicBezTo>
                <a:cubicBezTo>
                  <a:pt x="3038" y="6599"/>
                  <a:pt x="2731" y="6292"/>
                  <a:pt x="2731" y="5916"/>
                </a:cubicBezTo>
                <a:cubicBezTo>
                  <a:pt x="2731" y="5541"/>
                  <a:pt x="3038" y="5234"/>
                  <a:pt x="3413" y="5234"/>
                </a:cubicBezTo>
                <a:cubicBezTo>
                  <a:pt x="3789" y="5234"/>
                  <a:pt x="4096" y="5541"/>
                  <a:pt x="4096" y="5916"/>
                </a:cubicBezTo>
                <a:close/>
                <a:moveTo>
                  <a:pt x="5916" y="1593"/>
                </a:moveTo>
                <a:cubicBezTo>
                  <a:pt x="5541" y="1593"/>
                  <a:pt x="5234" y="1286"/>
                  <a:pt x="5234" y="910"/>
                </a:cubicBezTo>
                <a:cubicBezTo>
                  <a:pt x="5234" y="535"/>
                  <a:pt x="5541" y="228"/>
                  <a:pt x="5916" y="228"/>
                </a:cubicBezTo>
                <a:cubicBezTo>
                  <a:pt x="6292" y="228"/>
                  <a:pt x="6599" y="535"/>
                  <a:pt x="6599" y="910"/>
                </a:cubicBezTo>
                <a:cubicBezTo>
                  <a:pt x="6599" y="1286"/>
                  <a:pt x="6292" y="1593"/>
                  <a:pt x="5916" y="159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/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zh-CN" altLang="en-US"/>
          </a:p>
        </p:txBody>
      </p:sp>
      <p:sp>
        <p:nvSpPr>
          <p:cNvPr id="29" name="îṧlíḋè">
            <a:extLst>
              <a:ext uri="{FF2B5EF4-FFF2-40B4-BE49-F238E27FC236}">
                <a16:creationId xmlns:a16="http://schemas.microsoft.com/office/drawing/2014/main" id="{B9D7F0B4-A84B-4677-B494-7FB384B2578B}"/>
              </a:ext>
            </a:extLst>
          </p:cNvPr>
          <p:cNvSpPr>
            <a:spLocks/>
          </p:cNvSpPr>
          <p:nvPr/>
        </p:nvSpPr>
        <p:spPr bwMode="auto">
          <a:xfrm>
            <a:off x="10831858" y="4932422"/>
            <a:ext cx="221944" cy="16381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30" name="íŝḷîḓè">
            <a:extLst>
              <a:ext uri="{FF2B5EF4-FFF2-40B4-BE49-F238E27FC236}">
                <a16:creationId xmlns:a16="http://schemas.microsoft.com/office/drawing/2014/main" id="{C81A17E6-BC9E-4F2D-B8E1-4665918B8B37}"/>
              </a:ext>
            </a:extLst>
          </p:cNvPr>
          <p:cNvSpPr>
            <a:spLocks/>
          </p:cNvSpPr>
          <p:nvPr/>
        </p:nvSpPr>
        <p:spPr bwMode="auto">
          <a:xfrm>
            <a:off x="10372115" y="4123323"/>
            <a:ext cx="1142603" cy="834347"/>
          </a:xfrm>
          <a:custGeom>
            <a:avLst/>
            <a:gdLst>
              <a:gd name="T0" fmla="*/ 823 w 823"/>
              <a:gd name="T1" fmla="*/ 596 h 601"/>
              <a:gd name="T2" fmla="*/ 817 w 823"/>
              <a:gd name="T3" fmla="*/ 601 h 601"/>
              <a:gd name="T4" fmla="*/ 5 w 823"/>
              <a:gd name="T5" fmla="*/ 601 h 601"/>
              <a:gd name="T6" fmla="*/ 0 w 823"/>
              <a:gd name="T7" fmla="*/ 596 h 601"/>
              <a:gd name="T8" fmla="*/ 0 w 823"/>
              <a:gd name="T9" fmla="*/ 5 h 601"/>
              <a:gd name="T10" fmla="*/ 5 w 823"/>
              <a:gd name="T11" fmla="*/ 0 h 601"/>
              <a:gd name="T12" fmla="*/ 817 w 823"/>
              <a:gd name="T13" fmla="*/ 0 h 601"/>
              <a:gd name="T14" fmla="*/ 823 w 823"/>
              <a:gd name="T15" fmla="*/ 5 h 601"/>
              <a:gd name="T16" fmla="*/ 823 w 823"/>
              <a:gd name="T17" fmla="*/ 596 h 6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823" h="601">
                <a:moveTo>
                  <a:pt x="823" y="596"/>
                </a:moveTo>
                <a:cubicBezTo>
                  <a:pt x="823" y="599"/>
                  <a:pt x="820" y="601"/>
                  <a:pt x="817" y="601"/>
                </a:cubicBezTo>
                <a:cubicBezTo>
                  <a:pt x="5" y="601"/>
                  <a:pt x="5" y="601"/>
                  <a:pt x="5" y="601"/>
                </a:cubicBezTo>
                <a:cubicBezTo>
                  <a:pt x="3" y="601"/>
                  <a:pt x="0" y="599"/>
                  <a:pt x="0" y="596"/>
                </a:cubicBezTo>
                <a:cubicBezTo>
                  <a:pt x="0" y="5"/>
                  <a:pt x="0" y="5"/>
                  <a:pt x="0" y="5"/>
                </a:cubicBezTo>
                <a:cubicBezTo>
                  <a:pt x="0" y="2"/>
                  <a:pt x="3" y="0"/>
                  <a:pt x="5" y="0"/>
                </a:cubicBezTo>
                <a:cubicBezTo>
                  <a:pt x="817" y="0"/>
                  <a:pt x="817" y="0"/>
                  <a:pt x="817" y="0"/>
                </a:cubicBezTo>
                <a:cubicBezTo>
                  <a:pt x="820" y="0"/>
                  <a:pt x="823" y="2"/>
                  <a:pt x="823" y="5"/>
                </a:cubicBezTo>
                <a:lnTo>
                  <a:pt x="823" y="59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31" name="iṧ1ïḋe">
            <a:extLst>
              <a:ext uri="{FF2B5EF4-FFF2-40B4-BE49-F238E27FC236}">
                <a16:creationId xmlns:a16="http://schemas.microsoft.com/office/drawing/2014/main" id="{2636FAD3-2F63-40E5-9A74-E2367F1170E6}"/>
              </a:ext>
            </a:extLst>
          </p:cNvPr>
          <p:cNvSpPr>
            <a:spLocks/>
          </p:cNvSpPr>
          <p:nvPr/>
        </p:nvSpPr>
        <p:spPr bwMode="auto">
          <a:xfrm>
            <a:off x="10372115" y="4816165"/>
            <a:ext cx="1142603" cy="141504"/>
          </a:xfrm>
          <a:custGeom>
            <a:avLst/>
            <a:gdLst>
              <a:gd name="T0" fmla="*/ 0 w 823"/>
              <a:gd name="T1" fmla="*/ 0 h 102"/>
              <a:gd name="T2" fmla="*/ 0 w 823"/>
              <a:gd name="T3" fmla="*/ 97 h 102"/>
              <a:gd name="T4" fmla="*/ 5 w 823"/>
              <a:gd name="T5" fmla="*/ 102 h 102"/>
              <a:gd name="T6" fmla="*/ 817 w 823"/>
              <a:gd name="T7" fmla="*/ 102 h 102"/>
              <a:gd name="T8" fmla="*/ 823 w 823"/>
              <a:gd name="T9" fmla="*/ 97 h 102"/>
              <a:gd name="T10" fmla="*/ 823 w 823"/>
              <a:gd name="T11" fmla="*/ 0 h 102"/>
              <a:gd name="T12" fmla="*/ 0 w 823"/>
              <a:gd name="T13" fmla="*/ 0 h 1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823" h="102">
                <a:moveTo>
                  <a:pt x="0" y="0"/>
                </a:moveTo>
                <a:cubicBezTo>
                  <a:pt x="0" y="97"/>
                  <a:pt x="0" y="97"/>
                  <a:pt x="0" y="97"/>
                </a:cubicBezTo>
                <a:cubicBezTo>
                  <a:pt x="0" y="100"/>
                  <a:pt x="3" y="102"/>
                  <a:pt x="5" y="102"/>
                </a:cubicBezTo>
                <a:cubicBezTo>
                  <a:pt x="817" y="102"/>
                  <a:pt x="817" y="102"/>
                  <a:pt x="817" y="102"/>
                </a:cubicBezTo>
                <a:cubicBezTo>
                  <a:pt x="820" y="102"/>
                  <a:pt x="823" y="100"/>
                  <a:pt x="823" y="97"/>
                </a:cubicBezTo>
                <a:cubicBezTo>
                  <a:pt x="823" y="0"/>
                  <a:pt x="823" y="0"/>
                  <a:pt x="823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 dirty="0">
              <a:solidFill>
                <a:srgbClr val="7E7E7E"/>
              </a:solidFill>
            </a:endParaRPr>
          </a:p>
        </p:txBody>
      </p:sp>
      <p:sp>
        <p:nvSpPr>
          <p:cNvPr id="32" name="îsḷïḓé">
            <a:extLst>
              <a:ext uri="{FF2B5EF4-FFF2-40B4-BE49-F238E27FC236}">
                <a16:creationId xmlns:a16="http://schemas.microsoft.com/office/drawing/2014/main" id="{044C1029-09E4-459A-8D40-15DE0400993C}"/>
              </a:ext>
            </a:extLst>
          </p:cNvPr>
          <p:cNvSpPr>
            <a:spLocks/>
          </p:cNvSpPr>
          <p:nvPr/>
        </p:nvSpPr>
        <p:spPr bwMode="auto">
          <a:xfrm>
            <a:off x="10422024" y="4170296"/>
            <a:ext cx="1042786" cy="64587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33" name="iSḷîḓe">
            <a:extLst>
              <a:ext uri="{FF2B5EF4-FFF2-40B4-BE49-F238E27FC236}">
                <a16:creationId xmlns:a16="http://schemas.microsoft.com/office/drawing/2014/main" id="{2EC2DFCA-40B2-4B03-89D2-B182AED3FB62}"/>
              </a:ext>
            </a:extLst>
          </p:cNvPr>
          <p:cNvSpPr>
            <a:spLocks/>
          </p:cNvSpPr>
          <p:nvPr/>
        </p:nvSpPr>
        <p:spPr bwMode="auto">
          <a:xfrm>
            <a:off x="10703857" y="5075688"/>
            <a:ext cx="479118" cy="4168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34" name="iSliďê">
            <a:extLst>
              <a:ext uri="{FF2B5EF4-FFF2-40B4-BE49-F238E27FC236}">
                <a16:creationId xmlns:a16="http://schemas.microsoft.com/office/drawing/2014/main" id="{35D9EBEB-365B-4E02-8169-001E8F15BBE0}"/>
              </a:ext>
            </a:extLst>
          </p:cNvPr>
          <p:cNvSpPr>
            <a:spLocks/>
          </p:cNvSpPr>
          <p:nvPr/>
        </p:nvSpPr>
        <p:spPr bwMode="auto">
          <a:xfrm>
            <a:off x="10261144" y="4216093"/>
            <a:ext cx="110972" cy="72220"/>
          </a:xfrm>
          <a:custGeom>
            <a:avLst/>
            <a:gdLst>
              <a:gd name="T0" fmla="*/ 20 w 80"/>
              <a:gd name="T1" fmla="*/ 0 h 52"/>
              <a:gd name="T2" fmla="*/ 80 w 80"/>
              <a:gd name="T3" fmla="*/ 0 h 52"/>
              <a:gd name="T4" fmla="*/ 80 w 80"/>
              <a:gd name="T5" fmla="*/ 52 h 52"/>
              <a:gd name="T6" fmla="*/ 20 w 80"/>
              <a:gd name="T7" fmla="*/ 52 h 52"/>
              <a:gd name="T8" fmla="*/ 0 w 80"/>
              <a:gd name="T9" fmla="*/ 32 h 52"/>
              <a:gd name="T10" fmla="*/ 0 w 80"/>
              <a:gd name="T11" fmla="*/ 20 h 52"/>
              <a:gd name="T12" fmla="*/ 20 w 80"/>
              <a:gd name="T13" fmla="*/ 0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80" h="52">
                <a:moveTo>
                  <a:pt x="20" y="0"/>
                </a:moveTo>
                <a:cubicBezTo>
                  <a:pt x="80" y="0"/>
                  <a:pt x="80" y="0"/>
                  <a:pt x="80" y="0"/>
                </a:cubicBezTo>
                <a:cubicBezTo>
                  <a:pt x="80" y="52"/>
                  <a:pt x="80" y="52"/>
                  <a:pt x="80" y="52"/>
                </a:cubicBezTo>
                <a:cubicBezTo>
                  <a:pt x="20" y="52"/>
                  <a:pt x="20" y="52"/>
                  <a:pt x="20" y="52"/>
                </a:cubicBezTo>
                <a:cubicBezTo>
                  <a:pt x="9" y="52"/>
                  <a:pt x="0" y="43"/>
                  <a:pt x="0" y="32"/>
                </a:cubicBezTo>
                <a:cubicBezTo>
                  <a:pt x="0" y="20"/>
                  <a:pt x="0" y="20"/>
                  <a:pt x="0" y="20"/>
                </a:cubicBezTo>
                <a:cubicBezTo>
                  <a:pt x="0" y="9"/>
                  <a:pt x="9" y="0"/>
                  <a:pt x="20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ts val="1600"/>
              </a:lnSpc>
            </a:pPr>
            <a:endParaRPr lang="en-GB" sz="1200">
              <a:solidFill>
                <a:srgbClr val="7E7E7E"/>
              </a:solidFill>
            </a:endParaRPr>
          </a:p>
        </p:txBody>
      </p:sp>
      <p:sp>
        <p:nvSpPr>
          <p:cNvPr id="35" name="íṧļîḍè" title="WGs8hXFvBEVolSrYtUp1Bl6v7HyKjoniva66buw6iQhuCYhhBhZVHWK51L8A">
            <a:extLst>
              <a:ext uri="{FF2B5EF4-FFF2-40B4-BE49-F238E27FC236}">
                <a16:creationId xmlns:a16="http://schemas.microsoft.com/office/drawing/2014/main" id="{5D77B6F2-C060-40E2-A0D8-70C241F75B86}"/>
              </a:ext>
            </a:extLst>
          </p:cNvPr>
          <p:cNvSpPr>
            <a:spLocks noChangeAspect="1"/>
          </p:cNvSpPr>
          <p:nvPr/>
        </p:nvSpPr>
        <p:spPr bwMode="auto">
          <a:xfrm>
            <a:off x="10771774" y="4375740"/>
            <a:ext cx="391526" cy="275127"/>
          </a:xfrm>
          <a:custGeom>
            <a:avLst/>
            <a:gdLst>
              <a:gd name="connsiteX0" fmla="*/ 450100 w 607639"/>
              <a:gd name="connsiteY0" fmla="*/ 313203 h 426991"/>
              <a:gd name="connsiteX1" fmla="*/ 450100 w 607639"/>
              <a:gd name="connsiteY1" fmla="*/ 403167 h 426991"/>
              <a:gd name="connsiteX2" fmla="*/ 585744 w 607639"/>
              <a:gd name="connsiteY2" fmla="*/ 403167 h 426991"/>
              <a:gd name="connsiteX3" fmla="*/ 586100 w 607639"/>
              <a:gd name="connsiteY3" fmla="*/ 313203 h 426991"/>
              <a:gd name="connsiteX4" fmla="*/ 530294 w 607639"/>
              <a:gd name="connsiteY4" fmla="*/ 313203 h 426991"/>
              <a:gd name="connsiteX5" fmla="*/ 530116 w 607639"/>
              <a:gd name="connsiteY5" fmla="*/ 313203 h 426991"/>
              <a:gd name="connsiteX6" fmla="*/ 529760 w 607639"/>
              <a:gd name="connsiteY6" fmla="*/ 313203 h 426991"/>
              <a:gd name="connsiteX7" fmla="*/ 450901 w 607639"/>
              <a:gd name="connsiteY7" fmla="*/ 313203 h 426991"/>
              <a:gd name="connsiteX8" fmla="*/ 236309 w 607639"/>
              <a:gd name="connsiteY8" fmla="*/ 313203 h 426991"/>
              <a:gd name="connsiteX9" fmla="*/ 236309 w 607639"/>
              <a:gd name="connsiteY9" fmla="*/ 403167 h 426991"/>
              <a:gd name="connsiteX10" fmla="*/ 371953 w 607639"/>
              <a:gd name="connsiteY10" fmla="*/ 403167 h 426991"/>
              <a:gd name="connsiteX11" fmla="*/ 372754 w 607639"/>
              <a:gd name="connsiteY11" fmla="*/ 313203 h 426991"/>
              <a:gd name="connsiteX12" fmla="*/ 237110 w 607639"/>
              <a:gd name="connsiteY12" fmla="*/ 313203 h 426991"/>
              <a:gd name="connsiteX13" fmla="*/ 22519 w 607639"/>
              <a:gd name="connsiteY13" fmla="*/ 313203 h 426991"/>
              <a:gd name="connsiteX14" fmla="*/ 22519 w 607639"/>
              <a:gd name="connsiteY14" fmla="*/ 403167 h 426991"/>
              <a:gd name="connsiteX15" fmla="*/ 158163 w 607639"/>
              <a:gd name="connsiteY15" fmla="*/ 403167 h 426991"/>
              <a:gd name="connsiteX16" fmla="*/ 158964 w 607639"/>
              <a:gd name="connsiteY16" fmla="*/ 313203 h 426991"/>
              <a:gd name="connsiteX17" fmla="*/ 91498 w 607639"/>
              <a:gd name="connsiteY17" fmla="*/ 313203 h 426991"/>
              <a:gd name="connsiteX18" fmla="*/ 91231 w 607639"/>
              <a:gd name="connsiteY18" fmla="*/ 313203 h 426991"/>
              <a:gd name="connsiteX19" fmla="*/ 90964 w 607639"/>
              <a:gd name="connsiteY19" fmla="*/ 313203 h 426991"/>
              <a:gd name="connsiteX20" fmla="*/ 23320 w 607639"/>
              <a:gd name="connsiteY20" fmla="*/ 313203 h 426991"/>
              <a:gd name="connsiteX21" fmla="*/ 91409 w 607639"/>
              <a:gd name="connsiteY21" fmla="*/ 224751 h 426991"/>
              <a:gd name="connsiteX22" fmla="*/ 530294 w 607639"/>
              <a:gd name="connsiteY22" fmla="*/ 224751 h 426991"/>
              <a:gd name="connsiteX23" fmla="*/ 540084 w 607639"/>
              <a:gd name="connsiteY23" fmla="*/ 234530 h 426991"/>
              <a:gd name="connsiteX24" fmla="*/ 540084 w 607639"/>
              <a:gd name="connsiteY24" fmla="*/ 292135 h 426991"/>
              <a:gd name="connsiteX25" fmla="*/ 586456 w 607639"/>
              <a:gd name="connsiteY25" fmla="*/ 292135 h 426991"/>
              <a:gd name="connsiteX26" fmla="*/ 607639 w 607639"/>
              <a:gd name="connsiteY26" fmla="*/ 313203 h 426991"/>
              <a:gd name="connsiteX27" fmla="*/ 607639 w 607639"/>
              <a:gd name="connsiteY27" fmla="*/ 403167 h 426991"/>
              <a:gd name="connsiteX28" fmla="*/ 586456 w 607639"/>
              <a:gd name="connsiteY28" fmla="*/ 426991 h 426991"/>
              <a:gd name="connsiteX29" fmla="*/ 451524 w 607639"/>
              <a:gd name="connsiteY29" fmla="*/ 426991 h 426991"/>
              <a:gd name="connsiteX30" fmla="*/ 427582 w 607639"/>
              <a:gd name="connsiteY30" fmla="*/ 403167 h 426991"/>
              <a:gd name="connsiteX31" fmla="*/ 427582 w 607639"/>
              <a:gd name="connsiteY31" fmla="*/ 313203 h 426991"/>
              <a:gd name="connsiteX32" fmla="*/ 451524 w 607639"/>
              <a:gd name="connsiteY32" fmla="*/ 292135 h 426991"/>
              <a:gd name="connsiteX33" fmla="*/ 517566 w 607639"/>
              <a:gd name="connsiteY33" fmla="*/ 292135 h 426991"/>
              <a:gd name="connsiteX34" fmla="*/ 517566 w 607639"/>
              <a:gd name="connsiteY34" fmla="*/ 247242 h 426991"/>
              <a:gd name="connsiteX35" fmla="*/ 315079 w 607639"/>
              <a:gd name="connsiteY35" fmla="*/ 247242 h 426991"/>
              <a:gd name="connsiteX36" fmla="*/ 315079 w 607639"/>
              <a:gd name="connsiteY36" fmla="*/ 292135 h 426991"/>
              <a:gd name="connsiteX37" fmla="*/ 372665 w 607639"/>
              <a:gd name="connsiteY37" fmla="*/ 292135 h 426991"/>
              <a:gd name="connsiteX38" fmla="*/ 393849 w 607639"/>
              <a:gd name="connsiteY38" fmla="*/ 313203 h 426991"/>
              <a:gd name="connsiteX39" fmla="*/ 393849 w 607639"/>
              <a:gd name="connsiteY39" fmla="*/ 403167 h 426991"/>
              <a:gd name="connsiteX40" fmla="*/ 372665 w 607639"/>
              <a:gd name="connsiteY40" fmla="*/ 426991 h 426991"/>
              <a:gd name="connsiteX41" fmla="*/ 237733 w 607639"/>
              <a:gd name="connsiteY41" fmla="*/ 426991 h 426991"/>
              <a:gd name="connsiteX42" fmla="*/ 213791 w 607639"/>
              <a:gd name="connsiteY42" fmla="*/ 403167 h 426991"/>
              <a:gd name="connsiteX43" fmla="*/ 213791 w 607639"/>
              <a:gd name="connsiteY43" fmla="*/ 313203 h 426991"/>
              <a:gd name="connsiteX44" fmla="*/ 237733 w 607639"/>
              <a:gd name="connsiteY44" fmla="*/ 292135 h 426991"/>
              <a:gd name="connsiteX45" fmla="*/ 292561 w 607639"/>
              <a:gd name="connsiteY45" fmla="*/ 292135 h 426991"/>
              <a:gd name="connsiteX46" fmla="*/ 292561 w 607639"/>
              <a:gd name="connsiteY46" fmla="*/ 247242 h 426991"/>
              <a:gd name="connsiteX47" fmla="*/ 101288 w 607639"/>
              <a:gd name="connsiteY47" fmla="*/ 247242 h 426991"/>
              <a:gd name="connsiteX48" fmla="*/ 101288 w 607639"/>
              <a:gd name="connsiteY48" fmla="*/ 292135 h 426991"/>
              <a:gd name="connsiteX49" fmla="*/ 158875 w 607639"/>
              <a:gd name="connsiteY49" fmla="*/ 292135 h 426991"/>
              <a:gd name="connsiteX50" fmla="*/ 180058 w 607639"/>
              <a:gd name="connsiteY50" fmla="*/ 313203 h 426991"/>
              <a:gd name="connsiteX51" fmla="*/ 180058 w 607639"/>
              <a:gd name="connsiteY51" fmla="*/ 403167 h 426991"/>
              <a:gd name="connsiteX52" fmla="*/ 158875 w 607639"/>
              <a:gd name="connsiteY52" fmla="*/ 426991 h 426991"/>
              <a:gd name="connsiteX53" fmla="*/ 24032 w 607639"/>
              <a:gd name="connsiteY53" fmla="*/ 426991 h 426991"/>
              <a:gd name="connsiteX54" fmla="*/ 0 w 607639"/>
              <a:gd name="connsiteY54" fmla="*/ 403167 h 426991"/>
              <a:gd name="connsiteX55" fmla="*/ 0 w 607639"/>
              <a:gd name="connsiteY55" fmla="*/ 313203 h 426991"/>
              <a:gd name="connsiteX56" fmla="*/ 24032 w 607639"/>
              <a:gd name="connsiteY56" fmla="*/ 292135 h 426991"/>
              <a:gd name="connsiteX57" fmla="*/ 78770 w 607639"/>
              <a:gd name="connsiteY57" fmla="*/ 292135 h 426991"/>
              <a:gd name="connsiteX58" fmla="*/ 78770 w 607639"/>
              <a:gd name="connsiteY58" fmla="*/ 234530 h 426991"/>
              <a:gd name="connsiteX59" fmla="*/ 91409 w 607639"/>
              <a:gd name="connsiteY59" fmla="*/ 224751 h 426991"/>
              <a:gd name="connsiteX60" fmla="*/ 236326 w 607639"/>
              <a:gd name="connsiteY60" fmla="*/ 21066 h 426991"/>
              <a:gd name="connsiteX61" fmla="*/ 236326 w 607639"/>
              <a:gd name="connsiteY61" fmla="*/ 111021 h 426991"/>
              <a:gd name="connsiteX62" fmla="*/ 371758 w 607639"/>
              <a:gd name="connsiteY62" fmla="*/ 111021 h 426991"/>
              <a:gd name="connsiteX63" fmla="*/ 372380 w 607639"/>
              <a:gd name="connsiteY63" fmla="*/ 21066 h 426991"/>
              <a:gd name="connsiteX64" fmla="*/ 237127 w 607639"/>
              <a:gd name="connsiteY64" fmla="*/ 21066 h 426991"/>
              <a:gd name="connsiteX65" fmla="*/ 237750 w 607639"/>
              <a:gd name="connsiteY65" fmla="*/ 0 h 426991"/>
              <a:gd name="connsiteX66" fmla="*/ 372647 w 607639"/>
              <a:gd name="connsiteY66" fmla="*/ 0 h 426991"/>
              <a:gd name="connsiteX67" fmla="*/ 393825 w 607639"/>
              <a:gd name="connsiteY67" fmla="*/ 21066 h 426991"/>
              <a:gd name="connsiteX68" fmla="*/ 393825 w 607639"/>
              <a:gd name="connsiteY68" fmla="*/ 111021 h 426991"/>
              <a:gd name="connsiteX69" fmla="*/ 372647 w 607639"/>
              <a:gd name="connsiteY69" fmla="*/ 134843 h 426991"/>
              <a:gd name="connsiteX70" fmla="*/ 315076 w 607639"/>
              <a:gd name="connsiteY70" fmla="*/ 134843 h 426991"/>
              <a:gd name="connsiteX71" fmla="*/ 315076 w 607639"/>
              <a:gd name="connsiteY71" fmla="*/ 191020 h 426991"/>
              <a:gd name="connsiteX72" fmla="*/ 292563 w 607639"/>
              <a:gd name="connsiteY72" fmla="*/ 191020 h 426991"/>
              <a:gd name="connsiteX73" fmla="*/ 292563 w 607639"/>
              <a:gd name="connsiteY73" fmla="*/ 134843 h 426991"/>
              <a:gd name="connsiteX74" fmla="*/ 237750 w 607639"/>
              <a:gd name="connsiteY74" fmla="*/ 134843 h 426991"/>
              <a:gd name="connsiteX75" fmla="*/ 213813 w 607639"/>
              <a:gd name="connsiteY75" fmla="*/ 111021 h 426991"/>
              <a:gd name="connsiteX76" fmla="*/ 213813 w 607639"/>
              <a:gd name="connsiteY76" fmla="*/ 21066 h 426991"/>
              <a:gd name="connsiteX77" fmla="*/ 237750 w 607639"/>
              <a:gd name="connsiteY77" fmla="*/ 0 h 4269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</a:cxnLst>
            <a:rect l="l" t="t" r="r" b="b"/>
            <a:pathLst>
              <a:path w="607639" h="426991">
                <a:moveTo>
                  <a:pt x="450100" y="313203"/>
                </a:moveTo>
                <a:lnTo>
                  <a:pt x="450100" y="403167"/>
                </a:lnTo>
                <a:lnTo>
                  <a:pt x="585744" y="403167"/>
                </a:lnTo>
                <a:lnTo>
                  <a:pt x="586100" y="313203"/>
                </a:lnTo>
                <a:lnTo>
                  <a:pt x="530294" y="313203"/>
                </a:lnTo>
                <a:cubicBezTo>
                  <a:pt x="530294" y="313203"/>
                  <a:pt x="530116" y="313203"/>
                  <a:pt x="530116" y="313203"/>
                </a:cubicBezTo>
                <a:cubicBezTo>
                  <a:pt x="530027" y="313203"/>
                  <a:pt x="529849" y="313203"/>
                  <a:pt x="529760" y="313203"/>
                </a:cubicBezTo>
                <a:lnTo>
                  <a:pt x="450901" y="313203"/>
                </a:lnTo>
                <a:close/>
                <a:moveTo>
                  <a:pt x="236309" y="313203"/>
                </a:moveTo>
                <a:lnTo>
                  <a:pt x="236309" y="403167"/>
                </a:lnTo>
                <a:lnTo>
                  <a:pt x="371953" y="403167"/>
                </a:lnTo>
                <a:lnTo>
                  <a:pt x="372754" y="313203"/>
                </a:lnTo>
                <a:lnTo>
                  <a:pt x="237110" y="313203"/>
                </a:lnTo>
                <a:close/>
                <a:moveTo>
                  <a:pt x="22519" y="313203"/>
                </a:moveTo>
                <a:lnTo>
                  <a:pt x="22519" y="403167"/>
                </a:lnTo>
                <a:lnTo>
                  <a:pt x="158163" y="403167"/>
                </a:lnTo>
                <a:lnTo>
                  <a:pt x="158964" y="313203"/>
                </a:lnTo>
                <a:lnTo>
                  <a:pt x="91498" y="313203"/>
                </a:lnTo>
                <a:cubicBezTo>
                  <a:pt x="91409" y="313203"/>
                  <a:pt x="91320" y="313203"/>
                  <a:pt x="91231" y="313203"/>
                </a:cubicBezTo>
                <a:cubicBezTo>
                  <a:pt x="91231" y="313203"/>
                  <a:pt x="90964" y="313203"/>
                  <a:pt x="90964" y="313203"/>
                </a:cubicBezTo>
                <a:lnTo>
                  <a:pt x="23320" y="313203"/>
                </a:lnTo>
                <a:close/>
                <a:moveTo>
                  <a:pt x="91409" y="224751"/>
                </a:moveTo>
                <a:lnTo>
                  <a:pt x="530294" y="224751"/>
                </a:lnTo>
                <a:cubicBezTo>
                  <a:pt x="536435" y="224751"/>
                  <a:pt x="540084" y="228396"/>
                  <a:pt x="540084" y="234530"/>
                </a:cubicBezTo>
                <a:lnTo>
                  <a:pt x="540084" y="292135"/>
                </a:lnTo>
                <a:lnTo>
                  <a:pt x="586456" y="292135"/>
                </a:lnTo>
                <a:cubicBezTo>
                  <a:pt x="598917" y="292135"/>
                  <a:pt x="607639" y="300847"/>
                  <a:pt x="607639" y="313203"/>
                </a:cubicBezTo>
                <a:lnTo>
                  <a:pt x="607639" y="403167"/>
                </a:lnTo>
                <a:cubicBezTo>
                  <a:pt x="607639" y="415524"/>
                  <a:pt x="598917" y="426991"/>
                  <a:pt x="586456" y="426991"/>
                </a:cubicBezTo>
                <a:lnTo>
                  <a:pt x="451524" y="426991"/>
                </a:lnTo>
                <a:cubicBezTo>
                  <a:pt x="439152" y="426991"/>
                  <a:pt x="427582" y="415524"/>
                  <a:pt x="427582" y="403167"/>
                </a:cubicBezTo>
                <a:lnTo>
                  <a:pt x="427582" y="313203"/>
                </a:lnTo>
                <a:cubicBezTo>
                  <a:pt x="427582" y="300847"/>
                  <a:pt x="439152" y="292135"/>
                  <a:pt x="451524" y="292135"/>
                </a:cubicBezTo>
                <a:lnTo>
                  <a:pt x="517566" y="292135"/>
                </a:lnTo>
                <a:lnTo>
                  <a:pt x="517566" y="247242"/>
                </a:lnTo>
                <a:lnTo>
                  <a:pt x="315079" y="247242"/>
                </a:lnTo>
                <a:lnTo>
                  <a:pt x="315079" y="292135"/>
                </a:lnTo>
                <a:lnTo>
                  <a:pt x="372665" y="292135"/>
                </a:lnTo>
                <a:cubicBezTo>
                  <a:pt x="385126" y="292135"/>
                  <a:pt x="393849" y="300847"/>
                  <a:pt x="393849" y="313203"/>
                </a:cubicBezTo>
                <a:lnTo>
                  <a:pt x="393849" y="403167"/>
                </a:lnTo>
                <a:cubicBezTo>
                  <a:pt x="393849" y="415524"/>
                  <a:pt x="385126" y="426991"/>
                  <a:pt x="372665" y="426991"/>
                </a:cubicBezTo>
                <a:lnTo>
                  <a:pt x="237733" y="426991"/>
                </a:lnTo>
                <a:cubicBezTo>
                  <a:pt x="225362" y="426991"/>
                  <a:pt x="213791" y="415524"/>
                  <a:pt x="213791" y="403167"/>
                </a:cubicBezTo>
                <a:lnTo>
                  <a:pt x="213791" y="313203"/>
                </a:lnTo>
                <a:cubicBezTo>
                  <a:pt x="213791" y="300847"/>
                  <a:pt x="225362" y="292135"/>
                  <a:pt x="237733" y="292135"/>
                </a:cubicBezTo>
                <a:lnTo>
                  <a:pt x="292561" y="292135"/>
                </a:lnTo>
                <a:lnTo>
                  <a:pt x="292561" y="247242"/>
                </a:lnTo>
                <a:lnTo>
                  <a:pt x="101288" y="247242"/>
                </a:lnTo>
                <a:lnTo>
                  <a:pt x="101288" y="292135"/>
                </a:lnTo>
                <a:lnTo>
                  <a:pt x="158875" y="292135"/>
                </a:lnTo>
                <a:cubicBezTo>
                  <a:pt x="171335" y="292135"/>
                  <a:pt x="180058" y="300847"/>
                  <a:pt x="180058" y="313203"/>
                </a:cubicBezTo>
                <a:lnTo>
                  <a:pt x="180058" y="403167"/>
                </a:lnTo>
                <a:cubicBezTo>
                  <a:pt x="180058" y="415524"/>
                  <a:pt x="171335" y="426991"/>
                  <a:pt x="158875" y="426991"/>
                </a:cubicBezTo>
                <a:lnTo>
                  <a:pt x="24032" y="426991"/>
                </a:lnTo>
                <a:cubicBezTo>
                  <a:pt x="11571" y="426991"/>
                  <a:pt x="0" y="415524"/>
                  <a:pt x="0" y="403167"/>
                </a:cubicBezTo>
                <a:lnTo>
                  <a:pt x="0" y="313203"/>
                </a:lnTo>
                <a:cubicBezTo>
                  <a:pt x="0" y="300847"/>
                  <a:pt x="11571" y="292135"/>
                  <a:pt x="24032" y="292135"/>
                </a:cubicBezTo>
                <a:lnTo>
                  <a:pt x="78770" y="292135"/>
                </a:lnTo>
                <a:lnTo>
                  <a:pt x="78770" y="234530"/>
                </a:lnTo>
                <a:cubicBezTo>
                  <a:pt x="78770" y="228396"/>
                  <a:pt x="85178" y="224751"/>
                  <a:pt x="91409" y="224751"/>
                </a:cubicBezTo>
                <a:close/>
                <a:moveTo>
                  <a:pt x="236326" y="21066"/>
                </a:moveTo>
                <a:lnTo>
                  <a:pt x="236326" y="111021"/>
                </a:lnTo>
                <a:lnTo>
                  <a:pt x="371758" y="111021"/>
                </a:lnTo>
                <a:lnTo>
                  <a:pt x="372380" y="21066"/>
                </a:lnTo>
                <a:lnTo>
                  <a:pt x="237127" y="21066"/>
                </a:lnTo>
                <a:close/>
                <a:moveTo>
                  <a:pt x="237750" y="0"/>
                </a:moveTo>
                <a:lnTo>
                  <a:pt x="372647" y="0"/>
                </a:lnTo>
                <a:cubicBezTo>
                  <a:pt x="385105" y="0"/>
                  <a:pt x="393825" y="8711"/>
                  <a:pt x="393825" y="21066"/>
                </a:cubicBezTo>
                <a:lnTo>
                  <a:pt x="393825" y="111021"/>
                </a:lnTo>
                <a:cubicBezTo>
                  <a:pt x="393825" y="123376"/>
                  <a:pt x="385105" y="134843"/>
                  <a:pt x="372647" y="134843"/>
                </a:cubicBezTo>
                <a:lnTo>
                  <a:pt x="315076" y="134843"/>
                </a:lnTo>
                <a:lnTo>
                  <a:pt x="315076" y="191020"/>
                </a:lnTo>
                <a:lnTo>
                  <a:pt x="292563" y="191020"/>
                </a:lnTo>
                <a:lnTo>
                  <a:pt x="292563" y="134843"/>
                </a:lnTo>
                <a:lnTo>
                  <a:pt x="237750" y="134843"/>
                </a:lnTo>
                <a:cubicBezTo>
                  <a:pt x="225381" y="134843"/>
                  <a:pt x="213813" y="123376"/>
                  <a:pt x="213813" y="111021"/>
                </a:cubicBezTo>
                <a:lnTo>
                  <a:pt x="213813" y="21066"/>
                </a:lnTo>
                <a:cubicBezTo>
                  <a:pt x="213813" y="8711"/>
                  <a:pt x="225381" y="0"/>
                  <a:pt x="237750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/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zh-CN" altLang="en-US"/>
          </a:p>
        </p:txBody>
      </p:sp>
      <p:cxnSp>
        <p:nvCxnSpPr>
          <p:cNvPr id="16" name="肘形连接符 167">
            <a:extLst>
              <a:ext uri="{FF2B5EF4-FFF2-40B4-BE49-F238E27FC236}">
                <a16:creationId xmlns:a16="http://schemas.microsoft.com/office/drawing/2014/main" id="{CA6829A0-4D83-4262-AD58-2439BAF5AE68}"/>
              </a:ext>
            </a:extLst>
          </p:cNvPr>
          <p:cNvCxnSpPr>
            <a:cxnSpLocks/>
            <a:stCxn id="10" idx="2"/>
            <a:endCxn id="28" idx="2"/>
          </p:cNvCxnSpPr>
          <p:nvPr/>
        </p:nvCxnSpPr>
        <p:spPr>
          <a:xfrm rot="5400000" flipH="1">
            <a:off x="5122034" y="1946867"/>
            <a:ext cx="725137" cy="7221163"/>
          </a:xfrm>
          <a:prstGeom prst="bentConnector3">
            <a:avLst>
              <a:gd name="adj1" fmla="val -31525"/>
            </a:avLst>
          </a:prstGeom>
          <a:ln w="3175" cap="rnd">
            <a:solidFill>
              <a:schemeClr val="bg1">
                <a:lumMod val="8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肘形连接符 168">
            <a:extLst>
              <a:ext uri="{FF2B5EF4-FFF2-40B4-BE49-F238E27FC236}">
                <a16:creationId xmlns:a16="http://schemas.microsoft.com/office/drawing/2014/main" id="{40E4D66A-7C3B-47F3-B752-36CBECD4AA16}"/>
              </a:ext>
            </a:extLst>
          </p:cNvPr>
          <p:cNvCxnSpPr>
            <a:cxnSpLocks/>
            <a:stCxn id="11" idx="2"/>
            <a:endCxn id="26" idx="2"/>
          </p:cNvCxnSpPr>
          <p:nvPr/>
        </p:nvCxnSpPr>
        <p:spPr>
          <a:xfrm rot="5400000" flipH="1">
            <a:off x="6882439" y="2785395"/>
            <a:ext cx="552719" cy="5371689"/>
          </a:xfrm>
          <a:prstGeom prst="bentConnector3">
            <a:avLst>
              <a:gd name="adj1" fmla="val -72378"/>
            </a:avLst>
          </a:prstGeom>
          <a:ln w="3175" cap="rnd">
            <a:solidFill>
              <a:schemeClr val="bg1">
                <a:lumMod val="8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肘形连接符 169">
            <a:extLst>
              <a:ext uri="{FF2B5EF4-FFF2-40B4-BE49-F238E27FC236}">
                <a16:creationId xmlns:a16="http://schemas.microsoft.com/office/drawing/2014/main" id="{BDFB5461-B23E-4A2B-92B7-AC1007ECD953}"/>
              </a:ext>
            </a:extLst>
          </p:cNvPr>
          <p:cNvCxnSpPr>
            <a:cxnSpLocks/>
            <a:stCxn id="12" idx="2"/>
            <a:endCxn id="24" idx="2"/>
          </p:cNvCxnSpPr>
          <p:nvPr/>
        </p:nvCxnSpPr>
        <p:spPr>
          <a:xfrm rot="5400000" flipH="1">
            <a:off x="8836855" y="3477864"/>
            <a:ext cx="426932" cy="3860963"/>
          </a:xfrm>
          <a:prstGeom prst="bentConnector3">
            <a:avLst>
              <a:gd name="adj1" fmla="val -121221"/>
            </a:avLst>
          </a:prstGeom>
          <a:ln w="3175" cap="rnd">
            <a:solidFill>
              <a:schemeClr val="bg1">
                <a:lumMod val="8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íṧļiḑê">
            <a:extLst>
              <a:ext uri="{FF2B5EF4-FFF2-40B4-BE49-F238E27FC236}">
                <a16:creationId xmlns:a16="http://schemas.microsoft.com/office/drawing/2014/main" id="{BE4DD7A7-9743-4565-9EA6-0E0796504603}"/>
              </a:ext>
            </a:extLst>
          </p:cNvPr>
          <p:cNvSpPr/>
          <p:nvPr/>
        </p:nvSpPr>
        <p:spPr>
          <a:xfrm>
            <a:off x="748283" y="3650243"/>
            <a:ext cx="2251474" cy="430240"/>
          </a:xfrm>
          <a:prstGeom prst="rect">
            <a:avLst/>
          </a:prstGeom>
        </p:spPr>
        <p:txBody>
          <a:bodyPr wrap="square" lIns="90000" tIns="46800" rIns="90000" bIns="46800">
            <a:normAutofit/>
          </a:bodyPr>
          <a:lstStyle/>
          <a:p>
            <a:pPr algn="ctr">
              <a:spcBef>
                <a:spcPts val="375"/>
              </a:spcBef>
              <a:defRPr/>
            </a:pPr>
            <a:r>
              <a:rPr lang="zh-CN" altLang="en-US" sz="1600" b="1" kern="100" dirty="0">
                <a:solidFill>
                  <a:schemeClr val="accent1"/>
                </a:solidFill>
              </a:rPr>
              <a:t>标题文本预设</a:t>
            </a:r>
            <a:endParaRPr lang="zh-CN" altLang="zh-CN" sz="1600" b="1" kern="100" dirty="0">
              <a:solidFill>
                <a:schemeClr val="accent1"/>
              </a:solidFill>
            </a:endParaRPr>
          </a:p>
        </p:txBody>
      </p:sp>
      <p:sp>
        <p:nvSpPr>
          <p:cNvPr id="28" name="îṩḷíḓé">
            <a:extLst>
              <a:ext uri="{FF2B5EF4-FFF2-40B4-BE49-F238E27FC236}">
                <a16:creationId xmlns:a16="http://schemas.microsoft.com/office/drawing/2014/main" id="{21709167-E02A-4AD5-A1A5-9288B6085CFB}"/>
              </a:ext>
            </a:extLst>
          </p:cNvPr>
          <p:cNvSpPr>
            <a:spLocks/>
          </p:cNvSpPr>
          <p:nvPr/>
        </p:nvSpPr>
        <p:spPr bwMode="auto">
          <a:xfrm>
            <a:off x="748284" y="4080482"/>
            <a:ext cx="2251474" cy="11143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rIns="9000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 eaLnBrk="1" hangingPunct="1">
              <a:lnSpc>
                <a:spcPct val="17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9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此部分内容作为文字排版占位显示（建议使用主题字体）</a:t>
            </a:r>
            <a:endParaRPr lang="en-US" altLang="zh-CN" sz="9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171450" indent="-171450">
              <a:lnSpc>
                <a:spcPct val="17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9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此部分内容作为文字排版占位显示（建议使用主题字体）</a:t>
            </a:r>
            <a:endParaRPr lang="en-US" altLang="zh-CN" sz="9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25" name="íṣ1îḋè">
            <a:extLst>
              <a:ext uri="{FF2B5EF4-FFF2-40B4-BE49-F238E27FC236}">
                <a16:creationId xmlns:a16="http://schemas.microsoft.com/office/drawing/2014/main" id="{07015165-4368-4701-9626-371F58B1D27F}"/>
              </a:ext>
            </a:extLst>
          </p:cNvPr>
          <p:cNvSpPr/>
          <p:nvPr/>
        </p:nvSpPr>
        <p:spPr>
          <a:xfrm>
            <a:off x="3347216" y="3650243"/>
            <a:ext cx="2251474" cy="430240"/>
          </a:xfrm>
          <a:prstGeom prst="rect">
            <a:avLst/>
          </a:prstGeom>
        </p:spPr>
        <p:txBody>
          <a:bodyPr wrap="square" lIns="90000" tIns="46800" rIns="90000" bIns="46800">
            <a:normAutofit/>
          </a:bodyPr>
          <a:lstStyle/>
          <a:p>
            <a:pPr algn="ctr">
              <a:spcBef>
                <a:spcPts val="375"/>
              </a:spcBef>
              <a:defRPr/>
            </a:pPr>
            <a:r>
              <a:rPr lang="zh-CN" altLang="en-US" sz="1600" b="1" kern="100" dirty="0">
                <a:solidFill>
                  <a:schemeClr val="accent2"/>
                </a:solidFill>
              </a:rPr>
              <a:t>标题文本预设</a:t>
            </a:r>
            <a:endParaRPr lang="zh-CN" altLang="zh-CN" sz="1600" b="1" kern="100" dirty="0">
              <a:solidFill>
                <a:schemeClr val="accent2"/>
              </a:solidFill>
            </a:endParaRPr>
          </a:p>
        </p:txBody>
      </p:sp>
      <p:sp>
        <p:nvSpPr>
          <p:cNvPr id="26" name="îṧḻîḑé">
            <a:extLst>
              <a:ext uri="{FF2B5EF4-FFF2-40B4-BE49-F238E27FC236}">
                <a16:creationId xmlns:a16="http://schemas.microsoft.com/office/drawing/2014/main" id="{8489CE3B-052B-4EA7-A2F6-928013B1F743}"/>
              </a:ext>
            </a:extLst>
          </p:cNvPr>
          <p:cNvSpPr>
            <a:spLocks/>
          </p:cNvSpPr>
          <p:nvPr/>
        </p:nvSpPr>
        <p:spPr bwMode="auto">
          <a:xfrm>
            <a:off x="3347217" y="4080482"/>
            <a:ext cx="2251474" cy="11143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rIns="9000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 eaLnBrk="1" hangingPunct="1">
              <a:lnSpc>
                <a:spcPct val="17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9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此部分内容作为文字排版占位显示（建议使用主题字体）</a:t>
            </a:r>
            <a:endParaRPr lang="en-US" altLang="zh-CN" sz="9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171450" indent="-171450">
              <a:lnSpc>
                <a:spcPct val="17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9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此部分内容作为文字排版占位显示（建议使用主题字体）</a:t>
            </a:r>
            <a:endParaRPr lang="en-US" altLang="zh-CN" sz="9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23" name="išḻiḍé">
            <a:extLst>
              <a:ext uri="{FF2B5EF4-FFF2-40B4-BE49-F238E27FC236}">
                <a16:creationId xmlns:a16="http://schemas.microsoft.com/office/drawing/2014/main" id="{CA9CE771-C74C-4522-BB58-C6E6A813BA19}"/>
              </a:ext>
            </a:extLst>
          </p:cNvPr>
          <p:cNvSpPr/>
          <p:nvPr/>
        </p:nvSpPr>
        <p:spPr>
          <a:xfrm>
            <a:off x="5994101" y="3650243"/>
            <a:ext cx="2251474" cy="430240"/>
          </a:xfrm>
          <a:prstGeom prst="rect">
            <a:avLst/>
          </a:prstGeom>
        </p:spPr>
        <p:txBody>
          <a:bodyPr wrap="square" lIns="90000" tIns="46800" rIns="90000" bIns="46800">
            <a:normAutofit/>
          </a:bodyPr>
          <a:lstStyle/>
          <a:p>
            <a:pPr algn="ctr">
              <a:spcBef>
                <a:spcPts val="375"/>
              </a:spcBef>
              <a:defRPr/>
            </a:pPr>
            <a:r>
              <a:rPr lang="zh-CN" altLang="en-US" sz="1600" b="1" kern="100" dirty="0">
                <a:solidFill>
                  <a:schemeClr val="accent3"/>
                </a:solidFill>
              </a:rPr>
              <a:t>标题文本预设</a:t>
            </a:r>
            <a:endParaRPr lang="zh-CN" altLang="zh-CN" sz="1600" b="1" kern="100" dirty="0">
              <a:solidFill>
                <a:schemeClr val="accent3"/>
              </a:solidFill>
            </a:endParaRPr>
          </a:p>
        </p:txBody>
      </p:sp>
      <p:sp>
        <p:nvSpPr>
          <p:cNvPr id="24" name="ísḷíḑê">
            <a:extLst>
              <a:ext uri="{FF2B5EF4-FFF2-40B4-BE49-F238E27FC236}">
                <a16:creationId xmlns:a16="http://schemas.microsoft.com/office/drawing/2014/main" id="{A1088482-07CD-4E65-BC1E-704B2065A18F}"/>
              </a:ext>
            </a:extLst>
          </p:cNvPr>
          <p:cNvSpPr>
            <a:spLocks/>
          </p:cNvSpPr>
          <p:nvPr/>
        </p:nvSpPr>
        <p:spPr bwMode="auto">
          <a:xfrm>
            <a:off x="5994102" y="4080482"/>
            <a:ext cx="2251474" cy="11143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rIns="9000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 eaLnBrk="1" hangingPunct="1">
              <a:lnSpc>
                <a:spcPct val="17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9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此部分内容作为文字排版占位显示（建议使用主题字体）</a:t>
            </a:r>
            <a:endParaRPr lang="en-US" altLang="zh-CN" sz="9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171450" indent="-171450">
              <a:lnSpc>
                <a:spcPct val="17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zh-CN" altLang="en-US" sz="9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此部分内容作为文字排版占位显示（建议使用主题字体）</a:t>
            </a:r>
            <a:endParaRPr lang="en-US" altLang="zh-CN" sz="9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22" name="ïşľidè">
            <a:extLst>
              <a:ext uri="{FF2B5EF4-FFF2-40B4-BE49-F238E27FC236}">
                <a16:creationId xmlns:a16="http://schemas.microsoft.com/office/drawing/2014/main" id="{3E71CB25-6CA1-4D30-9BFC-1B4945B4263D}"/>
              </a:ext>
            </a:extLst>
          </p:cNvPr>
          <p:cNvSpPr txBox="1"/>
          <p:nvPr/>
        </p:nvSpPr>
        <p:spPr>
          <a:xfrm>
            <a:off x="710571" y="1471063"/>
            <a:ext cx="4536504" cy="1224136"/>
          </a:xfrm>
          <a:prstGeom prst="rect">
            <a:avLst/>
          </a:prstGeom>
          <a:noFill/>
        </p:spPr>
        <p:txBody>
          <a:bodyPr wrap="square" lIns="90000" tIns="46800" rIns="90000" bIns="46800" rtlCol="0">
            <a:normAutofit lnSpcReduction="10000"/>
          </a:bodyPr>
          <a:lstStyle/>
          <a:p>
            <a:pPr algn="just">
              <a:lnSpc>
                <a:spcPct val="150000"/>
              </a:lnSpc>
            </a:pP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统一的字体让阅读更流畅</a:t>
            </a:r>
            <a:endParaRPr lang="en-US" altLang="zh-CN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just">
              <a:lnSpc>
                <a:spcPct val="150000"/>
              </a:lnSpc>
            </a:pPr>
            <a:r>
              <a:rPr lang="zh-CN" altLang="en-US" sz="2200" b="1" dirty="0"/>
              <a:t>主题颜色让</a:t>
            </a:r>
            <a:r>
              <a:rPr lang="en-US" altLang="zh-CN" sz="2200" b="1" dirty="0"/>
              <a:t>PPT</a:t>
            </a:r>
            <a:r>
              <a:rPr lang="zh-CN" altLang="en-US" sz="2200" b="1" dirty="0"/>
              <a:t>改起来更方便</a:t>
            </a:r>
            <a:endParaRPr lang="en-US" altLang="zh-CN" sz="1600" b="1" dirty="0"/>
          </a:p>
          <a:p>
            <a:pPr algn="just">
              <a:lnSpc>
                <a:spcPct val="150000"/>
              </a:lnSpc>
            </a:pPr>
            <a:r>
              <a:rPr lang="zh-CN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调整行距来适应中文排版</a:t>
            </a:r>
            <a:r>
              <a:rPr lang="en-US" altLang="zh-CN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</a:t>
            </a:r>
            <a:r>
              <a:rPr lang="zh-CN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在</a:t>
            </a:r>
            <a:r>
              <a:rPr lang="en-US" altLang="zh-CN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PT</a:t>
            </a:r>
            <a:r>
              <a:rPr lang="zh-CN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中使用参考线</a:t>
            </a:r>
            <a:endParaRPr lang="en-US" sz="16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662275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D406DC6-7CDD-44C1-B3FA-91EA27D303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4CF4DDF8-15AE-4D2D-8A06-C70A05739D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872D59D9-E0A3-4C61-A4E3-B696292A7B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9</a:t>
            </a:fld>
            <a:endParaRPr lang="zh-CN" altLang="en-US"/>
          </a:p>
        </p:txBody>
      </p:sp>
      <p:sp>
        <p:nvSpPr>
          <p:cNvPr id="57" name="îṡlïďê">
            <a:extLst>
              <a:ext uri="{FF2B5EF4-FFF2-40B4-BE49-F238E27FC236}">
                <a16:creationId xmlns:a16="http://schemas.microsoft.com/office/drawing/2014/main" id="{C2A2C19F-3BB3-4991-B174-5A7BDDFEECCF}"/>
              </a:ext>
            </a:extLst>
          </p:cNvPr>
          <p:cNvSpPr>
            <a:spLocks/>
          </p:cNvSpPr>
          <p:nvPr/>
        </p:nvSpPr>
        <p:spPr bwMode="auto">
          <a:xfrm rot="16200000">
            <a:off x="1007624" y="2469850"/>
            <a:ext cx="1672622" cy="422571"/>
          </a:xfrm>
          <a:custGeom>
            <a:avLst/>
            <a:gdLst>
              <a:gd name="T0" fmla="*/ 545 w 624"/>
              <a:gd name="T1" fmla="*/ 158 h 158"/>
              <a:gd name="T2" fmla="*/ 79 w 624"/>
              <a:gd name="T3" fmla="*/ 158 h 158"/>
              <a:gd name="T4" fmla="*/ 0 w 624"/>
              <a:gd name="T5" fmla="*/ 79 h 158"/>
              <a:gd name="T6" fmla="*/ 79 w 624"/>
              <a:gd name="T7" fmla="*/ 0 h 158"/>
              <a:gd name="T8" fmla="*/ 545 w 624"/>
              <a:gd name="T9" fmla="*/ 0 h 158"/>
              <a:gd name="T10" fmla="*/ 624 w 624"/>
              <a:gd name="T11" fmla="*/ 79 h 158"/>
              <a:gd name="T12" fmla="*/ 545 w 624"/>
              <a:gd name="T13" fmla="*/ 158 h 1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24" h="158">
                <a:moveTo>
                  <a:pt x="545" y="158"/>
                </a:moveTo>
                <a:cubicBezTo>
                  <a:pt x="79" y="158"/>
                  <a:pt x="79" y="158"/>
                  <a:pt x="79" y="158"/>
                </a:cubicBezTo>
                <a:cubicBezTo>
                  <a:pt x="35" y="158"/>
                  <a:pt x="0" y="123"/>
                  <a:pt x="0" y="79"/>
                </a:cubicBezTo>
                <a:cubicBezTo>
                  <a:pt x="0" y="35"/>
                  <a:pt x="35" y="0"/>
                  <a:pt x="79" y="0"/>
                </a:cubicBezTo>
                <a:cubicBezTo>
                  <a:pt x="545" y="0"/>
                  <a:pt x="545" y="0"/>
                  <a:pt x="545" y="0"/>
                </a:cubicBezTo>
                <a:cubicBezTo>
                  <a:pt x="589" y="0"/>
                  <a:pt x="624" y="35"/>
                  <a:pt x="624" y="79"/>
                </a:cubicBezTo>
                <a:cubicBezTo>
                  <a:pt x="624" y="123"/>
                  <a:pt x="589" y="158"/>
                  <a:pt x="545" y="158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58" name="iSļîďè">
            <a:extLst>
              <a:ext uri="{FF2B5EF4-FFF2-40B4-BE49-F238E27FC236}">
                <a16:creationId xmlns:a16="http://schemas.microsoft.com/office/drawing/2014/main" id="{1DDE9231-3C6B-464B-A43D-3C1F912C6EF7}"/>
              </a:ext>
            </a:extLst>
          </p:cNvPr>
          <p:cNvSpPr>
            <a:spLocks/>
          </p:cNvSpPr>
          <p:nvPr/>
        </p:nvSpPr>
        <p:spPr bwMode="auto">
          <a:xfrm rot="16200000">
            <a:off x="1408119" y="1621555"/>
            <a:ext cx="871631" cy="1318168"/>
          </a:xfrm>
          <a:custGeom>
            <a:avLst/>
            <a:gdLst>
              <a:gd name="T0" fmla="*/ 325 w 325"/>
              <a:gd name="T1" fmla="*/ 246 h 492"/>
              <a:gd name="T2" fmla="*/ 301 w 325"/>
              <a:gd name="T3" fmla="*/ 304 h 492"/>
              <a:gd name="T4" fmla="*/ 300 w 325"/>
              <a:gd name="T5" fmla="*/ 304 h 492"/>
              <a:gd name="T6" fmla="*/ 143 w 325"/>
              <a:gd name="T7" fmla="*/ 461 h 492"/>
              <a:gd name="T8" fmla="*/ 31 w 325"/>
              <a:gd name="T9" fmla="*/ 461 h 492"/>
              <a:gd name="T10" fmla="*/ 31 w 325"/>
              <a:gd name="T11" fmla="*/ 349 h 492"/>
              <a:gd name="T12" fmla="*/ 134 w 325"/>
              <a:gd name="T13" fmla="*/ 246 h 492"/>
              <a:gd name="T14" fmla="*/ 31 w 325"/>
              <a:gd name="T15" fmla="*/ 144 h 492"/>
              <a:gd name="T16" fmla="*/ 31 w 325"/>
              <a:gd name="T17" fmla="*/ 31 h 492"/>
              <a:gd name="T18" fmla="*/ 143 w 325"/>
              <a:gd name="T19" fmla="*/ 31 h 492"/>
              <a:gd name="T20" fmla="*/ 300 w 325"/>
              <a:gd name="T21" fmla="*/ 188 h 492"/>
              <a:gd name="T22" fmla="*/ 301 w 325"/>
              <a:gd name="T23" fmla="*/ 188 h 492"/>
              <a:gd name="T24" fmla="*/ 325 w 325"/>
              <a:gd name="T25" fmla="*/ 246 h 4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325" h="492">
                <a:moveTo>
                  <a:pt x="325" y="246"/>
                </a:moveTo>
                <a:cubicBezTo>
                  <a:pt x="325" y="269"/>
                  <a:pt x="316" y="289"/>
                  <a:pt x="301" y="304"/>
                </a:cubicBezTo>
                <a:cubicBezTo>
                  <a:pt x="300" y="304"/>
                  <a:pt x="300" y="304"/>
                  <a:pt x="300" y="304"/>
                </a:cubicBezTo>
                <a:cubicBezTo>
                  <a:pt x="143" y="461"/>
                  <a:pt x="143" y="461"/>
                  <a:pt x="143" y="461"/>
                </a:cubicBezTo>
                <a:cubicBezTo>
                  <a:pt x="112" y="492"/>
                  <a:pt x="62" y="492"/>
                  <a:pt x="31" y="461"/>
                </a:cubicBezTo>
                <a:cubicBezTo>
                  <a:pt x="0" y="430"/>
                  <a:pt x="0" y="380"/>
                  <a:pt x="31" y="349"/>
                </a:cubicBezTo>
                <a:cubicBezTo>
                  <a:pt x="134" y="246"/>
                  <a:pt x="134" y="246"/>
                  <a:pt x="134" y="246"/>
                </a:cubicBezTo>
                <a:cubicBezTo>
                  <a:pt x="31" y="144"/>
                  <a:pt x="31" y="144"/>
                  <a:pt x="31" y="144"/>
                </a:cubicBezTo>
                <a:cubicBezTo>
                  <a:pt x="0" y="113"/>
                  <a:pt x="0" y="62"/>
                  <a:pt x="31" y="31"/>
                </a:cubicBezTo>
                <a:cubicBezTo>
                  <a:pt x="62" y="0"/>
                  <a:pt x="112" y="0"/>
                  <a:pt x="143" y="31"/>
                </a:cubicBezTo>
                <a:cubicBezTo>
                  <a:pt x="300" y="188"/>
                  <a:pt x="300" y="188"/>
                  <a:pt x="300" y="188"/>
                </a:cubicBezTo>
                <a:cubicBezTo>
                  <a:pt x="301" y="188"/>
                  <a:pt x="301" y="188"/>
                  <a:pt x="301" y="188"/>
                </a:cubicBezTo>
                <a:cubicBezTo>
                  <a:pt x="316" y="203"/>
                  <a:pt x="325" y="223"/>
                  <a:pt x="325" y="246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59" name="iŝḻíḍe">
            <a:extLst>
              <a:ext uri="{FF2B5EF4-FFF2-40B4-BE49-F238E27FC236}">
                <a16:creationId xmlns:a16="http://schemas.microsoft.com/office/drawing/2014/main" id="{FAC62230-BEF9-4678-87D7-FFBD62AD0303}"/>
              </a:ext>
            </a:extLst>
          </p:cNvPr>
          <p:cNvSpPr>
            <a:spLocks/>
          </p:cNvSpPr>
          <p:nvPr/>
        </p:nvSpPr>
        <p:spPr bwMode="auto">
          <a:xfrm rot="16200000">
            <a:off x="1587870" y="1889604"/>
            <a:ext cx="512130" cy="422571"/>
          </a:xfrm>
          <a:custGeom>
            <a:avLst/>
            <a:gdLst>
              <a:gd name="T0" fmla="*/ 63 w 191"/>
              <a:gd name="T1" fmla="*/ 16 h 158"/>
              <a:gd name="T2" fmla="*/ 50 w 191"/>
              <a:gd name="T3" fmla="*/ 29 h 158"/>
              <a:gd name="T4" fmla="*/ 29 w 191"/>
              <a:gd name="T5" fmla="*/ 107 h 158"/>
              <a:gd name="T6" fmla="*/ 62 w 191"/>
              <a:gd name="T7" fmla="*/ 141 h 158"/>
              <a:gd name="T8" fmla="*/ 112 w 191"/>
              <a:gd name="T9" fmla="*/ 158 h 158"/>
              <a:gd name="T10" fmla="*/ 112 w 191"/>
              <a:gd name="T11" fmla="*/ 158 h 158"/>
              <a:gd name="T12" fmla="*/ 166 w 191"/>
              <a:gd name="T13" fmla="*/ 137 h 158"/>
              <a:gd name="T14" fmla="*/ 167 w 191"/>
              <a:gd name="T15" fmla="*/ 137 h 158"/>
              <a:gd name="T16" fmla="*/ 191 w 191"/>
              <a:gd name="T17" fmla="*/ 79 h 158"/>
              <a:gd name="T18" fmla="*/ 191 w 191"/>
              <a:gd name="T19" fmla="*/ 79 h 158"/>
              <a:gd name="T20" fmla="*/ 191 w 191"/>
              <a:gd name="T21" fmla="*/ 78 h 158"/>
              <a:gd name="T22" fmla="*/ 191 w 191"/>
              <a:gd name="T23" fmla="*/ 78 h 158"/>
              <a:gd name="T24" fmla="*/ 191 w 191"/>
              <a:gd name="T25" fmla="*/ 78 h 158"/>
              <a:gd name="T26" fmla="*/ 191 w 191"/>
              <a:gd name="T27" fmla="*/ 78 h 158"/>
              <a:gd name="T28" fmla="*/ 191 w 191"/>
              <a:gd name="T29" fmla="*/ 77 h 158"/>
              <a:gd name="T30" fmla="*/ 191 w 191"/>
              <a:gd name="T31" fmla="*/ 77 h 158"/>
              <a:gd name="T32" fmla="*/ 191 w 191"/>
              <a:gd name="T33" fmla="*/ 77 h 158"/>
              <a:gd name="T34" fmla="*/ 191 w 191"/>
              <a:gd name="T35" fmla="*/ 77 h 158"/>
              <a:gd name="T36" fmla="*/ 191 w 191"/>
              <a:gd name="T37" fmla="*/ 76 h 158"/>
              <a:gd name="T38" fmla="*/ 191 w 191"/>
              <a:gd name="T39" fmla="*/ 76 h 158"/>
              <a:gd name="T40" fmla="*/ 191 w 191"/>
              <a:gd name="T41" fmla="*/ 76 h 158"/>
              <a:gd name="T42" fmla="*/ 191 w 191"/>
              <a:gd name="T43" fmla="*/ 76 h 158"/>
              <a:gd name="T44" fmla="*/ 191 w 191"/>
              <a:gd name="T45" fmla="*/ 75 h 158"/>
              <a:gd name="T46" fmla="*/ 191 w 191"/>
              <a:gd name="T47" fmla="*/ 75 h 158"/>
              <a:gd name="T48" fmla="*/ 191 w 191"/>
              <a:gd name="T49" fmla="*/ 75 h 158"/>
              <a:gd name="T50" fmla="*/ 191 w 191"/>
              <a:gd name="T51" fmla="*/ 74 h 158"/>
              <a:gd name="T52" fmla="*/ 191 w 191"/>
              <a:gd name="T53" fmla="*/ 74 h 158"/>
              <a:gd name="T54" fmla="*/ 191 w 191"/>
              <a:gd name="T55" fmla="*/ 74 h 158"/>
              <a:gd name="T56" fmla="*/ 191 w 191"/>
              <a:gd name="T57" fmla="*/ 74 h 158"/>
              <a:gd name="T58" fmla="*/ 191 w 191"/>
              <a:gd name="T59" fmla="*/ 73 h 158"/>
              <a:gd name="T60" fmla="*/ 189 w 191"/>
              <a:gd name="T61" fmla="*/ 60 h 158"/>
              <a:gd name="T62" fmla="*/ 189 w 191"/>
              <a:gd name="T63" fmla="*/ 59 h 158"/>
              <a:gd name="T64" fmla="*/ 189 w 191"/>
              <a:gd name="T65" fmla="*/ 59 h 158"/>
              <a:gd name="T66" fmla="*/ 189 w 191"/>
              <a:gd name="T67" fmla="*/ 59 h 158"/>
              <a:gd name="T68" fmla="*/ 189 w 191"/>
              <a:gd name="T69" fmla="*/ 59 h 158"/>
              <a:gd name="T70" fmla="*/ 189 w 191"/>
              <a:gd name="T71" fmla="*/ 58 h 158"/>
              <a:gd name="T72" fmla="*/ 189 w 191"/>
              <a:gd name="T73" fmla="*/ 58 h 158"/>
              <a:gd name="T74" fmla="*/ 189 w 191"/>
              <a:gd name="T75" fmla="*/ 58 h 158"/>
              <a:gd name="T76" fmla="*/ 166 w 191"/>
              <a:gd name="T77" fmla="*/ 21 h 158"/>
              <a:gd name="T78" fmla="*/ 166 w 191"/>
              <a:gd name="T79" fmla="*/ 21 h 1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191" h="158">
                <a:moveTo>
                  <a:pt x="112" y="0"/>
                </a:moveTo>
                <a:cubicBezTo>
                  <a:pt x="94" y="0"/>
                  <a:pt x="77" y="6"/>
                  <a:pt x="63" y="16"/>
                </a:cubicBezTo>
                <a:cubicBezTo>
                  <a:pt x="63" y="17"/>
                  <a:pt x="62" y="17"/>
                  <a:pt x="62" y="17"/>
                </a:cubicBezTo>
                <a:cubicBezTo>
                  <a:pt x="50" y="29"/>
                  <a:pt x="50" y="29"/>
                  <a:pt x="50" y="29"/>
                </a:cubicBezTo>
                <a:cubicBezTo>
                  <a:pt x="0" y="79"/>
                  <a:pt x="0" y="79"/>
                  <a:pt x="0" y="79"/>
                </a:cubicBezTo>
                <a:cubicBezTo>
                  <a:pt x="29" y="107"/>
                  <a:pt x="29" y="107"/>
                  <a:pt x="29" y="107"/>
                </a:cubicBezTo>
                <a:cubicBezTo>
                  <a:pt x="50" y="129"/>
                  <a:pt x="50" y="129"/>
                  <a:pt x="50" y="129"/>
                </a:cubicBezTo>
                <a:cubicBezTo>
                  <a:pt x="62" y="141"/>
                  <a:pt x="62" y="141"/>
                  <a:pt x="62" y="141"/>
                </a:cubicBezTo>
                <a:cubicBezTo>
                  <a:pt x="65" y="144"/>
                  <a:pt x="69" y="146"/>
                  <a:pt x="73" y="148"/>
                </a:cubicBezTo>
                <a:cubicBezTo>
                  <a:pt x="85" y="155"/>
                  <a:pt x="98" y="158"/>
                  <a:pt x="112" y="158"/>
                </a:cubicBezTo>
                <a:cubicBezTo>
                  <a:pt x="112" y="158"/>
                  <a:pt x="112" y="158"/>
                  <a:pt x="112" y="158"/>
                </a:cubicBezTo>
                <a:cubicBezTo>
                  <a:pt x="112" y="158"/>
                  <a:pt x="112" y="158"/>
                  <a:pt x="112" y="158"/>
                </a:cubicBezTo>
                <a:cubicBezTo>
                  <a:pt x="133" y="158"/>
                  <a:pt x="152" y="150"/>
                  <a:pt x="166" y="137"/>
                </a:cubicBezTo>
                <a:cubicBezTo>
                  <a:pt x="166" y="137"/>
                  <a:pt x="166" y="137"/>
                  <a:pt x="166" y="137"/>
                </a:cubicBezTo>
                <a:cubicBezTo>
                  <a:pt x="166" y="137"/>
                  <a:pt x="166" y="137"/>
                  <a:pt x="166" y="137"/>
                </a:cubicBezTo>
                <a:cubicBezTo>
                  <a:pt x="167" y="137"/>
                  <a:pt x="167" y="137"/>
                  <a:pt x="167" y="137"/>
                </a:cubicBezTo>
                <a:cubicBezTo>
                  <a:pt x="175" y="128"/>
                  <a:pt x="182" y="118"/>
                  <a:pt x="186" y="107"/>
                </a:cubicBezTo>
                <a:cubicBezTo>
                  <a:pt x="190" y="98"/>
                  <a:pt x="191" y="89"/>
                  <a:pt x="191" y="79"/>
                </a:cubicBezTo>
                <a:cubicBezTo>
                  <a:pt x="191" y="79"/>
                  <a:pt x="191" y="79"/>
                  <a:pt x="191" y="79"/>
                </a:cubicBezTo>
                <a:cubicBezTo>
                  <a:pt x="191" y="79"/>
                  <a:pt x="191" y="79"/>
                  <a:pt x="191" y="79"/>
                </a:cubicBezTo>
                <a:cubicBezTo>
                  <a:pt x="191" y="79"/>
                  <a:pt x="191" y="79"/>
                  <a:pt x="191" y="79"/>
                </a:cubicBezTo>
                <a:cubicBezTo>
                  <a:pt x="191" y="78"/>
                  <a:pt x="191" y="78"/>
                  <a:pt x="191" y="78"/>
                </a:cubicBezTo>
                <a:cubicBezTo>
                  <a:pt x="191" y="78"/>
                  <a:pt x="191" y="78"/>
                  <a:pt x="191" y="78"/>
                </a:cubicBezTo>
                <a:cubicBezTo>
                  <a:pt x="191" y="78"/>
                  <a:pt x="191" y="78"/>
                  <a:pt x="191" y="78"/>
                </a:cubicBezTo>
                <a:cubicBezTo>
                  <a:pt x="191" y="78"/>
                  <a:pt x="191" y="78"/>
                  <a:pt x="191" y="78"/>
                </a:cubicBezTo>
                <a:cubicBezTo>
                  <a:pt x="191" y="78"/>
                  <a:pt x="191" y="78"/>
                  <a:pt x="191" y="78"/>
                </a:cubicBezTo>
                <a:cubicBezTo>
                  <a:pt x="191" y="78"/>
                  <a:pt x="191" y="78"/>
                  <a:pt x="191" y="78"/>
                </a:cubicBezTo>
                <a:cubicBezTo>
                  <a:pt x="191" y="78"/>
                  <a:pt x="191" y="78"/>
                  <a:pt x="191" y="78"/>
                </a:cubicBezTo>
                <a:cubicBezTo>
                  <a:pt x="191" y="78"/>
                  <a:pt x="191" y="78"/>
                  <a:pt x="191" y="77"/>
                </a:cubicBezTo>
                <a:cubicBezTo>
                  <a:pt x="191" y="77"/>
                  <a:pt x="191" y="77"/>
                  <a:pt x="191" y="77"/>
                </a:cubicBezTo>
                <a:cubicBezTo>
                  <a:pt x="191" y="77"/>
                  <a:pt x="191" y="77"/>
                  <a:pt x="191" y="77"/>
                </a:cubicBezTo>
                <a:cubicBezTo>
                  <a:pt x="191" y="77"/>
                  <a:pt x="191" y="77"/>
                  <a:pt x="191" y="77"/>
                </a:cubicBezTo>
                <a:cubicBezTo>
                  <a:pt x="191" y="77"/>
                  <a:pt x="191" y="77"/>
                  <a:pt x="191" y="77"/>
                </a:cubicBezTo>
                <a:cubicBezTo>
                  <a:pt x="191" y="77"/>
                  <a:pt x="191" y="77"/>
                  <a:pt x="191" y="77"/>
                </a:cubicBezTo>
                <a:cubicBezTo>
                  <a:pt x="191" y="77"/>
                  <a:pt x="191" y="77"/>
                  <a:pt x="191" y="77"/>
                </a:cubicBezTo>
                <a:cubicBezTo>
                  <a:pt x="191" y="77"/>
                  <a:pt x="191" y="77"/>
                  <a:pt x="191" y="77"/>
                </a:cubicBezTo>
                <a:cubicBezTo>
                  <a:pt x="191" y="77"/>
                  <a:pt x="191" y="76"/>
                  <a:pt x="191" y="76"/>
                </a:cubicBezTo>
                <a:cubicBezTo>
                  <a:pt x="191" y="76"/>
                  <a:pt x="191" y="76"/>
                  <a:pt x="191" y="76"/>
                </a:cubicBezTo>
                <a:cubicBezTo>
                  <a:pt x="191" y="76"/>
                  <a:pt x="191" y="76"/>
                  <a:pt x="191" y="76"/>
                </a:cubicBezTo>
                <a:cubicBezTo>
                  <a:pt x="191" y="76"/>
                  <a:pt x="191" y="76"/>
                  <a:pt x="191" y="76"/>
                </a:cubicBezTo>
                <a:cubicBezTo>
                  <a:pt x="191" y="76"/>
                  <a:pt x="191" y="76"/>
                  <a:pt x="191" y="76"/>
                </a:cubicBezTo>
                <a:cubicBezTo>
                  <a:pt x="191" y="76"/>
                  <a:pt x="191" y="76"/>
                  <a:pt x="191" y="76"/>
                </a:cubicBezTo>
                <a:cubicBezTo>
                  <a:pt x="191" y="76"/>
                  <a:pt x="191" y="76"/>
                  <a:pt x="191" y="76"/>
                </a:cubicBezTo>
                <a:cubicBezTo>
                  <a:pt x="191" y="76"/>
                  <a:pt x="191" y="76"/>
                  <a:pt x="191" y="76"/>
                </a:cubicBezTo>
                <a:cubicBezTo>
                  <a:pt x="191" y="75"/>
                  <a:pt x="191" y="75"/>
                  <a:pt x="191" y="75"/>
                </a:cubicBezTo>
                <a:cubicBezTo>
                  <a:pt x="191" y="75"/>
                  <a:pt x="191" y="75"/>
                  <a:pt x="191" y="75"/>
                </a:cubicBezTo>
                <a:cubicBezTo>
                  <a:pt x="191" y="75"/>
                  <a:pt x="191" y="75"/>
                  <a:pt x="191" y="75"/>
                </a:cubicBezTo>
                <a:cubicBezTo>
                  <a:pt x="191" y="75"/>
                  <a:pt x="191" y="75"/>
                  <a:pt x="191" y="75"/>
                </a:cubicBezTo>
                <a:cubicBezTo>
                  <a:pt x="191" y="75"/>
                  <a:pt x="191" y="75"/>
                  <a:pt x="191" y="75"/>
                </a:cubicBezTo>
                <a:cubicBezTo>
                  <a:pt x="191" y="75"/>
                  <a:pt x="191" y="75"/>
                  <a:pt x="191" y="75"/>
                </a:cubicBezTo>
                <a:cubicBezTo>
                  <a:pt x="191" y="75"/>
                  <a:pt x="191" y="75"/>
                  <a:pt x="191" y="75"/>
                </a:cubicBezTo>
                <a:cubicBezTo>
                  <a:pt x="191" y="75"/>
                  <a:pt x="191" y="75"/>
                  <a:pt x="191" y="74"/>
                </a:cubicBezTo>
                <a:cubicBezTo>
                  <a:pt x="191" y="74"/>
                  <a:pt x="191" y="74"/>
                  <a:pt x="191" y="74"/>
                </a:cubicBezTo>
                <a:cubicBezTo>
                  <a:pt x="191" y="74"/>
                  <a:pt x="191" y="74"/>
                  <a:pt x="191" y="74"/>
                </a:cubicBezTo>
                <a:cubicBezTo>
                  <a:pt x="191" y="74"/>
                  <a:pt x="191" y="74"/>
                  <a:pt x="191" y="74"/>
                </a:cubicBezTo>
                <a:cubicBezTo>
                  <a:pt x="191" y="74"/>
                  <a:pt x="191" y="74"/>
                  <a:pt x="191" y="74"/>
                </a:cubicBezTo>
                <a:cubicBezTo>
                  <a:pt x="191" y="74"/>
                  <a:pt x="191" y="74"/>
                  <a:pt x="191" y="74"/>
                </a:cubicBezTo>
                <a:cubicBezTo>
                  <a:pt x="191" y="74"/>
                  <a:pt x="191" y="74"/>
                  <a:pt x="191" y="74"/>
                </a:cubicBezTo>
                <a:cubicBezTo>
                  <a:pt x="191" y="74"/>
                  <a:pt x="191" y="74"/>
                  <a:pt x="191" y="74"/>
                </a:cubicBezTo>
                <a:cubicBezTo>
                  <a:pt x="191" y="74"/>
                  <a:pt x="191" y="74"/>
                  <a:pt x="191" y="73"/>
                </a:cubicBezTo>
                <a:cubicBezTo>
                  <a:pt x="191" y="73"/>
                  <a:pt x="191" y="73"/>
                  <a:pt x="191" y="73"/>
                </a:cubicBezTo>
                <a:cubicBezTo>
                  <a:pt x="191" y="69"/>
                  <a:pt x="190" y="64"/>
                  <a:pt x="189" y="60"/>
                </a:cubicBezTo>
                <a:cubicBezTo>
                  <a:pt x="189" y="60"/>
                  <a:pt x="189" y="60"/>
                  <a:pt x="189" y="60"/>
                </a:cubicBezTo>
                <a:cubicBezTo>
                  <a:pt x="189" y="60"/>
                  <a:pt x="189" y="60"/>
                  <a:pt x="189" y="59"/>
                </a:cubicBezTo>
                <a:cubicBezTo>
                  <a:pt x="189" y="59"/>
                  <a:pt x="189" y="59"/>
                  <a:pt x="189" y="59"/>
                </a:cubicBezTo>
                <a:cubicBezTo>
                  <a:pt x="189" y="59"/>
                  <a:pt x="189" y="59"/>
                  <a:pt x="189" y="59"/>
                </a:cubicBezTo>
                <a:cubicBezTo>
                  <a:pt x="189" y="59"/>
                  <a:pt x="189" y="59"/>
                  <a:pt x="189" y="59"/>
                </a:cubicBezTo>
                <a:cubicBezTo>
                  <a:pt x="189" y="59"/>
                  <a:pt x="189" y="59"/>
                  <a:pt x="189" y="59"/>
                </a:cubicBezTo>
                <a:cubicBezTo>
                  <a:pt x="189" y="59"/>
                  <a:pt x="189" y="59"/>
                  <a:pt x="189" y="59"/>
                </a:cubicBezTo>
                <a:cubicBezTo>
                  <a:pt x="189" y="59"/>
                  <a:pt x="189" y="59"/>
                  <a:pt x="189" y="59"/>
                </a:cubicBezTo>
                <a:cubicBezTo>
                  <a:pt x="189" y="59"/>
                  <a:pt x="189" y="59"/>
                  <a:pt x="189" y="59"/>
                </a:cubicBezTo>
                <a:cubicBezTo>
                  <a:pt x="189" y="59"/>
                  <a:pt x="189" y="59"/>
                  <a:pt x="189" y="58"/>
                </a:cubicBezTo>
                <a:cubicBezTo>
                  <a:pt x="189" y="58"/>
                  <a:pt x="189" y="58"/>
                  <a:pt x="189" y="58"/>
                </a:cubicBezTo>
                <a:cubicBezTo>
                  <a:pt x="189" y="58"/>
                  <a:pt x="189" y="58"/>
                  <a:pt x="189" y="58"/>
                </a:cubicBezTo>
                <a:cubicBezTo>
                  <a:pt x="189" y="58"/>
                  <a:pt x="189" y="58"/>
                  <a:pt x="189" y="58"/>
                </a:cubicBezTo>
                <a:cubicBezTo>
                  <a:pt x="189" y="58"/>
                  <a:pt x="189" y="58"/>
                  <a:pt x="189" y="58"/>
                </a:cubicBezTo>
                <a:cubicBezTo>
                  <a:pt x="185" y="44"/>
                  <a:pt x="177" y="31"/>
                  <a:pt x="167" y="21"/>
                </a:cubicBezTo>
                <a:cubicBezTo>
                  <a:pt x="166" y="21"/>
                  <a:pt x="166" y="21"/>
                  <a:pt x="166" y="21"/>
                </a:cubicBezTo>
                <a:cubicBezTo>
                  <a:pt x="166" y="21"/>
                  <a:pt x="166" y="21"/>
                  <a:pt x="166" y="21"/>
                </a:cubicBezTo>
                <a:cubicBezTo>
                  <a:pt x="166" y="21"/>
                  <a:pt x="166" y="21"/>
                  <a:pt x="166" y="21"/>
                </a:cubicBezTo>
                <a:cubicBezTo>
                  <a:pt x="152" y="8"/>
                  <a:pt x="133" y="0"/>
                  <a:pt x="112" y="0"/>
                </a:cubicBezTo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60" name="ï$lîḓe">
            <a:extLst>
              <a:ext uri="{FF2B5EF4-FFF2-40B4-BE49-F238E27FC236}">
                <a16:creationId xmlns:a16="http://schemas.microsoft.com/office/drawing/2014/main" id="{08058584-5E44-461D-8561-5435145DA749}"/>
              </a:ext>
            </a:extLst>
          </p:cNvPr>
          <p:cNvSpPr>
            <a:spLocks/>
          </p:cNvSpPr>
          <p:nvPr/>
        </p:nvSpPr>
        <p:spPr bwMode="auto">
          <a:xfrm rot="16200000">
            <a:off x="1480650" y="2208739"/>
            <a:ext cx="514653" cy="210655"/>
          </a:xfrm>
          <a:custGeom>
            <a:avLst/>
            <a:gdLst>
              <a:gd name="T0" fmla="*/ 192 w 192"/>
              <a:gd name="T1" fmla="*/ 0 h 79"/>
              <a:gd name="T2" fmla="*/ 0 w 192"/>
              <a:gd name="T3" fmla="*/ 0 h 79"/>
              <a:gd name="T4" fmla="*/ 80 w 192"/>
              <a:gd name="T5" fmla="*/ 79 h 79"/>
              <a:gd name="T6" fmla="*/ 80 w 192"/>
              <a:gd name="T7" fmla="*/ 79 h 79"/>
              <a:gd name="T8" fmla="*/ 80 w 192"/>
              <a:gd name="T9" fmla="*/ 79 h 79"/>
              <a:gd name="T10" fmla="*/ 130 w 192"/>
              <a:gd name="T11" fmla="*/ 29 h 79"/>
              <a:gd name="T12" fmla="*/ 142 w 192"/>
              <a:gd name="T13" fmla="*/ 18 h 79"/>
              <a:gd name="T14" fmla="*/ 143 w 192"/>
              <a:gd name="T15" fmla="*/ 16 h 79"/>
              <a:gd name="T16" fmla="*/ 192 w 192"/>
              <a:gd name="T17" fmla="*/ 0 h 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92" h="79">
                <a:moveTo>
                  <a:pt x="192" y="0"/>
                </a:moveTo>
                <a:cubicBezTo>
                  <a:pt x="0" y="0"/>
                  <a:pt x="0" y="0"/>
                  <a:pt x="0" y="0"/>
                </a:cubicBezTo>
                <a:cubicBezTo>
                  <a:pt x="80" y="79"/>
                  <a:pt x="80" y="79"/>
                  <a:pt x="80" y="79"/>
                </a:cubicBezTo>
                <a:cubicBezTo>
                  <a:pt x="80" y="79"/>
                  <a:pt x="80" y="79"/>
                  <a:pt x="80" y="79"/>
                </a:cubicBezTo>
                <a:cubicBezTo>
                  <a:pt x="80" y="79"/>
                  <a:pt x="80" y="79"/>
                  <a:pt x="80" y="79"/>
                </a:cubicBezTo>
                <a:cubicBezTo>
                  <a:pt x="130" y="29"/>
                  <a:pt x="130" y="29"/>
                  <a:pt x="130" y="29"/>
                </a:cubicBezTo>
                <a:cubicBezTo>
                  <a:pt x="142" y="18"/>
                  <a:pt x="142" y="18"/>
                  <a:pt x="142" y="18"/>
                </a:cubicBezTo>
                <a:cubicBezTo>
                  <a:pt x="142" y="17"/>
                  <a:pt x="143" y="17"/>
                  <a:pt x="143" y="16"/>
                </a:cubicBezTo>
                <a:cubicBezTo>
                  <a:pt x="157" y="6"/>
                  <a:pt x="174" y="0"/>
                  <a:pt x="192" y="0"/>
                </a:cubicBezTo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61" name="îšḷíḑê">
            <a:extLst>
              <a:ext uri="{FF2B5EF4-FFF2-40B4-BE49-F238E27FC236}">
                <a16:creationId xmlns:a16="http://schemas.microsoft.com/office/drawing/2014/main" id="{11E1B38D-D7EA-491E-8890-6E22992A7736}"/>
              </a:ext>
            </a:extLst>
          </p:cNvPr>
          <p:cNvSpPr>
            <a:spLocks/>
          </p:cNvSpPr>
          <p:nvPr/>
        </p:nvSpPr>
        <p:spPr bwMode="auto">
          <a:xfrm rot="16200000">
            <a:off x="1691935" y="2208109"/>
            <a:ext cx="514653" cy="211916"/>
          </a:xfrm>
          <a:custGeom>
            <a:avLst/>
            <a:gdLst>
              <a:gd name="T0" fmla="*/ 80 w 192"/>
              <a:gd name="T1" fmla="*/ 0 h 79"/>
              <a:gd name="T2" fmla="*/ 0 w 192"/>
              <a:gd name="T3" fmla="*/ 79 h 79"/>
              <a:gd name="T4" fmla="*/ 192 w 192"/>
              <a:gd name="T5" fmla="*/ 79 h 79"/>
              <a:gd name="T6" fmla="*/ 192 w 192"/>
              <a:gd name="T7" fmla="*/ 79 h 79"/>
              <a:gd name="T8" fmla="*/ 153 w 192"/>
              <a:gd name="T9" fmla="*/ 69 h 79"/>
              <a:gd name="T10" fmla="*/ 142 w 192"/>
              <a:gd name="T11" fmla="*/ 62 h 79"/>
              <a:gd name="T12" fmla="*/ 130 w 192"/>
              <a:gd name="T13" fmla="*/ 50 h 79"/>
              <a:gd name="T14" fmla="*/ 109 w 192"/>
              <a:gd name="T15" fmla="*/ 28 h 79"/>
              <a:gd name="T16" fmla="*/ 80 w 192"/>
              <a:gd name="T17" fmla="*/ 0 h 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92" h="79">
                <a:moveTo>
                  <a:pt x="80" y="0"/>
                </a:moveTo>
                <a:cubicBezTo>
                  <a:pt x="0" y="79"/>
                  <a:pt x="0" y="79"/>
                  <a:pt x="0" y="79"/>
                </a:cubicBezTo>
                <a:cubicBezTo>
                  <a:pt x="192" y="79"/>
                  <a:pt x="192" y="79"/>
                  <a:pt x="192" y="79"/>
                </a:cubicBezTo>
                <a:cubicBezTo>
                  <a:pt x="192" y="79"/>
                  <a:pt x="192" y="79"/>
                  <a:pt x="192" y="79"/>
                </a:cubicBezTo>
                <a:cubicBezTo>
                  <a:pt x="178" y="79"/>
                  <a:pt x="165" y="76"/>
                  <a:pt x="153" y="69"/>
                </a:cubicBezTo>
                <a:cubicBezTo>
                  <a:pt x="149" y="67"/>
                  <a:pt x="145" y="65"/>
                  <a:pt x="142" y="62"/>
                </a:cubicBezTo>
                <a:cubicBezTo>
                  <a:pt x="130" y="50"/>
                  <a:pt x="130" y="50"/>
                  <a:pt x="130" y="50"/>
                </a:cubicBezTo>
                <a:cubicBezTo>
                  <a:pt x="109" y="28"/>
                  <a:pt x="109" y="28"/>
                  <a:pt x="109" y="28"/>
                </a:cubicBezTo>
                <a:cubicBezTo>
                  <a:pt x="80" y="0"/>
                  <a:pt x="80" y="0"/>
                  <a:pt x="80" y="0"/>
                </a:cubicBezTo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62" name="íṣlïḓê">
            <a:extLst>
              <a:ext uri="{FF2B5EF4-FFF2-40B4-BE49-F238E27FC236}">
                <a16:creationId xmlns:a16="http://schemas.microsoft.com/office/drawing/2014/main" id="{BE0DAC84-C3E0-4E8D-9ACE-8B65F8C018E7}"/>
              </a:ext>
            </a:extLst>
          </p:cNvPr>
          <p:cNvSpPr/>
          <p:nvPr/>
        </p:nvSpPr>
        <p:spPr>
          <a:xfrm>
            <a:off x="1731068" y="1935043"/>
            <a:ext cx="221950" cy="22195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481" y="12956"/>
                </a:moveTo>
                <a:cubicBezTo>
                  <a:pt x="17070" y="12258"/>
                  <a:pt x="16576" y="11533"/>
                  <a:pt x="16011" y="10795"/>
                </a:cubicBezTo>
                <a:cubicBezTo>
                  <a:pt x="16573" y="10063"/>
                  <a:pt x="17072" y="9339"/>
                  <a:pt x="17481" y="8644"/>
                </a:cubicBezTo>
                <a:cubicBezTo>
                  <a:pt x="19410" y="9181"/>
                  <a:pt x="20618" y="9948"/>
                  <a:pt x="20618" y="10800"/>
                </a:cubicBezTo>
                <a:cubicBezTo>
                  <a:pt x="20618" y="11652"/>
                  <a:pt x="19410" y="12419"/>
                  <a:pt x="17481" y="12956"/>
                </a:cubicBezTo>
                <a:moveTo>
                  <a:pt x="17742" y="17743"/>
                </a:moveTo>
                <a:cubicBezTo>
                  <a:pt x="17140" y="18345"/>
                  <a:pt x="15740" y="18028"/>
                  <a:pt x="13996" y="17045"/>
                </a:cubicBezTo>
                <a:cubicBezTo>
                  <a:pt x="14198" y="16261"/>
                  <a:pt x="14365" y="15406"/>
                  <a:pt x="14487" y="14488"/>
                </a:cubicBezTo>
                <a:cubicBezTo>
                  <a:pt x="15405" y="14366"/>
                  <a:pt x="16261" y="14198"/>
                  <a:pt x="17044" y="13996"/>
                </a:cubicBezTo>
                <a:cubicBezTo>
                  <a:pt x="18028" y="15740"/>
                  <a:pt x="18345" y="17140"/>
                  <a:pt x="17742" y="17743"/>
                </a:cubicBezTo>
                <a:moveTo>
                  <a:pt x="15404" y="11561"/>
                </a:moveTo>
                <a:cubicBezTo>
                  <a:pt x="15837" y="12119"/>
                  <a:pt x="16219" y="12662"/>
                  <a:pt x="16554" y="13185"/>
                </a:cubicBezTo>
                <a:cubicBezTo>
                  <a:pt x="15950" y="13317"/>
                  <a:pt x="15295" y="13429"/>
                  <a:pt x="14597" y="13517"/>
                </a:cubicBezTo>
                <a:cubicBezTo>
                  <a:pt x="14631" y="13155"/>
                  <a:pt x="14655" y="12784"/>
                  <a:pt x="14677" y="12409"/>
                </a:cubicBezTo>
                <a:cubicBezTo>
                  <a:pt x="14930" y="12127"/>
                  <a:pt x="15170" y="11844"/>
                  <a:pt x="15404" y="11561"/>
                </a:cubicBezTo>
                <a:moveTo>
                  <a:pt x="15402" y="10032"/>
                </a:moveTo>
                <a:cubicBezTo>
                  <a:pt x="15170" y="9752"/>
                  <a:pt x="14928" y="9471"/>
                  <a:pt x="14677" y="9191"/>
                </a:cubicBezTo>
                <a:cubicBezTo>
                  <a:pt x="14655" y="8817"/>
                  <a:pt x="14631" y="8445"/>
                  <a:pt x="14597" y="8084"/>
                </a:cubicBezTo>
                <a:cubicBezTo>
                  <a:pt x="15295" y="8171"/>
                  <a:pt x="15950" y="8283"/>
                  <a:pt x="16554" y="8415"/>
                </a:cubicBezTo>
                <a:cubicBezTo>
                  <a:pt x="16221" y="8935"/>
                  <a:pt x="15832" y="9478"/>
                  <a:pt x="15402" y="10032"/>
                </a:cubicBezTo>
                <a:moveTo>
                  <a:pt x="17742" y="3857"/>
                </a:moveTo>
                <a:cubicBezTo>
                  <a:pt x="18345" y="4460"/>
                  <a:pt x="18028" y="5860"/>
                  <a:pt x="17044" y="7604"/>
                </a:cubicBezTo>
                <a:cubicBezTo>
                  <a:pt x="16261" y="7402"/>
                  <a:pt x="15405" y="7234"/>
                  <a:pt x="14487" y="7112"/>
                </a:cubicBezTo>
                <a:cubicBezTo>
                  <a:pt x="14365" y="6194"/>
                  <a:pt x="14198" y="5339"/>
                  <a:pt x="13996" y="4555"/>
                </a:cubicBezTo>
                <a:cubicBezTo>
                  <a:pt x="15740" y="3572"/>
                  <a:pt x="17140" y="3255"/>
                  <a:pt x="17742" y="3857"/>
                </a:cubicBezTo>
                <a:moveTo>
                  <a:pt x="13718" y="12012"/>
                </a:moveTo>
                <a:cubicBezTo>
                  <a:pt x="13448" y="12303"/>
                  <a:pt x="13172" y="12593"/>
                  <a:pt x="12882" y="12883"/>
                </a:cubicBezTo>
                <a:cubicBezTo>
                  <a:pt x="12593" y="13172"/>
                  <a:pt x="12303" y="13449"/>
                  <a:pt x="12012" y="13719"/>
                </a:cubicBezTo>
                <a:cubicBezTo>
                  <a:pt x="11614" y="13733"/>
                  <a:pt x="11212" y="13745"/>
                  <a:pt x="10800" y="13745"/>
                </a:cubicBezTo>
                <a:cubicBezTo>
                  <a:pt x="10387" y="13745"/>
                  <a:pt x="9985" y="13733"/>
                  <a:pt x="9587" y="13719"/>
                </a:cubicBezTo>
                <a:cubicBezTo>
                  <a:pt x="9297" y="13449"/>
                  <a:pt x="9006" y="13172"/>
                  <a:pt x="8717" y="12883"/>
                </a:cubicBezTo>
                <a:cubicBezTo>
                  <a:pt x="8428" y="12593"/>
                  <a:pt x="8152" y="12303"/>
                  <a:pt x="7881" y="12012"/>
                </a:cubicBezTo>
                <a:cubicBezTo>
                  <a:pt x="7866" y="11614"/>
                  <a:pt x="7855" y="11212"/>
                  <a:pt x="7855" y="10800"/>
                </a:cubicBezTo>
                <a:cubicBezTo>
                  <a:pt x="7855" y="10388"/>
                  <a:pt x="7866" y="9986"/>
                  <a:pt x="7881" y="9587"/>
                </a:cubicBezTo>
                <a:cubicBezTo>
                  <a:pt x="8152" y="9297"/>
                  <a:pt x="8428" y="9007"/>
                  <a:pt x="8717" y="8717"/>
                </a:cubicBezTo>
                <a:cubicBezTo>
                  <a:pt x="9006" y="8428"/>
                  <a:pt x="9297" y="8151"/>
                  <a:pt x="9587" y="7881"/>
                </a:cubicBezTo>
                <a:cubicBezTo>
                  <a:pt x="9985" y="7867"/>
                  <a:pt x="10387" y="7855"/>
                  <a:pt x="10800" y="7855"/>
                </a:cubicBezTo>
                <a:cubicBezTo>
                  <a:pt x="11212" y="7855"/>
                  <a:pt x="11614" y="7867"/>
                  <a:pt x="12012" y="7881"/>
                </a:cubicBezTo>
                <a:cubicBezTo>
                  <a:pt x="12303" y="8151"/>
                  <a:pt x="12593" y="8428"/>
                  <a:pt x="12882" y="8717"/>
                </a:cubicBezTo>
                <a:cubicBezTo>
                  <a:pt x="13172" y="9007"/>
                  <a:pt x="13448" y="9297"/>
                  <a:pt x="13718" y="9587"/>
                </a:cubicBezTo>
                <a:cubicBezTo>
                  <a:pt x="13733" y="9986"/>
                  <a:pt x="13745" y="10388"/>
                  <a:pt x="13745" y="10800"/>
                </a:cubicBezTo>
                <a:cubicBezTo>
                  <a:pt x="13745" y="11212"/>
                  <a:pt x="13733" y="11614"/>
                  <a:pt x="13718" y="12012"/>
                </a:cubicBezTo>
                <a:moveTo>
                  <a:pt x="13185" y="16555"/>
                </a:moveTo>
                <a:cubicBezTo>
                  <a:pt x="12662" y="16219"/>
                  <a:pt x="12120" y="15837"/>
                  <a:pt x="11561" y="15404"/>
                </a:cubicBezTo>
                <a:cubicBezTo>
                  <a:pt x="11844" y="15170"/>
                  <a:pt x="12127" y="14931"/>
                  <a:pt x="12409" y="14677"/>
                </a:cubicBezTo>
                <a:cubicBezTo>
                  <a:pt x="12783" y="14655"/>
                  <a:pt x="13155" y="14631"/>
                  <a:pt x="13517" y="14597"/>
                </a:cubicBezTo>
                <a:cubicBezTo>
                  <a:pt x="13429" y="15295"/>
                  <a:pt x="13316" y="15950"/>
                  <a:pt x="13185" y="16555"/>
                </a:cubicBezTo>
                <a:moveTo>
                  <a:pt x="10800" y="20618"/>
                </a:moveTo>
                <a:cubicBezTo>
                  <a:pt x="9948" y="20618"/>
                  <a:pt x="9181" y="19410"/>
                  <a:pt x="8643" y="17481"/>
                </a:cubicBezTo>
                <a:cubicBezTo>
                  <a:pt x="9339" y="17072"/>
                  <a:pt x="10062" y="16573"/>
                  <a:pt x="10795" y="16011"/>
                </a:cubicBezTo>
                <a:cubicBezTo>
                  <a:pt x="11532" y="16576"/>
                  <a:pt x="12258" y="17070"/>
                  <a:pt x="12957" y="17481"/>
                </a:cubicBezTo>
                <a:cubicBezTo>
                  <a:pt x="12419" y="19410"/>
                  <a:pt x="11652" y="20618"/>
                  <a:pt x="10800" y="20618"/>
                </a:cubicBezTo>
                <a:moveTo>
                  <a:pt x="8083" y="14597"/>
                </a:moveTo>
                <a:cubicBezTo>
                  <a:pt x="8445" y="14631"/>
                  <a:pt x="8816" y="14655"/>
                  <a:pt x="9190" y="14677"/>
                </a:cubicBezTo>
                <a:cubicBezTo>
                  <a:pt x="9471" y="14929"/>
                  <a:pt x="9751" y="15170"/>
                  <a:pt x="10032" y="15403"/>
                </a:cubicBezTo>
                <a:cubicBezTo>
                  <a:pt x="9478" y="15832"/>
                  <a:pt x="8935" y="16221"/>
                  <a:pt x="8415" y="16555"/>
                </a:cubicBezTo>
                <a:cubicBezTo>
                  <a:pt x="8283" y="15950"/>
                  <a:pt x="8171" y="15295"/>
                  <a:pt x="8083" y="14597"/>
                </a:cubicBezTo>
                <a:moveTo>
                  <a:pt x="8415" y="5045"/>
                </a:moveTo>
                <a:cubicBezTo>
                  <a:pt x="8938" y="5381"/>
                  <a:pt x="9480" y="5762"/>
                  <a:pt x="10038" y="6196"/>
                </a:cubicBezTo>
                <a:cubicBezTo>
                  <a:pt x="9756" y="6430"/>
                  <a:pt x="9473" y="6670"/>
                  <a:pt x="9190" y="6924"/>
                </a:cubicBezTo>
                <a:cubicBezTo>
                  <a:pt x="8816" y="6945"/>
                  <a:pt x="8445" y="6969"/>
                  <a:pt x="8083" y="7003"/>
                </a:cubicBezTo>
                <a:cubicBezTo>
                  <a:pt x="8171" y="6305"/>
                  <a:pt x="8283" y="5650"/>
                  <a:pt x="8415" y="5045"/>
                </a:cubicBezTo>
                <a:moveTo>
                  <a:pt x="10800" y="982"/>
                </a:moveTo>
                <a:cubicBezTo>
                  <a:pt x="11652" y="982"/>
                  <a:pt x="12419" y="2191"/>
                  <a:pt x="12957" y="4119"/>
                </a:cubicBezTo>
                <a:cubicBezTo>
                  <a:pt x="12261" y="4528"/>
                  <a:pt x="11537" y="5027"/>
                  <a:pt x="10804" y="5589"/>
                </a:cubicBezTo>
                <a:cubicBezTo>
                  <a:pt x="10067" y="5024"/>
                  <a:pt x="9341" y="4530"/>
                  <a:pt x="8643" y="4119"/>
                </a:cubicBezTo>
                <a:cubicBezTo>
                  <a:pt x="9181" y="2191"/>
                  <a:pt x="9948" y="982"/>
                  <a:pt x="10800" y="982"/>
                </a:cubicBezTo>
                <a:moveTo>
                  <a:pt x="13517" y="7003"/>
                </a:moveTo>
                <a:cubicBezTo>
                  <a:pt x="13155" y="6969"/>
                  <a:pt x="12783" y="6945"/>
                  <a:pt x="12409" y="6924"/>
                </a:cubicBezTo>
                <a:cubicBezTo>
                  <a:pt x="12129" y="6671"/>
                  <a:pt x="11848" y="6430"/>
                  <a:pt x="11568" y="6198"/>
                </a:cubicBezTo>
                <a:cubicBezTo>
                  <a:pt x="12122" y="5768"/>
                  <a:pt x="12665" y="5379"/>
                  <a:pt x="13185" y="5045"/>
                </a:cubicBezTo>
                <a:cubicBezTo>
                  <a:pt x="13316" y="5650"/>
                  <a:pt x="13429" y="6305"/>
                  <a:pt x="13517" y="7003"/>
                </a:cubicBezTo>
                <a:moveTo>
                  <a:pt x="7112" y="7112"/>
                </a:moveTo>
                <a:cubicBezTo>
                  <a:pt x="6194" y="7234"/>
                  <a:pt x="5339" y="7402"/>
                  <a:pt x="4555" y="7604"/>
                </a:cubicBezTo>
                <a:cubicBezTo>
                  <a:pt x="3572" y="5860"/>
                  <a:pt x="3255" y="4460"/>
                  <a:pt x="3858" y="3857"/>
                </a:cubicBezTo>
                <a:cubicBezTo>
                  <a:pt x="4460" y="3255"/>
                  <a:pt x="5860" y="3572"/>
                  <a:pt x="7604" y="4555"/>
                </a:cubicBezTo>
                <a:cubicBezTo>
                  <a:pt x="7402" y="5339"/>
                  <a:pt x="7234" y="6194"/>
                  <a:pt x="7112" y="7112"/>
                </a:cubicBezTo>
                <a:moveTo>
                  <a:pt x="3858" y="17743"/>
                </a:moveTo>
                <a:cubicBezTo>
                  <a:pt x="3255" y="17140"/>
                  <a:pt x="3572" y="15740"/>
                  <a:pt x="4555" y="13996"/>
                </a:cubicBezTo>
                <a:cubicBezTo>
                  <a:pt x="5339" y="14198"/>
                  <a:pt x="6194" y="14366"/>
                  <a:pt x="7112" y="14488"/>
                </a:cubicBezTo>
                <a:cubicBezTo>
                  <a:pt x="7234" y="15406"/>
                  <a:pt x="7402" y="16261"/>
                  <a:pt x="7604" y="17045"/>
                </a:cubicBezTo>
                <a:cubicBezTo>
                  <a:pt x="5860" y="18028"/>
                  <a:pt x="4460" y="18345"/>
                  <a:pt x="3858" y="17743"/>
                </a:cubicBezTo>
                <a:moveTo>
                  <a:pt x="7003" y="13517"/>
                </a:moveTo>
                <a:cubicBezTo>
                  <a:pt x="6305" y="13429"/>
                  <a:pt x="5650" y="13317"/>
                  <a:pt x="5045" y="13185"/>
                </a:cubicBezTo>
                <a:cubicBezTo>
                  <a:pt x="5379" y="12665"/>
                  <a:pt x="5768" y="12122"/>
                  <a:pt x="6197" y="11568"/>
                </a:cubicBezTo>
                <a:cubicBezTo>
                  <a:pt x="6429" y="11848"/>
                  <a:pt x="6671" y="12129"/>
                  <a:pt x="6923" y="12409"/>
                </a:cubicBezTo>
                <a:cubicBezTo>
                  <a:pt x="6944" y="12784"/>
                  <a:pt x="6968" y="13155"/>
                  <a:pt x="7003" y="13517"/>
                </a:cubicBezTo>
                <a:moveTo>
                  <a:pt x="6923" y="9191"/>
                </a:moveTo>
                <a:cubicBezTo>
                  <a:pt x="6669" y="9473"/>
                  <a:pt x="6429" y="9756"/>
                  <a:pt x="6196" y="10039"/>
                </a:cubicBezTo>
                <a:cubicBezTo>
                  <a:pt x="5763" y="9481"/>
                  <a:pt x="5381" y="8938"/>
                  <a:pt x="5045" y="8415"/>
                </a:cubicBezTo>
                <a:cubicBezTo>
                  <a:pt x="5650" y="8283"/>
                  <a:pt x="6305" y="8171"/>
                  <a:pt x="7003" y="8084"/>
                </a:cubicBezTo>
                <a:cubicBezTo>
                  <a:pt x="6968" y="8445"/>
                  <a:pt x="6944" y="8816"/>
                  <a:pt x="6923" y="9191"/>
                </a:cubicBezTo>
                <a:moveTo>
                  <a:pt x="982" y="10800"/>
                </a:moveTo>
                <a:cubicBezTo>
                  <a:pt x="982" y="9948"/>
                  <a:pt x="2190" y="9181"/>
                  <a:pt x="4119" y="8644"/>
                </a:cubicBezTo>
                <a:cubicBezTo>
                  <a:pt x="4530" y="9342"/>
                  <a:pt x="5023" y="10067"/>
                  <a:pt x="5588" y="10805"/>
                </a:cubicBezTo>
                <a:cubicBezTo>
                  <a:pt x="5027" y="11537"/>
                  <a:pt x="4528" y="12262"/>
                  <a:pt x="4119" y="12956"/>
                </a:cubicBezTo>
                <a:cubicBezTo>
                  <a:pt x="2190" y="12419"/>
                  <a:pt x="982" y="11652"/>
                  <a:pt x="982" y="10800"/>
                </a:cubicBezTo>
                <a:moveTo>
                  <a:pt x="21600" y="10800"/>
                </a:moveTo>
                <a:cubicBezTo>
                  <a:pt x="21600" y="9624"/>
                  <a:pt x="20173" y="8571"/>
                  <a:pt x="17918" y="7853"/>
                </a:cubicBezTo>
                <a:cubicBezTo>
                  <a:pt x="19002" y="5750"/>
                  <a:pt x="19269" y="3995"/>
                  <a:pt x="18437" y="3163"/>
                </a:cubicBezTo>
                <a:cubicBezTo>
                  <a:pt x="17605" y="2332"/>
                  <a:pt x="15850" y="2598"/>
                  <a:pt x="13748" y="3682"/>
                </a:cubicBezTo>
                <a:cubicBezTo>
                  <a:pt x="13029" y="1427"/>
                  <a:pt x="11976" y="0"/>
                  <a:pt x="10800" y="0"/>
                </a:cubicBezTo>
                <a:cubicBezTo>
                  <a:pt x="9623" y="0"/>
                  <a:pt x="8571" y="1427"/>
                  <a:pt x="7852" y="3682"/>
                </a:cubicBezTo>
                <a:cubicBezTo>
                  <a:pt x="5750" y="2598"/>
                  <a:pt x="3995" y="2332"/>
                  <a:pt x="3163" y="3163"/>
                </a:cubicBezTo>
                <a:cubicBezTo>
                  <a:pt x="2331" y="3995"/>
                  <a:pt x="2598" y="5750"/>
                  <a:pt x="3682" y="7853"/>
                </a:cubicBezTo>
                <a:cubicBezTo>
                  <a:pt x="1426" y="8571"/>
                  <a:pt x="0" y="9624"/>
                  <a:pt x="0" y="10800"/>
                </a:cubicBezTo>
                <a:cubicBezTo>
                  <a:pt x="0" y="11976"/>
                  <a:pt x="1426" y="13029"/>
                  <a:pt x="3682" y="13748"/>
                </a:cubicBezTo>
                <a:cubicBezTo>
                  <a:pt x="2598" y="15851"/>
                  <a:pt x="2331" y="17605"/>
                  <a:pt x="3163" y="18437"/>
                </a:cubicBezTo>
                <a:cubicBezTo>
                  <a:pt x="3995" y="19268"/>
                  <a:pt x="5750" y="19002"/>
                  <a:pt x="7852" y="17918"/>
                </a:cubicBezTo>
                <a:cubicBezTo>
                  <a:pt x="8571" y="20173"/>
                  <a:pt x="9623" y="21600"/>
                  <a:pt x="10800" y="21600"/>
                </a:cubicBezTo>
                <a:cubicBezTo>
                  <a:pt x="11976" y="21600"/>
                  <a:pt x="13029" y="20173"/>
                  <a:pt x="13748" y="17918"/>
                </a:cubicBezTo>
                <a:cubicBezTo>
                  <a:pt x="15850" y="19002"/>
                  <a:pt x="17605" y="19268"/>
                  <a:pt x="18437" y="18437"/>
                </a:cubicBezTo>
                <a:cubicBezTo>
                  <a:pt x="19269" y="17605"/>
                  <a:pt x="19002" y="15851"/>
                  <a:pt x="17918" y="13748"/>
                </a:cubicBezTo>
                <a:cubicBezTo>
                  <a:pt x="20173" y="13029"/>
                  <a:pt x="21600" y="11976"/>
                  <a:pt x="21600" y="10800"/>
                </a:cubicBezTo>
                <a:moveTo>
                  <a:pt x="10800" y="9818"/>
                </a:moveTo>
                <a:cubicBezTo>
                  <a:pt x="10258" y="9818"/>
                  <a:pt x="9818" y="10258"/>
                  <a:pt x="9818" y="10800"/>
                </a:cubicBezTo>
                <a:cubicBezTo>
                  <a:pt x="9818" y="11342"/>
                  <a:pt x="10258" y="11782"/>
                  <a:pt x="10800" y="11782"/>
                </a:cubicBezTo>
                <a:cubicBezTo>
                  <a:pt x="11342" y="11782"/>
                  <a:pt x="11782" y="11342"/>
                  <a:pt x="11782" y="10800"/>
                </a:cubicBezTo>
                <a:cubicBezTo>
                  <a:pt x="11782" y="10258"/>
                  <a:pt x="11342" y="9818"/>
                  <a:pt x="10800" y="9818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55" name="îsľiḓé">
            <a:extLst>
              <a:ext uri="{FF2B5EF4-FFF2-40B4-BE49-F238E27FC236}">
                <a16:creationId xmlns:a16="http://schemas.microsoft.com/office/drawing/2014/main" id="{0BAA5B20-EFCC-497A-91F0-C99B35F8B082}"/>
              </a:ext>
            </a:extLst>
          </p:cNvPr>
          <p:cNvSpPr>
            <a:spLocks/>
          </p:cNvSpPr>
          <p:nvPr/>
        </p:nvSpPr>
        <p:spPr bwMode="auto">
          <a:xfrm>
            <a:off x="759916" y="4284195"/>
            <a:ext cx="2164253" cy="5573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90000" anchor="t" anchorCtr="0">
            <a:normAutofit/>
          </a:bodyPr>
          <a:lstStyle/>
          <a:p>
            <a:pPr algn="ctr" eaLnBrk="1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zh-CN" altLang="en-US" sz="1000"/>
              <a:t>此部分内容作为文字排版占位显示</a:t>
            </a:r>
            <a:br>
              <a:rPr lang="zh-CN" altLang="en-US" sz="1000"/>
            </a:br>
            <a:r>
              <a:rPr lang="zh-CN" altLang="en-US" sz="1000"/>
              <a:t> （建议使用主题字体）</a:t>
            </a:r>
            <a:endParaRPr lang="zh-CN" altLang="en-US" sz="1000" dirty="0"/>
          </a:p>
        </p:txBody>
      </p:sp>
      <p:sp>
        <p:nvSpPr>
          <p:cNvPr id="56" name="íṩ1íďé">
            <a:extLst>
              <a:ext uri="{FF2B5EF4-FFF2-40B4-BE49-F238E27FC236}">
                <a16:creationId xmlns:a16="http://schemas.microsoft.com/office/drawing/2014/main" id="{DC22DFFC-E52B-4592-8DF2-62318C3E5B31}"/>
              </a:ext>
            </a:extLst>
          </p:cNvPr>
          <p:cNvSpPr txBox="1">
            <a:spLocks/>
          </p:cNvSpPr>
          <p:nvPr/>
        </p:nvSpPr>
        <p:spPr bwMode="auto">
          <a:xfrm>
            <a:off x="759916" y="3933056"/>
            <a:ext cx="2164253" cy="3511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0000">
            <a:normAutofit lnSpcReduction="10000"/>
          </a:bodyPr>
          <a:lstStyle/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zh-CN" altLang="en-US" sz="1800" b="1">
                <a:solidFill>
                  <a:schemeClr val="accent1"/>
                </a:solidFill>
              </a:rPr>
              <a:t>标题文本预设</a:t>
            </a:r>
            <a:endParaRPr lang="zh-CN" altLang="en-US" sz="1800" b="1" dirty="0">
              <a:solidFill>
                <a:schemeClr val="accent1"/>
              </a:solidFill>
            </a:endParaRPr>
          </a:p>
        </p:txBody>
      </p:sp>
      <p:sp>
        <p:nvSpPr>
          <p:cNvPr id="47" name="iṣļïdè">
            <a:extLst>
              <a:ext uri="{FF2B5EF4-FFF2-40B4-BE49-F238E27FC236}">
                <a16:creationId xmlns:a16="http://schemas.microsoft.com/office/drawing/2014/main" id="{010E2FE4-897A-4965-863F-06004404748E}"/>
              </a:ext>
            </a:extLst>
          </p:cNvPr>
          <p:cNvSpPr>
            <a:spLocks/>
          </p:cNvSpPr>
          <p:nvPr/>
        </p:nvSpPr>
        <p:spPr bwMode="auto">
          <a:xfrm rot="5400000">
            <a:off x="3132708" y="2467957"/>
            <a:ext cx="1672622" cy="426355"/>
          </a:xfrm>
          <a:custGeom>
            <a:avLst/>
            <a:gdLst>
              <a:gd name="T0" fmla="*/ 545 w 624"/>
              <a:gd name="T1" fmla="*/ 159 h 159"/>
              <a:gd name="T2" fmla="*/ 79 w 624"/>
              <a:gd name="T3" fmla="*/ 159 h 159"/>
              <a:gd name="T4" fmla="*/ 0 w 624"/>
              <a:gd name="T5" fmla="*/ 79 h 159"/>
              <a:gd name="T6" fmla="*/ 79 w 624"/>
              <a:gd name="T7" fmla="*/ 0 h 159"/>
              <a:gd name="T8" fmla="*/ 545 w 624"/>
              <a:gd name="T9" fmla="*/ 0 h 159"/>
              <a:gd name="T10" fmla="*/ 624 w 624"/>
              <a:gd name="T11" fmla="*/ 79 h 159"/>
              <a:gd name="T12" fmla="*/ 545 w 624"/>
              <a:gd name="T13" fmla="*/ 159 h 1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24" h="159">
                <a:moveTo>
                  <a:pt x="545" y="159"/>
                </a:moveTo>
                <a:cubicBezTo>
                  <a:pt x="79" y="159"/>
                  <a:pt x="79" y="159"/>
                  <a:pt x="79" y="159"/>
                </a:cubicBezTo>
                <a:cubicBezTo>
                  <a:pt x="35" y="159"/>
                  <a:pt x="0" y="123"/>
                  <a:pt x="0" y="79"/>
                </a:cubicBezTo>
                <a:cubicBezTo>
                  <a:pt x="0" y="36"/>
                  <a:pt x="35" y="0"/>
                  <a:pt x="79" y="0"/>
                </a:cubicBezTo>
                <a:cubicBezTo>
                  <a:pt x="545" y="0"/>
                  <a:pt x="545" y="0"/>
                  <a:pt x="545" y="0"/>
                </a:cubicBezTo>
                <a:cubicBezTo>
                  <a:pt x="589" y="0"/>
                  <a:pt x="624" y="36"/>
                  <a:pt x="624" y="79"/>
                </a:cubicBezTo>
                <a:cubicBezTo>
                  <a:pt x="624" y="123"/>
                  <a:pt x="589" y="159"/>
                  <a:pt x="545" y="159"/>
                </a:cubicBezTo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48" name="ïşļíḋe">
            <a:extLst>
              <a:ext uri="{FF2B5EF4-FFF2-40B4-BE49-F238E27FC236}">
                <a16:creationId xmlns:a16="http://schemas.microsoft.com/office/drawing/2014/main" id="{D222F24D-8CFB-4519-8A13-374F98CCDF22}"/>
              </a:ext>
            </a:extLst>
          </p:cNvPr>
          <p:cNvSpPr>
            <a:spLocks/>
          </p:cNvSpPr>
          <p:nvPr/>
        </p:nvSpPr>
        <p:spPr bwMode="auto">
          <a:xfrm rot="5400000">
            <a:off x="3533834" y="2423808"/>
            <a:ext cx="871631" cy="1315646"/>
          </a:xfrm>
          <a:custGeom>
            <a:avLst/>
            <a:gdLst>
              <a:gd name="T0" fmla="*/ 325 w 325"/>
              <a:gd name="T1" fmla="*/ 245 h 491"/>
              <a:gd name="T2" fmla="*/ 301 w 325"/>
              <a:gd name="T3" fmla="*/ 303 h 491"/>
              <a:gd name="T4" fmla="*/ 300 w 325"/>
              <a:gd name="T5" fmla="*/ 303 h 491"/>
              <a:gd name="T6" fmla="*/ 143 w 325"/>
              <a:gd name="T7" fmla="*/ 460 h 491"/>
              <a:gd name="T8" fmla="*/ 31 w 325"/>
              <a:gd name="T9" fmla="*/ 460 h 491"/>
              <a:gd name="T10" fmla="*/ 31 w 325"/>
              <a:gd name="T11" fmla="*/ 348 h 491"/>
              <a:gd name="T12" fmla="*/ 134 w 325"/>
              <a:gd name="T13" fmla="*/ 245 h 491"/>
              <a:gd name="T14" fmla="*/ 31 w 325"/>
              <a:gd name="T15" fmla="*/ 143 h 491"/>
              <a:gd name="T16" fmla="*/ 31 w 325"/>
              <a:gd name="T17" fmla="*/ 31 h 491"/>
              <a:gd name="T18" fmla="*/ 143 w 325"/>
              <a:gd name="T19" fmla="*/ 31 h 491"/>
              <a:gd name="T20" fmla="*/ 300 w 325"/>
              <a:gd name="T21" fmla="*/ 188 h 491"/>
              <a:gd name="T22" fmla="*/ 301 w 325"/>
              <a:gd name="T23" fmla="*/ 188 h 491"/>
              <a:gd name="T24" fmla="*/ 325 w 325"/>
              <a:gd name="T25" fmla="*/ 245 h 4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325" h="491">
                <a:moveTo>
                  <a:pt x="325" y="245"/>
                </a:moveTo>
                <a:cubicBezTo>
                  <a:pt x="325" y="268"/>
                  <a:pt x="316" y="289"/>
                  <a:pt x="301" y="303"/>
                </a:cubicBezTo>
                <a:cubicBezTo>
                  <a:pt x="300" y="303"/>
                  <a:pt x="300" y="303"/>
                  <a:pt x="300" y="303"/>
                </a:cubicBezTo>
                <a:cubicBezTo>
                  <a:pt x="143" y="460"/>
                  <a:pt x="143" y="460"/>
                  <a:pt x="143" y="460"/>
                </a:cubicBezTo>
                <a:cubicBezTo>
                  <a:pt x="112" y="491"/>
                  <a:pt x="62" y="491"/>
                  <a:pt x="31" y="460"/>
                </a:cubicBezTo>
                <a:cubicBezTo>
                  <a:pt x="0" y="429"/>
                  <a:pt x="0" y="379"/>
                  <a:pt x="31" y="348"/>
                </a:cubicBezTo>
                <a:cubicBezTo>
                  <a:pt x="134" y="245"/>
                  <a:pt x="134" y="245"/>
                  <a:pt x="134" y="245"/>
                </a:cubicBezTo>
                <a:cubicBezTo>
                  <a:pt x="31" y="143"/>
                  <a:pt x="31" y="143"/>
                  <a:pt x="31" y="143"/>
                </a:cubicBezTo>
                <a:cubicBezTo>
                  <a:pt x="0" y="112"/>
                  <a:pt x="0" y="62"/>
                  <a:pt x="31" y="31"/>
                </a:cubicBezTo>
                <a:cubicBezTo>
                  <a:pt x="62" y="0"/>
                  <a:pt x="112" y="0"/>
                  <a:pt x="143" y="31"/>
                </a:cubicBezTo>
                <a:cubicBezTo>
                  <a:pt x="300" y="188"/>
                  <a:pt x="300" y="188"/>
                  <a:pt x="300" y="188"/>
                </a:cubicBezTo>
                <a:cubicBezTo>
                  <a:pt x="301" y="188"/>
                  <a:pt x="301" y="188"/>
                  <a:pt x="301" y="188"/>
                </a:cubicBezTo>
                <a:cubicBezTo>
                  <a:pt x="316" y="202"/>
                  <a:pt x="325" y="223"/>
                  <a:pt x="325" y="245"/>
                </a:cubicBezTo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49" name="iṧľïḋè">
            <a:extLst>
              <a:ext uri="{FF2B5EF4-FFF2-40B4-BE49-F238E27FC236}">
                <a16:creationId xmlns:a16="http://schemas.microsoft.com/office/drawing/2014/main" id="{0127AE56-051A-4E4B-8D07-70FF3278F404}"/>
              </a:ext>
            </a:extLst>
          </p:cNvPr>
          <p:cNvSpPr>
            <a:spLocks/>
          </p:cNvSpPr>
          <p:nvPr/>
        </p:nvSpPr>
        <p:spPr bwMode="auto">
          <a:xfrm rot="5400000">
            <a:off x="3712954" y="3048203"/>
            <a:ext cx="512130" cy="426355"/>
          </a:xfrm>
          <a:custGeom>
            <a:avLst/>
            <a:gdLst>
              <a:gd name="T0" fmla="*/ 63 w 191"/>
              <a:gd name="T1" fmla="*/ 17 h 159"/>
              <a:gd name="T2" fmla="*/ 50 w 191"/>
              <a:gd name="T3" fmla="*/ 29 h 159"/>
              <a:gd name="T4" fmla="*/ 29 w 191"/>
              <a:gd name="T5" fmla="*/ 109 h 159"/>
              <a:gd name="T6" fmla="*/ 62 w 191"/>
              <a:gd name="T7" fmla="*/ 141 h 159"/>
              <a:gd name="T8" fmla="*/ 112 w 191"/>
              <a:gd name="T9" fmla="*/ 159 h 159"/>
              <a:gd name="T10" fmla="*/ 112 w 191"/>
              <a:gd name="T11" fmla="*/ 159 h 159"/>
              <a:gd name="T12" fmla="*/ 166 w 191"/>
              <a:gd name="T13" fmla="*/ 137 h 159"/>
              <a:gd name="T14" fmla="*/ 167 w 191"/>
              <a:gd name="T15" fmla="*/ 137 h 159"/>
              <a:gd name="T16" fmla="*/ 191 w 191"/>
              <a:gd name="T17" fmla="*/ 79 h 159"/>
              <a:gd name="T18" fmla="*/ 191 w 191"/>
              <a:gd name="T19" fmla="*/ 79 h 159"/>
              <a:gd name="T20" fmla="*/ 191 w 191"/>
              <a:gd name="T21" fmla="*/ 79 h 159"/>
              <a:gd name="T22" fmla="*/ 191 w 191"/>
              <a:gd name="T23" fmla="*/ 79 h 159"/>
              <a:gd name="T24" fmla="*/ 191 w 191"/>
              <a:gd name="T25" fmla="*/ 78 h 159"/>
              <a:gd name="T26" fmla="*/ 191 w 191"/>
              <a:gd name="T27" fmla="*/ 78 h 159"/>
              <a:gd name="T28" fmla="*/ 191 w 191"/>
              <a:gd name="T29" fmla="*/ 78 h 159"/>
              <a:gd name="T30" fmla="*/ 191 w 191"/>
              <a:gd name="T31" fmla="*/ 77 h 159"/>
              <a:gd name="T32" fmla="*/ 191 w 191"/>
              <a:gd name="T33" fmla="*/ 77 h 159"/>
              <a:gd name="T34" fmla="*/ 191 w 191"/>
              <a:gd name="T35" fmla="*/ 77 h 159"/>
              <a:gd name="T36" fmla="*/ 191 w 191"/>
              <a:gd name="T37" fmla="*/ 77 h 159"/>
              <a:gd name="T38" fmla="*/ 191 w 191"/>
              <a:gd name="T39" fmla="*/ 76 h 159"/>
              <a:gd name="T40" fmla="*/ 191 w 191"/>
              <a:gd name="T41" fmla="*/ 76 h 159"/>
              <a:gd name="T42" fmla="*/ 191 w 191"/>
              <a:gd name="T43" fmla="*/ 76 h 159"/>
              <a:gd name="T44" fmla="*/ 191 w 191"/>
              <a:gd name="T45" fmla="*/ 76 h 159"/>
              <a:gd name="T46" fmla="*/ 191 w 191"/>
              <a:gd name="T47" fmla="*/ 75 h 159"/>
              <a:gd name="T48" fmla="*/ 191 w 191"/>
              <a:gd name="T49" fmla="*/ 75 h 159"/>
              <a:gd name="T50" fmla="*/ 191 w 191"/>
              <a:gd name="T51" fmla="*/ 75 h 159"/>
              <a:gd name="T52" fmla="*/ 191 w 191"/>
              <a:gd name="T53" fmla="*/ 75 h 159"/>
              <a:gd name="T54" fmla="*/ 191 w 191"/>
              <a:gd name="T55" fmla="*/ 74 h 159"/>
              <a:gd name="T56" fmla="*/ 191 w 191"/>
              <a:gd name="T57" fmla="*/ 74 h 159"/>
              <a:gd name="T58" fmla="*/ 191 w 191"/>
              <a:gd name="T59" fmla="*/ 74 h 159"/>
              <a:gd name="T60" fmla="*/ 189 w 191"/>
              <a:gd name="T61" fmla="*/ 60 h 159"/>
              <a:gd name="T62" fmla="*/ 189 w 191"/>
              <a:gd name="T63" fmla="*/ 60 h 159"/>
              <a:gd name="T64" fmla="*/ 189 w 191"/>
              <a:gd name="T65" fmla="*/ 60 h 159"/>
              <a:gd name="T66" fmla="*/ 189 w 191"/>
              <a:gd name="T67" fmla="*/ 59 h 159"/>
              <a:gd name="T68" fmla="*/ 189 w 191"/>
              <a:gd name="T69" fmla="*/ 59 h 159"/>
              <a:gd name="T70" fmla="*/ 189 w 191"/>
              <a:gd name="T71" fmla="*/ 59 h 159"/>
              <a:gd name="T72" fmla="*/ 189 w 191"/>
              <a:gd name="T73" fmla="*/ 59 h 159"/>
              <a:gd name="T74" fmla="*/ 189 w 191"/>
              <a:gd name="T75" fmla="*/ 58 h 159"/>
              <a:gd name="T76" fmla="*/ 166 w 191"/>
              <a:gd name="T77" fmla="*/ 22 h 159"/>
              <a:gd name="T78" fmla="*/ 166 w 191"/>
              <a:gd name="T79" fmla="*/ 21 h 1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191" h="159">
                <a:moveTo>
                  <a:pt x="112" y="0"/>
                </a:moveTo>
                <a:cubicBezTo>
                  <a:pt x="94" y="0"/>
                  <a:pt x="77" y="6"/>
                  <a:pt x="63" y="17"/>
                </a:cubicBezTo>
                <a:cubicBezTo>
                  <a:pt x="63" y="17"/>
                  <a:pt x="62" y="17"/>
                  <a:pt x="62" y="18"/>
                </a:cubicBezTo>
                <a:cubicBezTo>
                  <a:pt x="50" y="29"/>
                  <a:pt x="50" y="29"/>
                  <a:pt x="50" y="29"/>
                </a:cubicBezTo>
                <a:cubicBezTo>
                  <a:pt x="0" y="79"/>
                  <a:pt x="0" y="79"/>
                  <a:pt x="0" y="79"/>
                </a:cubicBezTo>
                <a:cubicBezTo>
                  <a:pt x="29" y="109"/>
                  <a:pt x="29" y="109"/>
                  <a:pt x="29" y="109"/>
                </a:cubicBezTo>
                <a:cubicBezTo>
                  <a:pt x="50" y="130"/>
                  <a:pt x="50" y="130"/>
                  <a:pt x="50" y="130"/>
                </a:cubicBezTo>
                <a:cubicBezTo>
                  <a:pt x="62" y="141"/>
                  <a:pt x="62" y="141"/>
                  <a:pt x="62" y="141"/>
                </a:cubicBezTo>
                <a:cubicBezTo>
                  <a:pt x="65" y="144"/>
                  <a:pt x="69" y="147"/>
                  <a:pt x="73" y="149"/>
                </a:cubicBezTo>
                <a:cubicBezTo>
                  <a:pt x="85" y="155"/>
                  <a:pt x="98" y="159"/>
                  <a:pt x="112" y="159"/>
                </a:cubicBezTo>
                <a:cubicBezTo>
                  <a:pt x="112" y="159"/>
                  <a:pt x="112" y="159"/>
                  <a:pt x="112" y="159"/>
                </a:cubicBezTo>
                <a:cubicBezTo>
                  <a:pt x="112" y="159"/>
                  <a:pt x="112" y="159"/>
                  <a:pt x="112" y="159"/>
                </a:cubicBezTo>
                <a:cubicBezTo>
                  <a:pt x="133" y="159"/>
                  <a:pt x="152" y="151"/>
                  <a:pt x="166" y="138"/>
                </a:cubicBezTo>
                <a:cubicBezTo>
                  <a:pt x="166" y="137"/>
                  <a:pt x="166" y="137"/>
                  <a:pt x="166" y="137"/>
                </a:cubicBezTo>
                <a:cubicBezTo>
                  <a:pt x="166" y="137"/>
                  <a:pt x="166" y="137"/>
                  <a:pt x="166" y="137"/>
                </a:cubicBezTo>
                <a:cubicBezTo>
                  <a:pt x="167" y="137"/>
                  <a:pt x="167" y="137"/>
                  <a:pt x="167" y="137"/>
                </a:cubicBezTo>
                <a:cubicBezTo>
                  <a:pt x="175" y="129"/>
                  <a:pt x="182" y="119"/>
                  <a:pt x="186" y="107"/>
                </a:cubicBezTo>
                <a:cubicBezTo>
                  <a:pt x="190" y="99"/>
                  <a:pt x="191" y="89"/>
                  <a:pt x="191" y="79"/>
                </a:cubicBezTo>
                <a:cubicBezTo>
                  <a:pt x="191" y="79"/>
                  <a:pt x="191" y="79"/>
                  <a:pt x="191" y="79"/>
                </a:cubicBezTo>
                <a:cubicBezTo>
                  <a:pt x="191" y="79"/>
                  <a:pt x="191" y="79"/>
                  <a:pt x="191" y="79"/>
                </a:cubicBezTo>
                <a:cubicBezTo>
                  <a:pt x="191" y="79"/>
                  <a:pt x="191" y="79"/>
                  <a:pt x="191" y="79"/>
                </a:cubicBezTo>
                <a:cubicBezTo>
                  <a:pt x="191" y="79"/>
                  <a:pt x="191" y="79"/>
                  <a:pt x="191" y="79"/>
                </a:cubicBezTo>
                <a:cubicBezTo>
                  <a:pt x="191" y="79"/>
                  <a:pt x="191" y="79"/>
                  <a:pt x="191" y="79"/>
                </a:cubicBezTo>
                <a:cubicBezTo>
                  <a:pt x="191" y="79"/>
                  <a:pt x="191" y="79"/>
                  <a:pt x="191" y="79"/>
                </a:cubicBezTo>
                <a:cubicBezTo>
                  <a:pt x="191" y="78"/>
                  <a:pt x="191" y="78"/>
                  <a:pt x="191" y="78"/>
                </a:cubicBezTo>
                <a:cubicBezTo>
                  <a:pt x="191" y="78"/>
                  <a:pt x="191" y="78"/>
                  <a:pt x="191" y="78"/>
                </a:cubicBezTo>
                <a:cubicBezTo>
                  <a:pt x="191" y="78"/>
                  <a:pt x="191" y="78"/>
                  <a:pt x="191" y="78"/>
                </a:cubicBezTo>
                <a:cubicBezTo>
                  <a:pt x="191" y="78"/>
                  <a:pt x="191" y="78"/>
                  <a:pt x="191" y="78"/>
                </a:cubicBezTo>
                <a:cubicBezTo>
                  <a:pt x="191" y="78"/>
                  <a:pt x="191" y="78"/>
                  <a:pt x="191" y="78"/>
                </a:cubicBezTo>
                <a:cubicBezTo>
                  <a:pt x="191" y="78"/>
                  <a:pt x="191" y="78"/>
                  <a:pt x="191" y="78"/>
                </a:cubicBezTo>
                <a:cubicBezTo>
                  <a:pt x="191" y="78"/>
                  <a:pt x="191" y="78"/>
                  <a:pt x="191" y="78"/>
                </a:cubicBezTo>
                <a:cubicBezTo>
                  <a:pt x="191" y="78"/>
                  <a:pt x="191" y="78"/>
                  <a:pt x="191" y="77"/>
                </a:cubicBezTo>
                <a:cubicBezTo>
                  <a:pt x="191" y="77"/>
                  <a:pt x="191" y="77"/>
                  <a:pt x="191" y="77"/>
                </a:cubicBezTo>
                <a:cubicBezTo>
                  <a:pt x="191" y="77"/>
                  <a:pt x="191" y="77"/>
                  <a:pt x="191" y="77"/>
                </a:cubicBezTo>
                <a:cubicBezTo>
                  <a:pt x="191" y="77"/>
                  <a:pt x="191" y="77"/>
                  <a:pt x="191" y="77"/>
                </a:cubicBezTo>
                <a:cubicBezTo>
                  <a:pt x="191" y="77"/>
                  <a:pt x="191" y="77"/>
                  <a:pt x="191" y="77"/>
                </a:cubicBezTo>
                <a:cubicBezTo>
                  <a:pt x="191" y="77"/>
                  <a:pt x="191" y="77"/>
                  <a:pt x="191" y="77"/>
                </a:cubicBezTo>
                <a:cubicBezTo>
                  <a:pt x="191" y="77"/>
                  <a:pt x="191" y="77"/>
                  <a:pt x="191" y="77"/>
                </a:cubicBezTo>
                <a:cubicBezTo>
                  <a:pt x="191" y="77"/>
                  <a:pt x="191" y="77"/>
                  <a:pt x="191" y="77"/>
                </a:cubicBezTo>
                <a:cubicBezTo>
                  <a:pt x="191" y="77"/>
                  <a:pt x="191" y="76"/>
                  <a:pt x="191" y="76"/>
                </a:cubicBezTo>
                <a:cubicBezTo>
                  <a:pt x="191" y="76"/>
                  <a:pt x="191" y="76"/>
                  <a:pt x="191" y="76"/>
                </a:cubicBezTo>
                <a:cubicBezTo>
                  <a:pt x="191" y="76"/>
                  <a:pt x="191" y="76"/>
                  <a:pt x="191" y="76"/>
                </a:cubicBezTo>
                <a:cubicBezTo>
                  <a:pt x="191" y="76"/>
                  <a:pt x="191" y="76"/>
                  <a:pt x="191" y="76"/>
                </a:cubicBezTo>
                <a:cubicBezTo>
                  <a:pt x="191" y="76"/>
                  <a:pt x="191" y="76"/>
                  <a:pt x="191" y="76"/>
                </a:cubicBezTo>
                <a:cubicBezTo>
                  <a:pt x="191" y="76"/>
                  <a:pt x="191" y="76"/>
                  <a:pt x="191" y="76"/>
                </a:cubicBezTo>
                <a:cubicBezTo>
                  <a:pt x="191" y="76"/>
                  <a:pt x="191" y="76"/>
                  <a:pt x="191" y="76"/>
                </a:cubicBezTo>
                <a:cubicBezTo>
                  <a:pt x="191" y="76"/>
                  <a:pt x="191" y="76"/>
                  <a:pt x="191" y="76"/>
                </a:cubicBezTo>
                <a:cubicBezTo>
                  <a:pt x="191" y="75"/>
                  <a:pt x="191" y="75"/>
                  <a:pt x="191" y="75"/>
                </a:cubicBezTo>
                <a:cubicBezTo>
                  <a:pt x="191" y="75"/>
                  <a:pt x="191" y="75"/>
                  <a:pt x="191" y="75"/>
                </a:cubicBezTo>
                <a:cubicBezTo>
                  <a:pt x="191" y="75"/>
                  <a:pt x="191" y="75"/>
                  <a:pt x="191" y="75"/>
                </a:cubicBezTo>
                <a:cubicBezTo>
                  <a:pt x="191" y="75"/>
                  <a:pt x="191" y="75"/>
                  <a:pt x="191" y="75"/>
                </a:cubicBezTo>
                <a:cubicBezTo>
                  <a:pt x="191" y="75"/>
                  <a:pt x="191" y="75"/>
                  <a:pt x="191" y="75"/>
                </a:cubicBezTo>
                <a:cubicBezTo>
                  <a:pt x="191" y="75"/>
                  <a:pt x="191" y="75"/>
                  <a:pt x="191" y="75"/>
                </a:cubicBezTo>
                <a:cubicBezTo>
                  <a:pt x="191" y="75"/>
                  <a:pt x="191" y="75"/>
                  <a:pt x="191" y="75"/>
                </a:cubicBezTo>
                <a:cubicBezTo>
                  <a:pt x="191" y="75"/>
                  <a:pt x="191" y="75"/>
                  <a:pt x="191" y="75"/>
                </a:cubicBezTo>
                <a:cubicBezTo>
                  <a:pt x="191" y="74"/>
                  <a:pt x="191" y="74"/>
                  <a:pt x="191" y="74"/>
                </a:cubicBezTo>
                <a:cubicBezTo>
                  <a:pt x="191" y="74"/>
                  <a:pt x="191" y="74"/>
                  <a:pt x="191" y="74"/>
                </a:cubicBezTo>
                <a:cubicBezTo>
                  <a:pt x="191" y="74"/>
                  <a:pt x="191" y="74"/>
                  <a:pt x="191" y="74"/>
                </a:cubicBezTo>
                <a:cubicBezTo>
                  <a:pt x="191" y="74"/>
                  <a:pt x="191" y="74"/>
                  <a:pt x="191" y="74"/>
                </a:cubicBezTo>
                <a:cubicBezTo>
                  <a:pt x="191" y="74"/>
                  <a:pt x="191" y="74"/>
                  <a:pt x="191" y="74"/>
                </a:cubicBezTo>
                <a:cubicBezTo>
                  <a:pt x="191" y="74"/>
                  <a:pt x="191" y="74"/>
                  <a:pt x="191" y="74"/>
                </a:cubicBezTo>
                <a:cubicBezTo>
                  <a:pt x="191" y="69"/>
                  <a:pt x="190" y="65"/>
                  <a:pt x="189" y="60"/>
                </a:cubicBezTo>
                <a:cubicBezTo>
                  <a:pt x="189" y="60"/>
                  <a:pt x="189" y="60"/>
                  <a:pt x="189" y="60"/>
                </a:cubicBezTo>
                <a:cubicBezTo>
                  <a:pt x="189" y="60"/>
                  <a:pt x="189" y="60"/>
                  <a:pt x="189" y="60"/>
                </a:cubicBezTo>
                <a:cubicBezTo>
                  <a:pt x="189" y="60"/>
                  <a:pt x="189" y="60"/>
                  <a:pt x="189" y="60"/>
                </a:cubicBezTo>
                <a:cubicBezTo>
                  <a:pt x="189" y="60"/>
                  <a:pt x="189" y="60"/>
                  <a:pt x="189" y="60"/>
                </a:cubicBezTo>
                <a:cubicBezTo>
                  <a:pt x="189" y="60"/>
                  <a:pt x="189" y="60"/>
                  <a:pt x="189" y="60"/>
                </a:cubicBezTo>
                <a:cubicBezTo>
                  <a:pt x="189" y="59"/>
                  <a:pt x="189" y="59"/>
                  <a:pt x="189" y="59"/>
                </a:cubicBezTo>
                <a:cubicBezTo>
                  <a:pt x="189" y="59"/>
                  <a:pt x="189" y="59"/>
                  <a:pt x="189" y="59"/>
                </a:cubicBezTo>
                <a:cubicBezTo>
                  <a:pt x="189" y="59"/>
                  <a:pt x="189" y="59"/>
                  <a:pt x="189" y="59"/>
                </a:cubicBezTo>
                <a:cubicBezTo>
                  <a:pt x="189" y="59"/>
                  <a:pt x="189" y="59"/>
                  <a:pt x="189" y="59"/>
                </a:cubicBezTo>
                <a:cubicBezTo>
                  <a:pt x="189" y="59"/>
                  <a:pt x="189" y="59"/>
                  <a:pt x="189" y="59"/>
                </a:cubicBezTo>
                <a:cubicBezTo>
                  <a:pt x="189" y="59"/>
                  <a:pt x="189" y="59"/>
                  <a:pt x="189" y="59"/>
                </a:cubicBezTo>
                <a:cubicBezTo>
                  <a:pt x="189" y="59"/>
                  <a:pt x="189" y="59"/>
                  <a:pt x="189" y="59"/>
                </a:cubicBezTo>
                <a:cubicBezTo>
                  <a:pt x="189" y="59"/>
                  <a:pt x="189" y="59"/>
                  <a:pt x="189" y="59"/>
                </a:cubicBezTo>
                <a:cubicBezTo>
                  <a:pt x="189" y="58"/>
                  <a:pt x="189" y="58"/>
                  <a:pt x="189" y="58"/>
                </a:cubicBezTo>
                <a:cubicBezTo>
                  <a:pt x="185" y="44"/>
                  <a:pt x="177" y="32"/>
                  <a:pt x="167" y="22"/>
                </a:cubicBezTo>
                <a:cubicBezTo>
                  <a:pt x="166" y="22"/>
                  <a:pt x="166" y="22"/>
                  <a:pt x="166" y="22"/>
                </a:cubicBezTo>
                <a:cubicBezTo>
                  <a:pt x="166" y="21"/>
                  <a:pt x="166" y="21"/>
                  <a:pt x="166" y="21"/>
                </a:cubicBezTo>
                <a:cubicBezTo>
                  <a:pt x="166" y="21"/>
                  <a:pt x="166" y="21"/>
                  <a:pt x="166" y="21"/>
                </a:cubicBezTo>
                <a:cubicBezTo>
                  <a:pt x="152" y="8"/>
                  <a:pt x="133" y="0"/>
                  <a:pt x="112" y="0"/>
                </a:cubicBezTo>
              </a:path>
            </a:pathLst>
          </a:custGeom>
          <a:solidFill>
            <a:schemeClr val="accent3">
              <a:lumMod val="5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50" name="í$ḻiḓe">
            <a:extLst>
              <a:ext uri="{FF2B5EF4-FFF2-40B4-BE49-F238E27FC236}">
                <a16:creationId xmlns:a16="http://schemas.microsoft.com/office/drawing/2014/main" id="{15BD9F95-976D-4761-8EA6-A615493C052F}"/>
              </a:ext>
            </a:extLst>
          </p:cNvPr>
          <p:cNvSpPr>
            <a:spLocks/>
          </p:cNvSpPr>
          <p:nvPr/>
        </p:nvSpPr>
        <p:spPr bwMode="auto">
          <a:xfrm rot="5400000">
            <a:off x="3818912" y="2942245"/>
            <a:ext cx="514653" cy="211916"/>
          </a:xfrm>
          <a:custGeom>
            <a:avLst/>
            <a:gdLst>
              <a:gd name="T0" fmla="*/ 192 w 192"/>
              <a:gd name="T1" fmla="*/ 0 h 79"/>
              <a:gd name="T2" fmla="*/ 0 w 192"/>
              <a:gd name="T3" fmla="*/ 0 h 79"/>
              <a:gd name="T4" fmla="*/ 80 w 192"/>
              <a:gd name="T5" fmla="*/ 79 h 79"/>
              <a:gd name="T6" fmla="*/ 80 w 192"/>
              <a:gd name="T7" fmla="*/ 79 h 79"/>
              <a:gd name="T8" fmla="*/ 80 w 192"/>
              <a:gd name="T9" fmla="*/ 79 h 79"/>
              <a:gd name="T10" fmla="*/ 130 w 192"/>
              <a:gd name="T11" fmla="*/ 29 h 79"/>
              <a:gd name="T12" fmla="*/ 142 w 192"/>
              <a:gd name="T13" fmla="*/ 18 h 79"/>
              <a:gd name="T14" fmla="*/ 143 w 192"/>
              <a:gd name="T15" fmla="*/ 17 h 79"/>
              <a:gd name="T16" fmla="*/ 192 w 192"/>
              <a:gd name="T17" fmla="*/ 0 h 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92" h="79">
                <a:moveTo>
                  <a:pt x="192" y="0"/>
                </a:moveTo>
                <a:cubicBezTo>
                  <a:pt x="0" y="0"/>
                  <a:pt x="0" y="0"/>
                  <a:pt x="0" y="0"/>
                </a:cubicBezTo>
                <a:cubicBezTo>
                  <a:pt x="80" y="79"/>
                  <a:pt x="80" y="79"/>
                  <a:pt x="80" y="79"/>
                </a:cubicBezTo>
                <a:cubicBezTo>
                  <a:pt x="80" y="79"/>
                  <a:pt x="80" y="79"/>
                  <a:pt x="80" y="79"/>
                </a:cubicBezTo>
                <a:cubicBezTo>
                  <a:pt x="80" y="79"/>
                  <a:pt x="80" y="79"/>
                  <a:pt x="80" y="79"/>
                </a:cubicBezTo>
                <a:cubicBezTo>
                  <a:pt x="130" y="29"/>
                  <a:pt x="130" y="29"/>
                  <a:pt x="130" y="29"/>
                </a:cubicBezTo>
                <a:cubicBezTo>
                  <a:pt x="142" y="18"/>
                  <a:pt x="142" y="18"/>
                  <a:pt x="142" y="18"/>
                </a:cubicBezTo>
                <a:cubicBezTo>
                  <a:pt x="142" y="17"/>
                  <a:pt x="143" y="17"/>
                  <a:pt x="143" y="17"/>
                </a:cubicBezTo>
                <a:cubicBezTo>
                  <a:pt x="157" y="6"/>
                  <a:pt x="174" y="0"/>
                  <a:pt x="192" y="0"/>
                </a:cubicBezTo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51" name="îṧļîdè">
            <a:extLst>
              <a:ext uri="{FF2B5EF4-FFF2-40B4-BE49-F238E27FC236}">
                <a16:creationId xmlns:a16="http://schemas.microsoft.com/office/drawing/2014/main" id="{90868C54-AE37-4882-B9FC-D9B021F97320}"/>
              </a:ext>
            </a:extLst>
          </p:cNvPr>
          <p:cNvSpPr>
            <a:spLocks/>
          </p:cNvSpPr>
          <p:nvPr/>
        </p:nvSpPr>
        <p:spPr bwMode="auto">
          <a:xfrm rot="5400000">
            <a:off x="3605735" y="2940984"/>
            <a:ext cx="514653" cy="214439"/>
          </a:xfrm>
          <a:custGeom>
            <a:avLst/>
            <a:gdLst>
              <a:gd name="T0" fmla="*/ 80 w 192"/>
              <a:gd name="T1" fmla="*/ 0 h 80"/>
              <a:gd name="T2" fmla="*/ 0 w 192"/>
              <a:gd name="T3" fmla="*/ 80 h 80"/>
              <a:gd name="T4" fmla="*/ 192 w 192"/>
              <a:gd name="T5" fmla="*/ 80 h 80"/>
              <a:gd name="T6" fmla="*/ 192 w 192"/>
              <a:gd name="T7" fmla="*/ 80 h 80"/>
              <a:gd name="T8" fmla="*/ 153 w 192"/>
              <a:gd name="T9" fmla="*/ 70 h 80"/>
              <a:gd name="T10" fmla="*/ 142 w 192"/>
              <a:gd name="T11" fmla="*/ 62 h 80"/>
              <a:gd name="T12" fmla="*/ 130 w 192"/>
              <a:gd name="T13" fmla="*/ 51 h 80"/>
              <a:gd name="T14" fmla="*/ 109 w 192"/>
              <a:gd name="T15" fmla="*/ 30 h 80"/>
              <a:gd name="T16" fmla="*/ 80 w 192"/>
              <a:gd name="T17" fmla="*/ 0 h 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92" h="80">
                <a:moveTo>
                  <a:pt x="80" y="0"/>
                </a:moveTo>
                <a:cubicBezTo>
                  <a:pt x="0" y="80"/>
                  <a:pt x="0" y="80"/>
                  <a:pt x="0" y="80"/>
                </a:cubicBezTo>
                <a:cubicBezTo>
                  <a:pt x="192" y="80"/>
                  <a:pt x="192" y="80"/>
                  <a:pt x="192" y="80"/>
                </a:cubicBezTo>
                <a:cubicBezTo>
                  <a:pt x="192" y="80"/>
                  <a:pt x="192" y="80"/>
                  <a:pt x="192" y="80"/>
                </a:cubicBezTo>
                <a:cubicBezTo>
                  <a:pt x="178" y="80"/>
                  <a:pt x="165" y="76"/>
                  <a:pt x="153" y="70"/>
                </a:cubicBezTo>
                <a:cubicBezTo>
                  <a:pt x="149" y="68"/>
                  <a:pt x="145" y="65"/>
                  <a:pt x="142" y="62"/>
                </a:cubicBezTo>
                <a:cubicBezTo>
                  <a:pt x="130" y="51"/>
                  <a:pt x="130" y="51"/>
                  <a:pt x="130" y="51"/>
                </a:cubicBezTo>
                <a:cubicBezTo>
                  <a:pt x="109" y="30"/>
                  <a:pt x="109" y="30"/>
                  <a:pt x="109" y="30"/>
                </a:cubicBezTo>
                <a:cubicBezTo>
                  <a:pt x="80" y="0"/>
                  <a:pt x="80" y="0"/>
                  <a:pt x="80" y="0"/>
                </a:cubicBezTo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52" name="ïSḻidê">
            <a:extLst>
              <a:ext uri="{FF2B5EF4-FFF2-40B4-BE49-F238E27FC236}">
                <a16:creationId xmlns:a16="http://schemas.microsoft.com/office/drawing/2014/main" id="{0742BC1A-FC71-4DF0-907A-C923686EFE44}"/>
              </a:ext>
            </a:extLst>
          </p:cNvPr>
          <p:cNvSpPr/>
          <p:nvPr/>
        </p:nvSpPr>
        <p:spPr>
          <a:xfrm>
            <a:off x="3874658" y="3205276"/>
            <a:ext cx="221950" cy="22195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8280" y="18579"/>
                </a:moveTo>
                <a:cubicBezTo>
                  <a:pt x="20323" y="16614"/>
                  <a:pt x="21600" y="13859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cubicBezTo>
                  <a:pt x="4836" y="0"/>
                  <a:pt x="0" y="4835"/>
                  <a:pt x="0" y="10800"/>
                </a:cubicBezTo>
                <a:cubicBezTo>
                  <a:pt x="0" y="13859"/>
                  <a:pt x="1277" y="16614"/>
                  <a:pt x="3320" y="18579"/>
                </a:cubicBezTo>
                <a:lnTo>
                  <a:pt x="2107" y="20762"/>
                </a:lnTo>
                <a:cubicBezTo>
                  <a:pt x="2019" y="20851"/>
                  <a:pt x="1964" y="20974"/>
                  <a:pt x="1964" y="21109"/>
                </a:cubicBezTo>
                <a:cubicBezTo>
                  <a:pt x="1964" y="21380"/>
                  <a:pt x="2184" y="21600"/>
                  <a:pt x="2455" y="21600"/>
                </a:cubicBezTo>
                <a:cubicBezTo>
                  <a:pt x="2590" y="21600"/>
                  <a:pt x="2713" y="21545"/>
                  <a:pt x="2802" y="21456"/>
                </a:cubicBezTo>
                <a:cubicBezTo>
                  <a:pt x="2858" y="21400"/>
                  <a:pt x="2894" y="21327"/>
                  <a:pt x="2917" y="21248"/>
                </a:cubicBezTo>
                <a:lnTo>
                  <a:pt x="4044" y="19219"/>
                </a:lnTo>
                <a:cubicBezTo>
                  <a:pt x="5895" y="20706"/>
                  <a:pt x="8242" y="21600"/>
                  <a:pt x="10800" y="21600"/>
                </a:cubicBezTo>
                <a:cubicBezTo>
                  <a:pt x="13358" y="21600"/>
                  <a:pt x="15705" y="20706"/>
                  <a:pt x="17555" y="19219"/>
                </a:cubicBezTo>
                <a:lnTo>
                  <a:pt x="18683" y="21248"/>
                </a:lnTo>
                <a:cubicBezTo>
                  <a:pt x="18743" y="21450"/>
                  <a:pt x="18923" y="21600"/>
                  <a:pt x="19145" y="21600"/>
                </a:cubicBezTo>
                <a:cubicBezTo>
                  <a:pt x="19416" y="21600"/>
                  <a:pt x="19636" y="21380"/>
                  <a:pt x="19636" y="21109"/>
                </a:cubicBezTo>
                <a:cubicBezTo>
                  <a:pt x="19636" y="20974"/>
                  <a:pt x="19581" y="20851"/>
                  <a:pt x="19493" y="20762"/>
                </a:cubicBezTo>
                <a:cubicBezTo>
                  <a:pt x="19493" y="20762"/>
                  <a:pt x="18280" y="18579"/>
                  <a:pt x="18280" y="18579"/>
                </a:cubicBezTo>
                <a:close/>
                <a:moveTo>
                  <a:pt x="10800" y="16691"/>
                </a:moveTo>
                <a:cubicBezTo>
                  <a:pt x="7547" y="16691"/>
                  <a:pt x="4909" y="14053"/>
                  <a:pt x="4909" y="10800"/>
                </a:cubicBezTo>
                <a:cubicBezTo>
                  <a:pt x="4909" y="7547"/>
                  <a:pt x="7547" y="4909"/>
                  <a:pt x="10800" y="4909"/>
                </a:cubicBezTo>
                <a:cubicBezTo>
                  <a:pt x="14053" y="4909"/>
                  <a:pt x="16691" y="7547"/>
                  <a:pt x="16691" y="10800"/>
                </a:cubicBezTo>
                <a:cubicBezTo>
                  <a:pt x="16691" y="14053"/>
                  <a:pt x="14053" y="16691"/>
                  <a:pt x="10800" y="16691"/>
                </a:cubicBezTo>
                <a:moveTo>
                  <a:pt x="10800" y="3927"/>
                </a:moveTo>
                <a:cubicBezTo>
                  <a:pt x="7004" y="3927"/>
                  <a:pt x="3927" y="7004"/>
                  <a:pt x="3927" y="10800"/>
                </a:cubicBezTo>
                <a:cubicBezTo>
                  <a:pt x="3927" y="14596"/>
                  <a:pt x="7004" y="17673"/>
                  <a:pt x="10800" y="17673"/>
                </a:cubicBezTo>
                <a:cubicBezTo>
                  <a:pt x="14596" y="17673"/>
                  <a:pt x="17673" y="14596"/>
                  <a:pt x="17673" y="10800"/>
                </a:cubicBezTo>
                <a:cubicBezTo>
                  <a:pt x="17673" y="7004"/>
                  <a:pt x="14596" y="3927"/>
                  <a:pt x="10800" y="3927"/>
                </a:cubicBezTo>
                <a:moveTo>
                  <a:pt x="10800" y="12764"/>
                </a:moveTo>
                <a:cubicBezTo>
                  <a:pt x="9716" y="12764"/>
                  <a:pt x="8836" y="11884"/>
                  <a:pt x="8836" y="10800"/>
                </a:cubicBezTo>
                <a:cubicBezTo>
                  <a:pt x="8836" y="9716"/>
                  <a:pt x="9716" y="8836"/>
                  <a:pt x="10800" y="8836"/>
                </a:cubicBezTo>
                <a:cubicBezTo>
                  <a:pt x="11884" y="8836"/>
                  <a:pt x="12764" y="9716"/>
                  <a:pt x="12764" y="10800"/>
                </a:cubicBezTo>
                <a:cubicBezTo>
                  <a:pt x="12764" y="11884"/>
                  <a:pt x="11884" y="12764"/>
                  <a:pt x="10800" y="12764"/>
                </a:cubicBezTo>
                <a:moveTo>
                  <a:pt x="10800" y="7855"/>
                </a:moveTo>
                <a:cubicBezTo>
                  <a:pt x="9173" y="7855"/>
                  <a:pt x="7855" y="9173"/>
                  <a:pt x="7855" y="10800"/>
                </a:cubicBezTo>
                <a:cubicBezTo>
                  <a:pt x="7855" y="12427"/>
                  <a:pt x="9173" y="13745"/>
                  <a:pt x="10800" y="13745"/>
                </a:cubicBezTo>
                <a:cubicBezTo>
                  <a:pt x="12427" y="13745"/>
                  <a:pt x="13745" y="12427"/>
                  <a:pt x="13745" y="10800"/>
                </a:cubicBezTo>
                <a:cubicBezTo>
                  <a:pt x="13745" y="9173"/>
                  <a:pt x="12427" y="7855"/>
                  <a:pt x="10800" y="7855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45" name="iṣļïďê">
            <a:extLst>
              <a:ext uri="{FF2B5EF4-FFF2-40B4-BE49-F238E27FC236}">
                <a16:creationId xmlns:a16="http://schemas.microsoft.com/office/drawing/2014/main" id="{149C52CF-64B6-4335-9871-65235E6E8F19}"/>
              </a:ext>
            </a:extLst>
          </p:cNvPr>
          <p:cNvSpPr>
            <a:spLocks/>
          </p:cNvSpPr>
          <p:nvPr/>
        </p:nvSpPr>
        <p:spPr bwMode="auto">
          <a:xfrm>
            <a:off x="2886895" y="4635334"/>
            <a:ext cx="2164253" cy="5573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90000" anchor="t" anchorCtr="0">
            <a:normAutofit/>
          </a:bodyPr>
          <a:lstStyle/>
          <a:p>
            <a:pPr algn="ctr" eaLnBrk="1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zh-CN" altLang="en-US" sz="1000"/>
              <a:t>此部分内容作为文字排版占位显示</a:t>
            </a:r>
            <a:br>
              <a:rPr lang="zh-CN" altLang="en-US" sz="1000"/>
            </a:br>
            <a:r>
              <a:rPr lang="zh-CN" altLang="en-US" sz="1000"/>
              <a:t> （建议使用主题字体）</a:t>
            </a:r>
            <a:endParaRPr lang="zh-CN" altLang="en-US" sz="1000" dirty="0"/>
          </a:p>
        </p:txBody>
      </p:sp>
      <p:sp>
        <p:nvSpPr>
          <p:cNvPr id="46" name="íṡḷídê">
            <a:extLst>
              <a:ext uri="{FF2B5EF4-FFF2-40B4-BE49-F238E27FC236}">
                <a16:creationId xmlns:a16="http://schemas.microsoft.com/office/drawing/2014/main" id="{F4B56626-B10F-4FD7-A39B-A8C007CEAFB7}"/>
              </a:ext>
            </a:extLst>
          </p:cNvPr>
          <p:cNvSpPr txBox="1">
            <a:spLocks/>
          </p:cNvSpPr>
          <p:nvPr/>
        </p:nvSpPr>
        <p:spPr bwMode="auto">
          <a:xfrm>
            <a:off x="2886895" y="4284195"/>
            <a:ext cx="2164253" cy="3511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0000">
            <a:normAutofit lnSpcReduction="10000"/>
          </a:bodyPr>
          <a:lstStyle/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zh-CN" altLang="en-US" sz="1800" b="1">
                <a:solidFill>
                  <a:schemeClr val="accent3"/>
                </a:solidFill>
              </a:rPr>
              <a:t>标题文本预设</a:t>
            </a:r>
            <a:endParaRPr lang="zh-CN" altLang="en-US" sz="1800" b="1" dirty="0">
              <a:solidFill>
                <a:schemeClr val="accent3"/>
              </a:solidFill>
            </a:endParaRPr>
          </a:p>
        </p:txBody>
      </p:sp>
      <p:sp>
        <p:nvSpPr>
          <p:cNvPr id="37" name="iṣlïḋê">
            <a:extLst>
              <a:ext uri="{FF2B5EF4-FFF2-40B4-BE49-F238E27FC236}">
                <a16:creationId xmlns:a16="http://schemas.microsoft.com/office/drawing/2014/main" id="{F357219B-F877-467F-8DCE-9378A162A9B7}"/>
              </a:ext>
            </a:extLst>
          </p:cNvPr>
          <p:cNvSpPr>
            <a:spLocks/>
          </p:cNvSpPr>
          <p:nvPr/>
        </p:nvSpPr>
        <p:spPr bwMode="auto">
          <a:xfrm rot="16200000">
            <a:off x="5261582" y="2469850"/>
            <a:ext cx="1672622" cy="422571"/>
          </a:xfrm>
          <a:custGeom>
            <a:avLst/>
            <a:gdLst>
              <a:gd name="T0" fmla="*/ 545 w 624"/>
              <a:gd name="T1" fmla="*/ 158 h 158"/>
              <a:gd name="T2" fmla="*/ 79 w 624"/>
              <a:gd name="T3" fmla="*/ 158 h 158"/>
              <a:gd name="T4" fmla="*/ 0 w 624"/>
              <a:gd name="T5" fmla="*/ 79 h 158"/>
              <a:gd name="T6" fmla="*/ 79 w 624"/>
              <a:gd name="T7" fmla="*/ 0 h 158"/>
              <a:gd name="T8" fmla="*/ 545 w 624"/>
              <a:gd name="T9" fmla="*/ 0 h 158"/>
              <a:gd name="T10" fmla="*/ 624 w 624"/>
              <a:gd name="T11" fmla="*/ 79 h 158"/>
              <a:gd name="T12" fmla="*/ 545 w 624"/>
              <a:gd name="T13" fmla="*/ 158 h 1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24" h="158">
                <a:moveTo>
                  <a:pt x="545" y="158"/>
                </a:moveTo>
                <a:cubicBezTo>
                  <a:pt x="79" y="158"/>
                  <a:pt x="79" y="158"/>
                  <a:pt x="79" y="158"/>
                </a:cubicBezTo>
                <a:cubicBezTo>
                  <a:pt x="35" y="158"/>
                  <a:pt x="0" y="123"/>
                  <a:pt x="0" y="79"/>
                </a:cubicBezTo>
                <a:cubicBezTo>
                  <a:pt x="0" y="35"/>
                  <a:pt x="35" y="0"/>
                  <a:pt x="79" y="0"/>
                </a:cubicBezTo>
                <a:cubicBezTo>
                  <a:pt x="545" y="0"/>
                  <a:pt x="545" y="0"/>
                  <a:pt x="545" y="0"/>
                </a:cubicBezTo>
                <a:cubicBezTo>
                  <a:pt x="589" y="0"/>
                  <a:pt x="624" y="35"/>
                  <a:pt x="624" y="79"/>
                </a:cubicBezTo>
                <a:cubicBezTo>
                  <a:pt x="624" y="123"/>
                  <a:pt x="589" y="158"/>
                  <a:pt x="545" y="158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38" name="îsḻíḋè">
            <a:extLst>
              <a:ext uri="{FF2B5EF4-FFF2-40B4-BE49-F238E27FC236}">
                <a16:creationId xmlns:a16="http://schemas.microsoft.com/office/drawing/2014/main" id="{2B09D154-A0C8-4805-8E97-C5FBE02C1ADD}"/>
              </a:ext>
            </a:extLst>
          </p:cNvPr>
          <p:cNvSpPr>
            <a:spLocks/>
          </p:cNvSpPr>
          <p:nvPr/>
        </p:nvSpPr>
        <p:spPr bwMode="auto">
          <a:xfrm rot="16200000">
            <a:off x="5662077" y="1621555"/>
            <a:ext cx="871631" cy="1318168"/>
          </a:xfrm>
          <a:custGeom>
            <a:avLst/>
            <a:gdLst>
              <a:gd name="T0" fmla="*/ 325 w 325"/>
              <a:gd name="T1" fmla="*/ 246 h 492"/>
              <a:gd name="T2" fmla="*/ 301 w 325"/>
              <a:gd name="T3" fmla="*/ 304 h 492"/>
              <a:gd name="T4" fmla="*/ 300 w 325"/>
              <a:gd name="T5" fmla="*/ 304 h 492"/>
              <a:gd name="T6" fmla="*/ 143 w 325"/>
              <a:gd name="T7" fmla="*/ 461 h 492"/>
              <a:gd name="T8" fmla="*/ 31 w 325"/>
              <a:gd name="T9" fmla="*/ 461 h 492"/>
              <a:gd name="T10" fmla="*/ 31 w 325"/>
              <a:gd name="T11" fmla="*/ 349 h 492"/>
              <a:gd name="T12" fmla="*/ 134 w 325"/>
              <a:gd name="T13" fmla="*/ 246 h 492"/>
              <a:gd name="T14" fmla="*/ 31 w 325"/>
              <a:gd name="T15" fmla="*/ 144 h 492"/>
              <a:gd name="T16" fmla="*/ 31 w 325"/>
              <a:gd name="T17" fmla="*/ 31 h 492"/>
              <a:gd name="T18" fmla="*/ 143 w 325"/>
              <a:gd name="T19" fmla="*/ 31 h 492"/>
              <a:gd name="T20" fmla="*/ 300 w 325"/>
              <a:gd name="T21" fmla="*/ 188 h 492"/>
              <a:gd name="T22" fmla="*/ 301 w 325"/>
              <a:gd name="T23" fmla="*/ 188 h 492"/>
              <a:gd name="T24" fmla="*/ 325 w 325"/>
              <a:gd name="T25" fmla="*/ 246 h 4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325" h="492">
                <a:moveTo>
                  <a:pt x="325" y="246"/>
                </a:moveTo>
                <a:cubicBezTo>
                  <a:pt x="325" y="269"/>
                  <a:pt x="316" y="289"/>
                  <a:pt x="301" y="304"/>
                </a:cubicBezTo>
                <a:cubicBezTo>
                  <a:pt x="300" y="304"/>
                  <a:pt x="300" y="304"/>
                  <a:pt x="300" y="304"/>
                </a:cubicBezTo>
                <a:cubicBezTo>
                  <a:pt x="143" y="461"/>
                  <a:pt x="143" y="461"/>
                  <a:pt x="143" y="461"/>
                </a:cubicBezTo>
                <a:cubicBezTo>
                  <a:pt x="112" y="492"/>
                  <a:pt x="62" y="492"/>
                  <a:pt x="31" y="461"/>
                </a:cubicBezTo>
                <a:cubicBezTo>
                  <a:pt x="0" y="430"/>
                  <a:pt x="0" y="380"/>
                  <a:pt x="31" y="349"/>
                </a:cubicBezTo>
                <a:cubicBezTo>
                  <a:pt x="134" y="246"/>
                  <a:pt x="134" y="246"/>
                  <a:pt x="134" y="246"/>
                </a:cubicBezTo>
                <a:cubicBezTo>
                  <a:pt x="31" y="144"/>
                  <a:pt x="31" y="144"/>
                  <a:pt x="31" y="144"/>
                </a:cubicBezTo>
                <a:cubicBezTo>
                  <a:pt x="0" y="113"/>
                  <a:pt x="0" y="62"/>
                  <a:pt x="31" y="31"/>
                </a:cubicBezTo>
                <a:cubicBezTo>
                  <a:pt x="62" y="0"/>
                  <a:pt x="112" y="0"/>
                  <a:pt x="143" y="31"/>
                </a:cubicBezTo>
                <a:cubicBezTo>
                  <a:pt x="300" y="188"/>
                  <a:pt x="300" y="188"/>
                  <a:pt x="300" y="188"/>
                </a:cubicBezTo>
                <a:cubicBezTo>
                  <a:pt x="301" y="188"/>
                  <a:pt x="301" y="188"/>
                  <a:pt x="301" y="188"/>
                </a:cubicBezTo>
                <a:cubicBezTo>
                  <a:pt x="316" y="203"/>
                  <a:pt x="325" y="223"/>
                  <a:pt x="325" y="246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39" name="ïśḷiḍè">
            <a:extLst>
              <a:ext uri="{FF2B5EF4-FFF2-40B4-BE49-F238E27FC236}">
                <a16:creationId xmlns:a16="http://schemas.microsoft.com/office/drawing/2014/main" id="{D4A0C9E9-BC75-41A9-B712-C495EB43C2EC}"/>
              </a:ext>
            </a:extLst>
          </p:cNvPr>
          <p:cNvSpPr>
            <a:spLocks/>
          </p:cNvSpPr>
          <p:nvPr/>
        </p:nvSpPr>
        <p:spPr bwMode="auto">
          <a:xfrm rot="16200000">
            <a:off x="5841828" y="1889604"/>
            <a:ext cx="512130" cy="422571"/>
          </a:xfrm>
          <a:custGeom>
            <a:avLst/>
            <a:gdLst>
              <a:gd name="T0" fmla="*/ 63 w 191"/>
              <a:gd name="T1" fmla="*/ 16 h 158"/>
              <a:gd name="T2" fmla="*/ 50 w 191"/>
              <a:gd name="T3" fmla="*/ 29 h 158"/>
              <a:gd name="T4" fmla="*/ 29 w 191"/>
              <a:gd name="T5" fmla="*/ 107 h 158"/>
              <a:gd name="T6" fmla="*/ 62 w 191"/>
              <a:gd name="T7" fmla="*/ 141 h 158"/>
              <a:gd name="T8" fmla="*/ 112 w 191"/>
              <a:gd name="T9" fmla="*/ 158 h 158"/>
              <a:gd name="T10" fmla="*/ 112 w 191"/>
              <a:gd name="T11" fmla="*/ 158 h 158"/>
              <a:gd name="T12" fmla="*/ 166 w 191"/>
              <a:gd name="T13" fmla="*/ 137 h 158"/>
              <a:gd name="T14" fmla="*/ 167 w 191"/>
              <a:gd name="T15" fmla="*/ 137 h 158"/>
              <a:gd name="T16" fmla="*/ 191 w 191"/>
              <a:gd name="T17" fmla="*/ 79 h 158"/>
              <a:gd name="T18" fmla="*/ 191 w 191"/>
              <a:gd name="T19" fmla="*/ 79 h 158"/>
              <a:gd name="T20" fmla="*/ 191 w 191"/>
              <a:gd name="T21" fmla="*/ 78 h 158"/>
              <a:gd name="T22" fmla="*/ 191 w 191"/>
              <a:gd name="T23" fmla="*/ 78 h 158"/>
              <a:gd name="T24" fmla="*/ 191 w 191"/>
              <a:gd name="T25" fmla="*/ 78 h 158"/>
              <a:gd name="T26" fmla="*/ 191 w 191"/>
              <a:gd name="T27" fmla="*/ 78 h 158"/>
              <a:gd name="T28" fmla="*/ 191 w 191"/>
              <a:gd name="T29" fmla="*/ 77 h 158"/>
              <a:gd name="T30" fmla="*/ 191 w 191"/>
              <a:gd name="T31" fmla="*/ 77 h 158"/>
              <a:gd name="T32" fmla="*/ 191 w 191"/>
              <a:gd name="T33" fmla="*/ 77 h 158"/>
              <a:gd name="T34" fmla="*/ 191 w 191"/>
              <a:gd name="T35" fmla="*/ 77 h 158"/>
              <a:gd name="T36" fmla="*/ 191 w 191"/>
              <a:gd name="T37" fmla="*/ 76 h 158"/>
              <a:gd name="T38" fmla="*/ 191 w 191"/>
              <a:gd name="T39" fmla="*/ 76 h 158"/>
              <a:gd name="T40" fmla="*/ 191 w 191"/>
              <a:gd name="T41" fmla="*/ 76 h 158"/>
              <a:gd name="T42" fmla="*/ 191 w 191"/>
              <a:gd name="T43" fmla="*/ 76 h 158"/>
              <a:gd name="T44" fmla="*/ 191 w 191"/>
              <a:gd name="T45" fmla="*/ 75 h 158"/>
              <a:gd name="T46" fmla="*/ 191 w 191"/>
              <a:gd name="T47" fmla="*/ 75 h 158"/>
              <a:gd name="T48" fmla="*/ 191 w 191"/>
              <a:gd name="T49" fmla="*/ 75 h 158"/>
              <a:gd name="T50" fmla="*/ 191 w 191"/>
              <a:gd name="T51" fmla="*/ 74 h 158"/>
              <a:gd name="T52" fmla="*/ 191 w 191"/>
              <a:gd name="T53" fmla="*/ 74 h 158"/>
              <a:gd name="T54" fmla="*/ 191 w 191"/>
              <a:gd name="T55" fmla="*/ 74 h 158"/>
              <a:gd name="T56" fmla="*/ 191 w 191"/>
              <a:gd name="T57" fmla="*/ 74 h 158"/>
              <a:gd name="T58" fmla="*/ 191 w 191"/>
              <a:gd name="T59" fmla="*/ 73 h 158"/>
              <a:gd name="T60" fmla="*/ 189 w 191"/>
              <a:gd name="T61" fmla="*/ 60 h 158"/>
              <a:gd name="T62" fmla="*/ 189 w 191"/>
              <a:gd name="T63" fmla="*/ 59 h 158"/>
              <a:gd name="T64" fmla="*/ 189 w 191"/>
              <a:gd name="T65" fmla="*/ 59 h 158"/>
              <a:gd name="T66" fmla="*/ 189 w 191"/>
              <a:gd name="T67" fmla="*/ 59 h 158"/>
              <a:gd name="T68" fmla="*/ 189 w 191"/>
              <a:gd name="T69" fmla="*/ 59 h 158"/>
              <a:gd name="T70" fmla="*/ 189 w 191"/>
              <a:gd name="T71" fmla="*/ 58 h 158"/>
              <a:gd name="T72" fmla="*/ 189 w 191"/>
              <a:gd name="T73" fmla="*/ 58 h 158"/>
              <a:gd name="T74" fmla="*/ 189 w 191"/>
              <a:gd name="T75" fmla="*/ 58 h 158"/>
              <a:gd name="T76" fmla="*/ 166 w 191"/>
              <a:gd name="T77" fmla="*/ 21 h 158"/>
              <a:gd name="T78" fmla="*/ 166 w 191"/>
              <a:gd name="T79" fmla="*/ 21 h 1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191" h="158">
                <a:moveTo>
                  <a:pt x="112" y="0"/>
                </a:moveTo>
                <a:cubicBezTo>
                  <a:pt x="94" y="0"/>
                  <a:pt x="77" y="6"/>
                  <a:pt x="63" y="16"/>
                </a:cubicBezTo>
                <a:cubicBezTo>
                  <a:pt x="63" y="17"/>
                  <a:pt x="62" y="17"/>
                  <a:pt x="62" y="17"/>
                </a:cubicBezTo>
                <a:cubicBezTo>
                  <a:pt x="50" y="29"/>
                  <a:pt x="50" y="29"/>
                  <a:pt x="50" y="29"/>
                </a:cubicBezTo>
                <a:cubicBezTo>
                  <a:pt x="0" y="79"/>
                  <a:pt x="0" y="79"/>
                  <a:pt x="0" y="79"/>
                </a:cubicBezTo>
                <a:cubicBezTo>
                  <a:pt x="29" y="107"/>
                  <a:pt x="29" y="107"/>
                  <a:pt x="29" y="107"/>
                </a:cubicBezTo>
                <a:cubicBezTo>
                  <a:pt x="50" y="129"/>
                  <a:pt x="50" y="129"/>
                  <a:pt x="50" y="129"/>
                </a:cubicBezTo>
                <a:cubicBezTo>
                  <a:pt x="62" y="141"/>
                  <a:pt x="62" y="141"/>
                  <a:pt x="62" y="141"/>
                </a:cubicBezTo>
                <a:cubicBezTo>
                  <a:pt x="65" y="144"/>
                  <a:pt x="69" y="146"/>
                  <a:pt x="73" y="148"/>
                </a:cubicBezTo>
                <a:cubicBezTo>
                  <a:pt x="85" y="155"/>
                  <a:pt x="98" y="158"/>
                  <a:pt x="112" y="158"/>
                </a:cubicBezTo>
                <a:cubicBezTo>
                  <a:pt x="112" y="158"/>
                  <a:pt x="112" y="158"/>
                  <a:pt x="112" y="158"/>
                </a:cubicBezTo>
                <a:cubicBezTo>
                  <a:pt x="112" y="158"/>
                  <a:pt x="112" y="158"/>
                  <a:pt x="112" y="158"/>
                </a:cubicBezTo>
                <a:cubicBezTo>
                  <a:pt x="133" y="158"/>
                  <a:pt x="152" y="150"/>
                  <a:pt x="166" y="137"/>
                </a:cubicBezTo>
                <a:cubicBezTo>
                  <a:pt x="166" y="137"/>
                  <a:pt x="166" y="137"/>
                  <a:pt x="166" y="137"/>
                </a:cubicBezTo>
                <a:cubicBezTo>
                  <a:pt x="166" y="137"/>
                  <a:pt x="166" y="137"/>
                  <a:pt x="166" y="137"/>
                </a:cubicBezTo>
                <a:cubicBezTo>
                  <a:pt x="167" y="137"/>
                  <a:pt x="167" y="137"/>
                  <a:pt x="167" y="137"/>
                </a:cubicBezTo>
                <a:cubicBezTo>
                  <a:pt x="175" y="128"/>
                  <a:pt x="182" y="118"/>
                  <a:pt x="186" y="107"/>
                </a:cubicBezTo>
                <a:cubicBezTo>
                  <a:pt x="190" y="98"/>
                  <a:pt x="191" y="89"/>
                  <a:pt x="191" y="79"/>
                </a:cubicBezTo>
                <a:cubicBezTo>
                  <a:pt x="191" y="79"/>
                  <a:pt x="191" y="79"/>
                  <a:pt x="191" y="79"/>
                </a:cubicBezTo>
                <a:cubicBezTo>
                  <a:pt x="191" y="79"/>
                  <a:pt x="191" y="79"/>
                  <a:pt x="191" y="79"/>
                </a:cubicBezTo>
                <a:cubicBezTo>
                  <a:pt x="191" y="79"/>
                  <a:pt x="191" y="79"/>
                  <a:pt x="191" y="79"/>
                </a:cubicBezTo>
                <a:cubicBezTo>
                  <a:pt x="191" y="78"/>
                  <a:pt x="191" y="78"/>
                  <a:pt x="191" y="78"/>
                </a:cubicBezTo>
                <a:cubicBezTo>
                  <a:pt x="191" y="78"/>
                  <a:pt x="191" y="78"/>
                  <a:pt x="191" y="78"/>
                </a:cubicBezTo>
                <a:cubicBezTo>
                  <a:pt x="191" y="78"/>
                  <a:pt x="191" y="78"/>
                  <a:pt x="191" y="78"/>
                </a:cubicBezTo>
                <a:cubicBezTo>
                  <a:pt x="191" y="78"/>
                  <a:pt x="191" y="78"/>
                  <a:pt x="191" y="78"/>
                </a:cubicBezTo>
                <a:cubicBezTo>
                  <a:pt x="191" y="78"/>
                  <a:pt x="191" y="78"/>
                  <a:pt x="191" y="78"/>
                </a:cubicBezTo>
                <a:cubicBezTo>
                  <a:pt x="191" y="78"/>
                  <a:pt x="191" y="78"/>
                  <a:pt x="191" y="78"/>
                </a:cubicBezTo>
                <a:cubicBezTo>
                  <a:pt x="191" y="78"/>
                  <a:pt x="191" y="78"/>
                  <a:pt x="191" y="78"/>
                </a:cubicBezTo>
                <a:cubicBezTo>
                  <a:pt x="191" y="78"/>
                  <a:pt x="191" y="78"/>
                  <a:pt x="191" y="77"/>
                </a:cubicBezTo>
                <a:cubicBezTo>
                  <a:pt x="191" y="77"/>
                  <a:pt x="191" y="77"/>
                  <a:pt x="191" y="77"/>
                </a:cubicBezTo>
                <a:cubicBezTo>
                  <a:pt x="191" y="77"/>
                  <a:pt x="191" y="77"/>
                  <a:pt x="191" y="77"/>
                </a:cubicBezTo>
                <a:cubicBezTo>
                  <a:pt x="191" y="77"/>
                  <a:pt x="191" y="77"/>
                  <a:pt x="191" y="77"/>
                </a:cubicBezTo>
                <a:cubicBezTo>
                  <a:pt x="191" y="77"/>
                  <a:pt x="191" y="77"/>
                  <a:pt x="191" y="77"/>
                </a:cubicBezTo>
                <a:cubicBezTo>
                  <a:pt x="191" y="77"/>
                  <a:pt x="191" y="77"/>
                  <a:pt x="191" y="77"/>
                </a:cubicBezTo>
                <a:cubicBezTo>
                  <a:pt x="191" y="77"/>
                  <a:pt x="191" y="77"/>
                  <a:pt x="191" y="77"/>
                </a:cubicBezTo>
                <a:cubicBezTo>
                  <a:pt x="191" y="77"/>
                  <a:pt x="191" y="77"/>
                  <a:pt x="191" y="77"/>
                </a:cubicBezTo>
                <a:cubicBezTo>
                  <a:pt x="191" y="77"/>
                  <a:pt x="191" y="76"/>
                  <a:pt x="191" y="76"/>
                </a:cubicBezTo>
                <a:cubicBezTo>
                  <a:pt x="191" y="76"/>
                  <a:pt x="191" y="76"/>
                  <a:pt x="191" y="76"/>
                </a:cubicBezTo>
                <a:cubicBezTo>
                  <a:pt x="191" y="76"/>
                  <a:pt x="191" y="76"/>
                  <a:pt x="191" y="76"/>
                </a:cubicBezTo>
                <a:cubicBezTo>
                  <a:pt x="191" y="76"/>
                  <a:pt x="191" y="76"/>
                  <a:pt x="191" y="76"/>
                </a:cubicBezTo>
                <a:cubicBezTo>
                  <a:pt x="191" y="76"/>
                  <a:pt x="191" y="76"/>
                  <a:pt x="191" y="76"/>
                </a:cubicBezTo>
                <a:cubicBezTo>
                  <a:pt x="191" y="76"/>
                  <a:pt x="191" y="76"/>
                  <a:pt x="191" y="76"/>
                </a:cubicBezTo>
                <a:cubicBezTo>
                  <a:pt x="191" y="76"/>
                  <a:pt x="191" y="76"/>
                  <a:pt x="191" y="76"/>
                </a:cubicBezTo>
                <a:cubicBezTo>
                  <a:pt x="191" y="76"/>
                  <a:pt x="191" y="76"/>
                  <a:pt x="191" y="76"/>
                </a:cubicBezTo>
                <a:cubicBezTo>
                  <a:pt x="191" y="75"/>
                  <a:pt x="191" y="75"/>
                  <a:pt x="191" y="75"/>
                </a:cubicBezTo>
                <a:cubicBezTo>
                  <a:pt x="191" y="75"/>
                  <a:pt x="191" y="75"/>
                  <a:pt x="191" y="75"/>
                </a:cubicBezTo>
                <a:cubicBezTo>
                  <a:pt x="191" y="75"/>
                  <a:pt x="191" y="75"/>
                  <a:pt x="191" y="75"/>
                </a:cubicBezTo>
                <a:cubicBezTo>
                  <a:pt x="191" y="75"/>
                  <a:pt x="191" y="75"/>
                  <a:pt x="191" y="75"/>
                </a:cubicBezTo>
                <a:cubicBezTo>
                  <a:pt x="191" y="75"/>
                  <a:pt x="191" y="75"/>
                  <a:pt x="191" y="75"/>
                </a:cubicBezTo>
                <a:cubicBezTo>
                  <a:pt x="191" y="75"/>
                  <a:pt x="191" y="75"/>
                  <a:pt x="191" y="75"/>
                </a:cubicBezTo>
                <a:cubicBezTo>
                  <a:pt x="191" y="75"/>
                  <a:pt x="191" y="75"/>
                  <a:pt x="191" y="75"/>
                </a:cubicBezTo>
                <a:cubicBezTo>
                  <a:pt x="191" y="75"/>
                  <a:pt x="191" y="75"/>
                  <a:pt x="191" y="74"/>
                </a:cubicBezTo>
                <a:cubicBezTo>
                  <a:pt x="191" y="74"/>
                  <a:pt x="191" y="74"/>
                  <a:pt x="191" y="74"/>
                </a:cubicBezTo>
                <a:cubicBezTo>
                  <a:pt x="191" y="74"/>
                  <a:pt x="191" y="74"/>
                  <a:pt x="191" y="74"/>
                </a:cubicBezTo>
                <a:cubicBezTo>
                  <a:pt x="191" y="74"/>
                  <a:pt x="191" y="74"/>
                  <a:pt x="191" y="74"/>
                </a:cubicBezTo>
                <a:cubicBezTo>
                  <a:pt x="191" y="74"/>
                  <a:pt x="191" y="74"/>
                  <a:pt x="191" y="74"/>
                </a:cubicBezTo>
                <a:cubicBezTo>
                  <a:pt x="191" y="74"/>
                  <a:pt x="191" y="74"/>
                  <a:pt x="191" y="74"/>
                </a:cubicBezTo>
                <a:cubicBezTo>
                  <a:pt x="191" y="74"/>
                  <a:pt x="191" y="74"/>
                  <a:pt x="191" y="74"/>
                </a:cubicBezTo>
                <a:cubicBezTo>
                  <a:pt x="191" y="74"/>
                  <a:pt x="191" y="74"/>
                  <a:pt x="191" y="74"/>
                </a:cubicBezTo>
                <a:cubicBezTo>
                  <a:pt x="191" y="74"/>
                  <a:pt x="191" y="74"/>
                  <a:pt x="191" y="73"/>
                </a:cubicBezTo>
                <a:cubicBezTo>
                  <a:pt x="191" y="73"/>
                  <a:pt x="191" y="73"/>
                  <a:pt x="191" y="73"/>
                </a:cubicBezTo>
                <a:cubicBezTo>
                  <a:pt x="191" y="69"/>
                  <a:pt x="190" y="64"/>
                  <a:pt x="189" y="60"/>
                </a:cubicBezTo>
                <a:cubicBezTo>
                  <a:pt x="189" y="60"/>
                  <a:pt x="189" y="60"/>
                  <a:pt x="189" y="60"/>
                </a:cubicBezTo>
                <a:cubicBezTo>
                  <a:pt x="189" y="60"/>
                  <a:pt x="189" y="60"/>
                  <a:pt x="189" y="59"/>
                </a:cubicBezTo>
                <a:cubicBezTo>
                  <a:pt x="189" y="59"/>
                  <a:pt x="189" y="59"/>
                  <a:pt x="189" y="59"/>
                </a:cubicBezTo>
                <a:cubicBezTo>
                  <a:pt x="189" y="59"/>
                  <a:pt x="189" y="59"/>
                  <a:pt x="189" y="59"/>
                </a:cubicBezTo>
                <a:cubicBezTo>
                  <a:pt x="189" y="59"/>
                  <a:pt x="189" y="59"/>
                  <a:pt x="189" y="59"/>
                </a:cubicBezTo>
                <a:cubicBezTo>
                  <a:pt x="189" y="59"/>
                  <a:pt x="189" y="59"/>
                  <a:pt x="189" y="59"/>
                </a:cubicBezTo>
                <a:cubicBezTo>
                  <a:pt x="189" y="59"/>
                  <a:pt x="189" y="59"/>
                  <a:pt x="189" y="59"/>
                </a:cubicBezTo>
                <a:cubicBezTo>
                  <a:pt x="189" y="59"/>
                  <a:pt x="189" y="59"/>
                  <a:pt x="189" y="59"/>
                </a:cubicBezTo>
                <a:cubicBezTo>
                  <a:pt x="189" y="59"/>
                  <a:pt x="189" y="59"/>
                  <a:pt x="189" y="59"/>
                </a:cubicBezTo>
                <a:cubicBezTo>
                  <a:pt x="189" y="59"/>
                  <a:pt x="189" y="59"/>
                  <a:pt x="189" y="58"/>
                </a:cubicBezTo>
                <a:cubicBezTo>
                  <a:pt x="189" y="58"/>
                  <a:pt x="189" y="58"/>
                  <a:pt x="189" y="58"/>
                </a:cubicBezTo>
                <a:cubicBezTo>
                  <a:pt x="189" y="58"/>
                  <a:pt x="189" y="58"/>
                  <a:pt x="189" y="58"/>
                </a:cubicBezTo>
                <a:cubicBezTo>
                  <a:pt x="189" y="58"/>
                  <a:pt x="189" y="58"/>
                  <a:pt x="189" y="58"/>
                </a:cubicBezTo>
                <a:cubicBezTo>
                  <a:pt x="189" y="58"/>
                  <a:pt x="189" y="58"/>
                  <a:pt x="189" y="58"/>
                </a:cubicBezTo>
                <a:cubicBezTo>
                  <a:pt x="185" y="44"/>
                  <a:pt x="177" y="31"/>
                  <a:pt x="167" y="21"/>
                </a:cubicBezTo>
                <a:cubicBezTo>
                  <a:pt x="166" y="21"/>
                  <a:pt x="166" y="21"/>
                  <a:pt x="166" y="21"/>
                </a:cubicBezTo>
                <a:cubicBezTo>
                  <a:pt x="166" y="21"/>
                  <a:pt x="166" y="21"/>
                  <a:pt x="166" y="21"/>
                </a:cubicBezTo>
                <a:cubicBezTo>
                  <a:pt x="166" y="21"/>
                  <a:pt x="166" y="21"/>
                  <a:pt x="166" y="21"/>
                </a:cubicBezTo>
                <a:cubicBezTo>
                  <a:pt x="152" y="8"/>
                  <a:pt x="133" y="0"/>
                  <a:pt x="112" y="0"/>
                </a:cubicBezTo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40" name="iṧḷíḑé">
            <a:extLst>
              <a:ext uri="{FF2B5EF4-FFF2-40B4-BE49-F238E27FC236}">
                <a16:creationId xmlns:a16="http://schemas.microsoft.com/office/drawing/2014/main" id="{76077061-06D6-4F1B-9C4F-A363BC8A06E1}"/>
              </a:ext>
            </a:extLst>
          </p:cNvPr>
          <p:cNvSpPr>
            <a:spLocks/>
          </p:cNvSpPr>
          <p:nvPr/>
        </p:nvSpPr>
        <p:spPr bwMode="auto">
          <a:xfrm rot="16200000">
            <a:off x="5734608" y="2208739"/>
            <a:ext cx="514653" cy="210655"/>
          </a:xfrm>
          <a:custGeom>
            <a:avLst/>
            <a:gdLst>
              <a:gd name="T0" fmla="*/ 192 w 192"/>
              <a:gd name="T1" fmla="*/ 0 h 79"/>
              <a:gd name="T2" fmla="*/ 0 w 192"/>
              <a:gd name="T3" fmla="*/ 0 h 79"/>
              <a:gd name="T4" fmla="*/ 80 w 192"/>
              <a:gd name="T5" fmla="*/ 79 h 79"/>
              <a:gd name="T6" fmla="*/ 80 w 192"/>
              <a:gd name="T7" fmla="*/ 79 h 79"/>
              <a:gd name="T8" fmla="*/ 80 w 192"/>
              <a:gd name="T9" fmla="*/ 79 h 79"/>
              <a:gd name="T10" fmla="*/ 130 w 192"/>
              <a:gd name="T11" fmla="*/ 29 h 79"/>
              <a:gd name="T12" fmla="*/ 142 w 192"/>
              <a:gd name="T13" fmla="*/ 18 h 79"/>
              <a:gd name="T14" fmla="*/ 143 w 192"/>
              <a:gd name="T15" fmla="*/ 16 h 79"/>
              <a:gd name="T16" fmla="*/ 192 w 192"/>
              <a:gd name="T17" fmla="*/ 0 h 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92" h="79">
                <a:moveTo>
                  <a:pt x="192" y="0"/>
                </a:moveTo>
                <a:cubicBezTo>
                  <a:pt x="0" y="0"/>
                  <a:pt x="0" y="0"/>
                  <a:pt x="0" y="0"/>
                </a:cubicBezTo>
                <a:cubicBezTo>
                  <a:pt x="80" y="79"/>
                  <a:pt x="80" y="79"/>
                  <a:pt x="80" y="79"/>
                </a:cubicBezTo>
                <a:cubicBezTo>
                  <a:pt x="80" y="79"/>
                  <a:pt x="80" y="79"/>
                  <a:pt x="80" y="79"/>
                </a:cubicBezTo>
                <a:cubicBezTo>
                  <a:pt x="80" y="79"/>
                  <a:pt x="80" y="79"/>
                  <a:pt x="80" y="79"/>
                </a:cubicBezTo>
                <a:cubicBezTo>
                  <a:pt x="130" y="29"/>
                  <a:pt x="130" y="29"/>
                  <a:pt x="130" y="29"/>
                </a:cubicBezTo>
                <a:cubicBezTo>
                  <a:pt x="142" y="18"/>
                  <a:pt x="142" y="18"/>
                  <a:pt x="142" y="18"/>
                </a:cubicBezTo>
                <a:cubicBezTo>
                  <a:pt x="142" y="17"/>
                  <a:pt x="143" y="17"/>
                  <a:pt x="143" y="16"/>
                </a:cubicBezTo>
                <a:cubicBezTo>
                  <a:pt x="157" y="6"/>
                  <a:pt x="174" y="0"/>
                  <a:pt x="192" y="0"/>
                </a:cubicBezTo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41" name="îṡliḓè">
            <a:extLst>
              <a:ext uri="{FF2B5EF4-FFF2-40B4-BE49-F238E27FC236}">
                <a16:creationId xmlns:a16="http://schemas.microsoft.com/office/drawing/2014/main" id="{CCC6F2E9-E934-4966-8840-26851BD4959A}"/>
              </a:ext>
            </a:extLst>
          </p:cNvPr>
          <p:cNvSpPr>
            <a:spLocks/>
          </p:cNvSpPr>
          <p:nvPr/>
        </p:nvSpPr>
        <p:spPr bwMode="auto">
          <a:xfrm rot="16200000">
            <a:off x="5945893" y="2208109"/>
            <a:ext cx="514653" cy="211916"/>
          </a:xfrm>
          <a:custGeom>
            <a:avLst/>
            <a:gdLst>
              <a:gd name="T0" fmla="*/ 80 w 192"/>
              <a:gd name="T1" fmla="*/ 0 h 79"/>
              <a:gd name="T2" fmla="*/ 0 w 192"/>
              <a:gd name="T3" fmla="*/ 79 h 79"/>
              <a:gd name="T4" fmla="*/ 192 w 192"/>
              <a:gd name="T5" fmla="*/ 79 h 79"/>
              <a:gd name="T6" fmla="*/ 192 w 192"/>
              <a:gd name="T7" fmla="*/ 79 h 79"/>
              <a:gd name="T8" fmla="*/ 153 w 192"/>
              <a:gd name="T9" fmla="*/ 69 h 79"/>
              <a:gd name="T10" fmla="*/ 142 w 192"/>
              <a:gd name="T11" fmla="*/ 62 h 79"/>
              <a:gd name="T12" fmla="*/ 130 w 192"/>
              <a:gd name="T13" fmla="*/ 50 h 79"/>
              <a:gd name="T14" fmla="*/ 109 w 192"/>
              <a:gd name="T15" fmla="*/ 28 h 79"/>
              <a:gd name="T16" fmla="*/ 80 w 192"/>
              <a:gd name="T17" fmla="*/ 0 h 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92" h="79">
                <a:moveTo>
                  <a:pt x="80" y="0"/>
                </a:moveTo>
                <a:cubicBezTo>
                  <a:pt x="0" y="79"/>
                  <a:pt x="0" y="79"/>
                  <a:pt x="0" y="79"/>
                </a:cubicBezTo>
                <a:cubicBezTo>
                  <a:pt x="192" y="79"/>
                  <a:pt x="192" y="79"/>
                  <a:pt x="192" y="79"/>
                </a:cubicBezTo>
                <a:cubicBezTo>
                  <a:pt x="192" y="79"/>
                  <a:pt x="192" y="79"/>
                  <a:pt x="192" y="79"/>
                </a:cubicBezTo>
                <a:cubicBezTo>
                  <a:pt x="178" y="79"/>
                  <a:pt x="165" y="76"/>
                  <a:pt x="153" y="69"/>
                </a:cubicBezTo>
                <a:cubicBezTo>
                  <a:pt x="149" y="67"/>
                  <a:pt x="145" y="65"/>
                  <a:pt x="142" y="62"/>
                </a:cubicBezTo>
                <a:cubicBezTo>
                  <a:pt x="130" y="50"/>
                  <a:pt x="130" y="50"/>
                  <a:pt x="130" y="50"/>
                </a:cubicBezTo>
                <a:cubicBezTo>
                  <a:pt x="109" y="28"/>
                  <a:pt x="109" y="28"/>
                  <a:pt x="109" y="28"/>
                </a:cubicBezTo>
                <a:cubicBezTo>
                  <a:pt x="80" y="0"/>
                  <a:pt x="80" y="0"/>
                  <a:pt x="80" y="0"/>
                </a:cubicBezTo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42" name="ísḷîḍé">
            <a:extLst>
              <a:ext uri="{FF2B5EF4-FFF2-40B4-BE49-F238E27FC236}">
                <a16:creationId xmlns:a16="http://schemas.microsoft.com/office/drawing/2014/main" id="{17AA71A4-827B-4813-B7AD-1F6B8C7577C5}"/>
              </a:ext>
            </a:extLst>
          </p:cNvPr>
          <p:cNvSpPr/>
          <p:nvPr/>
        </p:nvSpPr>
        <p:spPr>
          <a:xfrm>
            <a:off x="5985025" y="1935112"/>
            <a:ext cx="221950" cy="221812"/>
          </a:xfrm>
          <a:custGeom>
            <a:avLst/>
            <a:gdLst>
              <a:gd name="connsiteX0" fmla="*/ 482620 w 607097"/>
              <a:gd name="connsiteY0" fmla="*/ 381169 h 606722"/>
              <a:gd name="connsiteX1" fmla="*/ 496768 w 607097"/>
              <a:gd name="connsiteY1" fmla="*/ 381169 h 606722"/>
              <a:gd name="connsiteX2" fmla="*/ 510916 w 607097"/>
              <a:gd name="connsiteY2" fmla="*/ 395381 h 606722"/>
              <a:gd name="connsiteX3" fmla="*/ 510916 w 607097"/>
              <a:gd name="connsiteY3" fmla="*/ 409505 h 606722"/>
              <a:gd name="connsiteX4" fmla="*/ 503887 w 607097"/>
              <a:gd name="connsiteY4" fmla="*/ 412525 h 606722"/>
              <a:gd name="connsiteX5" fmla="*/ 496768 w 607097"/>
              <a:gd name="connsiteY5" fmla="*/ 409505 h 606722"/>
              <a:gd name="connsiteX6" fmla="*/ 482620 w 607097"/>
              <a:gd name="connsiteY6" fmla="*/ 395381 h 606722"/>
              <a:gd name="connsiteX7" fmla="*/ 482620 w 607097"/>
              <a:gd name="connsiteY7" fmla="*/ 381169 h 606722"/>
              <a:gd name="connsiteX8" fmla="*/ 546398 w 607097"/>
              <a:gd name="connsiteY8" fmla="*/ 242745 h 606722"/>
              <a:gd name="connsiteX9" fmla="*/ 566606 w 607097"/>
              <a:gd name="connsiteY9" fmla="*/ 242745 h 606722"/>
              <a:gd name="connsiteX10" fmla="*/ 576754 w 607097"/>
              <a:gd name="connsiteY10" fmla="*/ 252756 h 606722"/>
              <a:gd name="connsiteX11" fmla="*/ 566606 w 607097"/>
              <a:gd name="connsiteY11" fmla="*/ 262856 h 606722"/>
              <a:gd name="connsiteX12" fmla="*/ 546398 w 607097"/>
              <a:gd name="connsiteY12" fmla="*/ 262856 h 606722"/>
              <a:gd name="connsiteX13" fmla="*/ 536249 w 607097"/>
              <a:gd name="connsiteY13" fmla="*/ 252756 h 606722"/>
              <a:gd name="connsiteX14" fmla="*/ 546398 w 607097"/>
              <a:gd name="connsiteY14" fmla="*/ 242745 h 606722"/>
              <a:gd name="connsiteX15" fmla="*/ 353968 w 607097"/>
              <a:gd name="connsiteY15" fmla="*/ 101120 h 606722"/>
              <a:gd name="connsiteX16" fmla="*/ 364118 w 607097"/>
              <a:gd name="connsiteY16" fmla="*/ 111251 h 606722"/>
              <a:gd name="connsiteX17" fmla="*/ 364118 w 607097"/>
              <a:gd name="connsiteY17" fmla="*/ 242683 h 606722"/>
              <a:gd name="connsiteX18" fmla="*/ 424838 w 607097"/>
              <a:gd name="connsiteY18" fmla="*/ 242683 h 606722"/>
              <a:gd name="connsiteX19" fmla="*/ 434988 w 607097"/>
              <a:gd name="connsiteY19" fmla="*/ 252725 h 606722"/>
              <a:gd name="connsiteX20" fmla="*/ 424838 w 607097"/>
              <a:gd name="connsiteY20" fmla="*/ 262856 h 606722"/>
              <a:gd name="connsiteX21" fmla="*/ 353968 w 607097"/>
              <a:gd name="connsiteY21" fmla="*/ 262856 h 606722"/>
              <a:gd name="connsiteX22" fmla="*/ 343818 w 607097"/>
              <a:gd name="connsiteY22" fmla="*/ 252725 h 606722"/>
              <a:gd name="connsiteX23" fmla="*/ 343818 w 607097"/>
              <a:gd name="connsiteY23" fmla="*/ 111251 h 606722"/>
              <a:gd name="connsiteX24" fmla="*/ 353968 w 607097"/>
              <a:gd name="connsiteY24" fmla="*/ 101120 h 606722"/>
              <a:gd name="connsiteX25" fmla="*/ 496768 w 607097"/>
              <a:gd name="connsiteY25" fmla="*/ 96101 h 606722"/>
              <a:gd name="connsiteX26" fmla="*/ 510916 w 607097"/>
              <a:gd name="connsiteY26" fmla="*/ 96101 h 606722"/>
              <a:gd name="connsiteX27" fmla="*/ 510916 w 607097"/>
              <a:gd name="connsiteY27" fmla="*/ 110217 h 606722"/>
              <a:gd name="connsiteX28" fmla="*/ 496768 w 607097"/>
              <a:gd name="connsiteY28" fmla="*/ 124334 h 606722"/>
              <a:gd name="connsiteX29" fmla="*/ 489650 w 607097"/>
              <a:gd name="connsiteY29" fmla="*/ 127441 h 606722"/>
              <a:gd name="connsiteX30" fmla="*/ 482620 w 607097"/>
              <a:gd name="connsiteY30" fmla="*/ 124334 h 606722"/>
              <a:gd name="connsiteX31" fmla="*/ 482620 w 607097"/>
              <a:gd name="connsiteY31" fmla="*/ 110217 h 606722"/>
              <a:gd name="connsiteX32" fmla="*/ 196955 w 607097"/>
              <a:gd name="connsiteY32" fmla="*/ 96101 h 606722"/>
              <a:gd name="connsiteX33" fmla="*/ 211110 w 607097"/>
              <a:gd name="connsiteY33" fmla="*/ 96101 h 606722"/>
              <a:gd name="connsiteX34" fmla="*/ 225355 w 607097"/>
              <a:gd name="connsiteY34" fmla="*/ 110217 h 606722"/>
              <a:gd name="connsiteX35" fmla="*/ 225355 w 607097"/>
              <a:gd name="connsiteY35" fmla="*/ 124334 h 606722"/>
              <a:gd name="connsiteX36" fmla="*/ 218233 w 607097"/>
              <a:gd name="connsiteY36" fmla="*/ 127441 h 606722"/>
              <a:gd name="connsiteX37" fmla="*/ 211110 w 607097"/>
              <a:gd name="connsiteY37" fmla="*/ 124334 h 606722"/>
              <a:gd name="connsiteX38" fmla="*/ 196955 w 607097"/>
              <a:gd name="connsiteY38" fmla="*/ 110217 h 606722"/>
              <a:gd name="connsiteX39" fmla="*/ 196955 w 607097"/>
              <a:gd name="connsiteY39" fmla="*/ 96101 h 606722"/>
              <a:gd name="connsiteX40" fmla="*/ 103963 w 607097"/>
              <a:gd name="connsiteY40" fmla="*/ 81761 h 606722"/>
              <a:gd name="connsiteX41" fmla="*/ 87598 w 607097"/>
              <a:gd name="connsiteY41" fmla="*/ 90026 h 606722"/>
              <a:gd name="connsiteX42" fmla="*/ 62322 w 607097"/>
              <a:gd name="connsiteY42" fmla="*/ 115266 h 606722"/>
              <a:gd name="connsiteX43" fmla="*/ 34998 w 607097"/>
              <a:gd name="connsiteY43" fmla="*/ 265902 h 606722"/>
              <a:gd name="connsiteX44" fmla="*/ 75494 w 607097"/>
              <a:gd name="connsiteY44" fmla="*/ 322602 h 606722"/>
              <a:gd name="connsiteX45" fmla="*/ 283044 w 607097"/>
              <a:gd name="connsiteY45" fmla="*/ 530826 h 606722"/>
              <a:gd name="connsiteX46" fmla="*/ 327634 w 607097"/>
              <a:gd name="connsiteY46" fmla="*/ 565219 h 606722"/>
              <a:gd name="connsiteX47" fmla="*/ 490684 w 607097"/>
              <a:gd name="connsiteY47" fmla="*/ 545046 h 606722"/>
              <a:gd name="connsiteX48" fmla="*/ 515960 w 607097"/>
              <a:gd name="connsiteY48" fmla="*/ 519717 h 606722"/>
              <a:gd name="connsiteX49" fmla="*/ 521033 w 607097"/>
              <a:gd name="connsiteY49" fmla="*/ 485324 h 606722"/>
              <a:gd name="connsiteX50" fmla="*/ 434969 w 607097"/>
              <a:gd name="connsiteY50" fmla="*/ 411561 h 606722"/>
              <a:gd name="connsiteX51" fmla="*/ 414321 w 607097"/>
              <a:gd name="connsiteY51" fmla="*/ 406318 h 606722"/>
              <a:gd name="connsiteX52" fmla="*/ 413698 w 607097"/>
              <a:gd name="connsiteY52" fmla="*/ 406496 h 606722"/>
              <a:gd name="connsiteX53" fmla="*/ 405599 w 607097"/>
              <a:gd name="connsiteY53" fmla="*/ 413605 h 606722"/>
              <a:gd name="connsiteX54" fmla="*/ 404620 w 607097"/>
              <a:gd name="connsiteY54" fmla="*/ 414583 h 606722"/>
              <a:gd name="connsiteX55" fmla="*/ 373202 w 607097"/>
              <a:gd name="connsiteY55" fmla="*/ 447910 h 606722"/>
              <a:gd name="connsiteX56" fmla="*/ 349528 w 607097"/>
              <a:gd name="connsiteY56" fmla="*/ 459552 h 606722"/>
              <a:gd name="connsiteX57" fmla="*/ 405599 w 607097"/>
              <a:gd name="connsiteY57" fmla="*/ 475282 h 606722"/>
              <a:gd name="connsiteX58" fmla="*/ 414677 w 607097"/>
              <a:gd name="connsiteY58" fmla="*/ 486391 h 606722"/>
              <a:gd name="connsiteX59" fmla="*/ 404620 w 607097"/>
              <a:gd name="connsiteY59" fmla="*/ 495456 h 606722"/>
              <a:gd name="connsiteX60" fmla="*/ 403552 w 607097"/>
              <a:gd name="connsiteY60" fmla="*/ 495456 h 606722"/>
              <a:gd name="connsiteX61" fmla="*/ 287138 w 607097"/>
              <a:gd name="connsiteY61" fmla="*/ 441866 h 606722"/>
              <a:gd name="connsiteX62" fmla="*/ 286426 w 607097"/>
              <a:gd name="connsiteY62" fmla="*/ 441067 h 606722"/>
              <a:gd name="connsiteX63" fmla="*/ 284112 w 607097"/>
              <a:gd name="connsiteY63" fmla="*/ 438845 h 606722"/>
              <a:gd name="connsiteX64" fmla="*/ 176777 w 607097"/>
              <a:gd name="connsiteY64" fmla="*/ 331666 h 606722"/>
              <a:gd name="connsiteX65" fmla="*/ 111895 w 607097"/>
              <a:gd name="connsiteY65" fmla="*/ 213379 h 606722"/>
              <a:gd name="connsiteX66" fmla="*/ 121062 w 607097"/>
              <a:gd name="connsiteY66" fmla="*/ 202270 h 606722"/>
              <a:gd name="connsiteX67" fmla="*/ 132188 w 607097"/>
              <a:gd name="connsiteY67" fmla="*/ 211335 h 606722"/>
              <a:gd name="connsiteX68" fmla="*/ 146428 w 607097"/>
              <a:gd name="connsiteY68" fmla="*/ 259325 h 606722"/>
              <a:gd name="connsiteX69" fmla="*/ 158532 w 607097"/>
              <a:gd name="connsiteY69" fmla="*/ 233553 h 606722"/>
              <a:gd name="connsiteX70" fmla="*/ 191907 w 607097"/>
              <a:gd name="connsiteY70" fmla="*/ 202270 h 606722"/>
              <a:gd name="connsiteX71" fmla="*/ 192975 w 607097"/>
              <a:gd name="connsiteY71" fmla="*/ 201204 h 606722"/>
              <a:gd name="connsiteX72" fmla="*/ 200006 w 607097"/>
              <a:gd name="connsiteY72" fmla="*/ 193117 h 606722"/>
              <a:gd name="connsiteX73" fmla="*/ 194933 w 607097"/>
              <a:gd name="connsiteY73" fmla="*/ 170899 h 606722"/>
              <a:gd name="connsiteX74" fmla="*/ 121062 w 607097"/>
              <a:gd name="connsiteY74" fmla="*/ 84961 h 606722"/>
              <a:gd name="connsiteX75" fmla="*/ 103963 w 607097"/>
              <a:gd name="connsiteY75" fmla="*/ 81761 h 606722"/>
              <a:gd name="connsiteX76" fmla="*/ 353980 w 607097"/>
              <a:gd name="connsiteY76" fmla="*/ 30273 h 606722"/>
              <a:gd name="connsiteX77" fmla="*/ 364141 w 607097"/>
              <a:gd name="connsiteY77" fmla="*/ 40422 h 606722"/>
              <a:gd name="connsiteX78" fmla="*/ 364141 w 607097"/>
              <a:gd name="connsiteY78" fmla="*/ 60719 h 606722"/>
              <a:gd name="connsiteX79" fmla="*/ 353980 w 607097"/>
              <a:gd name="connsiteY79" fmla="*/ 70778 h 606722"/>
              <a:gd name="connsiteX80" fmla="*/ 343818 w 607097"/>
              <a:gd name="connsiteY80" fmla="*/ 60719 h 606722"/>
              <a:gd name="connsiteX81" fmla="*/ 343818 w 607097"/>
              <a:gd name="connsiteY81" fmla="*/ 40422 h 606722"/>
              <a:gd name="connsiteX82" fmla="*/ 353980 w 607097"/>
              <a:gd name="connsiteY82" fmla="*/ 30273 h 606722"/>
              <a:gd name="connsiteX83" fmla="*/ 353978 w 607097"/>
              <a:gd name="connsiteY83" fmla="*/ 20263 h 606722"/>
              <a:gd name="connsiteX84" fmla="*/ 174819 w 607097"/>
              <a:gd name="connsiteY84" fmla="*/ 104957 h 606722"/>
              <a:gd name="connsiteX85" fmla="*/ 214246 w 607097"/>
              <a:gd name="connsiteY85" fmla="*/ 160768 h 606722"/>
              <a:gd name="connsiteX86" fmla="*/ 221278 w 607097"/>
              <a:gd name="connsiteY86" fmla="*/ 198182 h 606722"/>
              <a:gd name="connsiteX87" fmla="*/ 215938 w 607097"/>
              <a:gd name="connsiteY87" fmla="*/ 209025 h 606722"/>
              <a:gd name="connsiteX88" fmla="*/ 210152 w 607097"/>
              <a:gd name="connsiteY88" fmla="*/ 215157 h 606722"/>
              <a:gd name="connsiteX89" fmla="*/ 206147 w 607097"/>
              <a:gd name="connsiteY89" fmla="*/ 218445 h 606722"/>
              <a:gd name="connsiteX90" fmla="*/ 176777 w 607097"/>
              <a:gd name="connsiteY90" fmla="*/ 244662 h 606722"/>
              <a:gd name="connsiteX91" fmla="*/ 182829 w 607097"/>
              <a:gd name="connsiteY91" fmla="*/ 308382 h 606722"/>
              <a:gd name="connsiteX92" fmla="*/ 189504 w 607097"/>
              <a:gd name="connsiteY92" fmla="*/ 315136 h 606722"/>
              <a:gd name="connsiteX93" fmla="*/ 189949 w 607097"/>
              <a:gd name="connsiteY93" fmla="*/ 315492 h 606722"/>
              <a:gd name="connsiteX94" fmla="*/ 191640 w 607097"/>
              <a:gd name="connsiteY94" fmla="*/ 317269 h 606722"/>
              <a:gd name="connsiteX95" fmla="*/ 298263 w 607097"/>
              <a:gd name="connsiteY95" fmla="*/ 424714 h 606722"/>
              <a:gd name="connsiteX96" fmla="*/ 362077 w 607097"/>
              <a:gd name="connsiteY96" fmla="*/ 430758 h 606722"/>
              <a:gd name="connsiteX97" fmla="*/ 388422 w 607097"/>
              <a:gd name="connsiteY97" fmla="*/ 401430 h 606722"/>
              <a:gd name="connsiteX98" fmla="*/ 408625 w 607097"/>
              <a:gd name="connsiteY98" fmla="*/ 386233 h 606722"/>
              <a:gd name="connsiteX99" fmla="*/ 419661 w 607097"/>
              <a:gd name="connsiteY99" fmla="*/ 384900 h 606722"/>
              <a:gd name="connsiteX100" fmla="*/ 446094 w 607097"/>
              <a:gd name="connsiteY100" fmla="*/ 392365 h 606722"/>
              <a:gd name="connsiteX101" fmla="*/ 501987 w 607097"/>
              <a:gd name="connsiteY101" fmla="*/ 431646 h 606722"/>
              <a:gd name="connsiteX102" fmla="*/ 586894 w 607097"/>
              <a:gd name="connsiteY102" fmla="*/ 252749 h 606722"/>
              <a:gd name="connsiteX103" fmla="*/ 353978 w 607097"/>
              <a:gd name="connsiteY103" fmla="*/ 20263 h 606722"/>
              <a:gd name="connsiteX104" fmla="*/ 353978 w 607097"/>
              <a:gd name="connsiteY104" fmla="*/ 0 h 606722"/>
              <a:gd name="connsiteX105" fmla="*/ 607097 w 607097"/>
              <a:gd name="connsiteY105" fmla="*/ 252749 h 606722"/>
              <a:gd name="connsiteX106" fmla="*/ 517384 w 607097"/>
              <a:gd name="connsiteY106" fmla="*/ 445421 h 606722"/>
              <a:gd name="connsiteX107" fmla="*/ 540257 w 607097"/>
              <a:gd name="connsiteY107" fmla="*/ 474215 h 606722"/>
              <a:gd name="connsiteX108" fmla="*/ 531179 w 607097"/>
              <a:gd name="connsiteY108" fmla="*/ 532870 h 606722"/>
              <a:gd name="connsiteX109" fmla="*/ 505814 w 607097"/>
              <a:gd name="connsiteY109" fmla="*/ 559176 h 606722"/>
              <a:gd name="connsiteX110" fmla="*/ 401505 w 607097"/>
              <a:gd name="connsiteY110" fmla="*/ 606722 h 606722"/>
              <a:gd name="connsiteX111" fmla="*/ 318556 w 607097"/>
              <a:gd name="connsiteY111" fmla="*/ 582460 h 606722"/>
              <a:gd name="connsiteX112" fmla="*/ 268893 w 607097"/>
              <a:gd name="connsiteY112" fmla="*/ 543979 h 606722"/>
              <a:gd name="connsiteX113" fmla="*/ 61343 w 607097"/>
              <a:gd name="connsiteY113" fmla="*/ 336732 h 606722"/>
              <a:gd name="connsiteX114" fmla="*/ 16753 w 607097"/>
              <a:gd name="connsiteY114" fmla="*/ 275056 h 606722"/>
              <a:gd name="connsiteX115" fmla="*/ 48171 w 607097"/>
              <a:gd name="connsiteY115" fmla="*/ 101135 h 606722"/>
              <a:gd name="connsiteX116" fmla="*/ 73447 w 607097"/>
              <a:gd name="connsiteY116" fmla="*/ 75807 h 606722"/>
              <a:gd name="connsiteX117" fmla="*/ 132188 w 607097"/>
              <a:gd name="connsiteY117" fmla="*/ 66742 h 606722"/>
              <a:gd name="connsiteX118" fmla="*/ 160757 w 607097"/>
              <a:gd name="connsiteY118" fmla="*/ 89315 h 606722"/>
              <a:gd name="connsiteX119" fmla="*/ 353978 w 607097"/>
              <a:gd name="connsiteY119" fmla="*/ 0 h 606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</a:cxnLst>
            <a:rect l="l" t="t" r="r" b="b"/>
            <a:pathLst>
              <a:path w="607097" h="606722">
                <a:moveTo>
                  <a:pt x="482620" y="381169"/>
                </a:moveTo>
                <a:cubicBezTo>
                  <a:pt x="486624" y="377172"/>
                  <a:pt x="492675" y="377172"/>
                  <a:pt x="496768" y="381169"/>
                </a:cubicBezTo>
                <a:lnTo>
                  <a:pt x="510916" y="395381"/>
                </a:lnTo>
                <a:cubicBezTo>
                  <a:pt x="515009" y="399379"/>
                  <a:pt x="515009" y="405419"/>
                  <a:pt x="510916" y="409505"/>
                </a:cubicBezTo>
                <a:cubicBezTo>
                  <a:pt x="509937" y="412525"/>
                  <a:pt x="506912" y="412525"/>
                  <a:pt x="503887" y="412525"/>
                </a:cubicBezTo>
                <a:cubicBezTo>
                  <a:pt x="500861" y="412525"/>
                  <a:pt x="498815" y="411548"/>
                  <a:pt x="496768" y="409505"/>
                </a:cubicBezTo>
                <a:lnTo>
                  <a:pt x="482620" y="395381"/>
                </a:lnTo>
                <a:cubicBezTo>
                  <a:pt x="478527" y="391295"/>
                  <a:pt x="478527" y="385255"/>
                  <a:pt x="482620" y="381169"/>
                </a:cubicBezTo>
                <a:close/>
                <a:moveTo>
                  <a:pt x="546398" y="242745"/>
                </a:moveTo>
                <a:lnTo>
                  <a:pt x="566606" y="242745"/>
                </a:lnTo>
                <a:cubicBezTo>
                  <a:pt x="572659" y="242745"/>
                  <a:pt x="576754" y="246732"/>
                  <a:pt x="576754" y="252756"/>
                </a:cubicBezTo>
                <a:cubicBezTo>
                  <a:pt x="576754" y="258869"/>
                  <a:pt x="572659" y="262856"/>
                  <a:pt x="566606" y="262856"/>
                </a:cubicBezTo>
                <a:lnTo>
                  <a:pt x="546398" y="262856"/>
                </a:lnTo>
                <a:cubicBezTo>
                  <a:pt x="540255" y="262856"/>
                  <a:pt x="536249" y="258869"/>
                  <a:pt x="536249" y="252756"/>
                </a:cubicBezTo>
                <a:cubicBezTo>
                  <a:pt x="536249" y="246732"/>
                  <a:pt x="540255" y="242745"/>
                  <a:pt x="546398" y="242745"/>
                </a:cubicBezTo>
                <a:close/>
                <a:moveTo>
                  <a:pt x="353968" y="101120"/>
                </a:moveTo>
                <a:cubicBezTo>
                  <a:pt x="360022" y="101120"/>
                  <a:pt x="364118" y="105119"/>
                  <a:pt x="364118" y="111251"/>
                </a:cubicBezTo>
                <a:lnTo>
                  <a:pt x="364118" y="242683"/>
                </a:lnTo>
                <a:lnTo>
                  <a:pt x="424838" y="242683"/>
                </a:lnTo>
                <a:cubicBezTo>
                  <a:pt x="430893" y="242683"/>
                  <a:pt x="434988" y="246682"/>
                  <a:pt x="434988" y="252725"/>
                </a:cubicBezTo>
                <a:cubicBezTo>
                  <a:pt x="434988" y="258857"/>
                  <a:pt x="430893" y="262856"/>
                  <a:pt x="424838" y="262856"/>
                </a:cubicBezTo>
                <a:lnTo>
                  <a:pt x="353968" y="262856"/>
                </a:lnTo>
                <a:cubicBezTo>
                  <a:pt x="347825" y="262856"/>
                  <a:pt x="343818" y="258857"/>
                  <a:pt x="343818" y="252725"/>
                </a:cubicBezTo>
                <a:lnTo>
                  <a:pt x="343818" y="111251"/>
                </a:lnTo>
                <a:cubicBezTo>
                  <a:pt x="343818" y="105119"/>
                  <a:pt x="347825" y="101120"/>
                  <a:pt x="353968" y="101120"/>
                </a:cubicBezTo>
                <a:close/>
                <a:moveTo>
                  <a:pt x="496768" y="96101"/>
                </a:moveTo>
                <a:cubicBezTo>
                  <a:pt x="500861" y="92017"/>
                  <a:pt x="506912" y="92017"/>
                  <a:pt x="510916" y="96101"/>
                </a:cubicBezTo>
                <a:cubicBezTo>
                  <a:pt x="515009" y="100096"/>
                  <a:pt x="515009" y="106222"/>
                  <a:pt x="510916" y="110217"/>
                </a:cubicBezTo>
                <a:lnTo>
                  <a:pt x="496768" y="124334"/>
                </a:lnTo>
                <a:cubicBezTo>
                  <a:pt x="494722" y="126376"/>
                  <a:pt x="492675" y="127441"/>
                  <a:pt x="489650" y="127441"/>
                </a:cubicBezTo>
                <a:cubicBezTo>
                  <a:pt x="486624" y="127441"/>
                  <a:pt x="484578" y="126376"/>
                  <a:pt x="482620" y="124334"/>
                </a:cubicBezTo>
                <a:cubicBezTo>
                  <a:pt x="478527" y="120338"/>
                  <a:pt x="478527" y="114301"/>
                  <a:pt x="482620" y="110217"/>
                </a:cubicBezTo>
                <a:close/>
                <a:moveTo>
                  <a:pt x="196955" y="96101"/>
                </a:moveTo>
                <a:cubicBezTo>
                  <a:pt x="201050" y="92017"/>
                  <a:pt x="207104" y="92017"/>
                  <a:pt x="211110" y="96101"/>
                </a:cubicBezTo>
                <a:lnTo>
                  <a:pt x="225355" y="110217"/>
                </a:lnTo>
                <a:cubicBezTo>
                  <a:pt x="229361" y="114301"/>
                  <a:pt x="229361" y="120338"/>
                  <a:pt x="225355" y="124334"/>
                </a:cubicBezTo>
                <a:cubicBezTo>
                  <a:pt x="223307" y="126376"/>
                  <a:pt x="220280" y="127441"/>
                  <a:pt x="218233" y="127441"/>
                </a:cubicBezTo>
                <a:cubicBezTo>
                  <a:pt x="215206" y="127441"/>
                  <a:pt x="213158" y="126376"/>
                  <a:pt x="211110" y="124334"/>
                </a:cubicBezTo>
                <a:lnTo>
                  <a:pt x="196955" y="110217"/>
                </a:lnTo>
                <a:cubicBezTo>
                  <a:pt x="192949" y="106222"/>
                  <a:pt x="192949" y="100096"/>
                  <a:pt x="196955" y="96101"/>
                </a:cubicBezTo>
                <a:close/>
                <a:moveTo>
                  <a:pt x="103963" y="81761"/>
                </a:moveTo>
                <a:cubicBezTo>
                  <a:pt x="98011" y="82650"/>
                  <a:pt x="92182" y="85449"/>
                  <a:pt x="87598" y="90026"/>
                </a:cubicBezTo>
                <a:lnTo>
                  <a:pt x="62322" y="115266"/>
                </a:lnTo>
                <a:cubicBezTo>
                  <a:pt x="17732" y="159790"/>
                  <a:pt x="8654" y="209291"/>
                  <a:pt x="34998" y="265902"/>
                </a:cubicBezTo>
                <a:cubicBezTo>
                  <a:pt x="44077" y="285187"/>
                  <a:pt x="57249" y="304383"/>
                  <a:pt x="75494" y="322602"/>
                </a:cubicBezTo>
                <a:lnTo>
                  <a:pt x="283044" y="530826"/>
                </a:lnTo>
                <a:cubicBezTo>
                  <a:pt x="297284" y="545046"/>
                  <a:pt x="312415" y="557132"/>
                  <a:pt x="327634" y="565219"/>
                </a:cubicBezTo>
                <a:cubicBezTo>
                  <a:pt x="389401" y="599612"/>
                  <a:pt x="443068" y="592503"/>
                  <a:pt x="490684" y="545046"/>
                </a:cubicBezTo>
                <a:lnTo>
                  <a:pt x="515960" y="519717"/>
                </a:lnTo>
                <a:cubicBezTo>
                  <a:pt x="525127" y="510653"/>
                  <a:pt x="527085" y="496433"/>
                  <a:pt x="521033" y="485324"/>
                </a:cubicBezTo>
                <a:cubicBezTo>
                  <a:pt x="503856" y="451998"/>
                  <a:pt x="434969" y="411561"/>
                  <a:pt x="434969" y="411561"/>
                </a:cubicBezTo>
                <a:cubicBezTo>
                  <a:pt x="427582" y="407829"/>
                  <a:pt x="420195" y="405874"/>
                  <a:pt x="414321" y="406318"/>
                </a:cubicBezTo>
                <a:cubicBezTo>
                  <a:pt x="414143" y="406318"/>
                  <a:pt x="413876" y="406407"/>
                  <a:pt x="413698" y="406496"/>
                </a:cubicBezTo>
                <a:cubicBezTo>
                  <a:pt x="409604" y="407473"/>
                  <a:pt x="407646" y="409517"/>
                  <a:pt x="405599" y="413605"/>
                </a:cubicBezTo>
                <a:lnTo>
                  <a:pt x="404620" y="414583"/>
                </a:lnTo>
                <a:cubicBezTo>
                  <a:pt x="397500" y="423648"/>
                  <a:pt x="380323" y="443910"/>
                  <a:pt x="373202" y="447910"/>
                </a:cubicBezTo>
                <a:cubicBezTo>
                  <a:pt x="365548" y="453242"/>
                  <a:pt x="357538" y="457152"/>
                  <a:pt x="349528" y="459552"/>
                </a:cubicBezTo>
                <a:cubicBezTo>
                  <a:pt x="365281" y="466839"/>
                  <a:pt x="384328" y="473149"/>
                  <a:pt x="405599" y="475282"/>
                </a:cubicBezTo>
                <a:cubicBezTo>
                  <a:pt x="410672" y="476259"/>
                  <a:pt x="414677" y="480259"/>
                  <a:pt x="414677" y="486391"/>
                </a:cubicBezTo>
                <a:cubicBezTo>
                  <a:pt x="413698" y="491456"/>
                  <a:pt x="409604" y="495456"/>
                  <a:pt x="404620" y="495456"/>
                </a:cubicBezTo>
                <a:lnTo>
                  <a:pt x="403552" y="495456"/>
                </a:lnTo>
                <a:cubicBezTo>
                  <a:pt x="333686" y="488346"/>
                  <a:pt x="288117" y="443910"/>
                  <a:pt x="287138" y="441866"/>
                </a:cubicBezTo>
                <a:cubicBezTo>
                  <a:pt x="286871" y="441600"/>
                  <a:pt x="286604" y="441333"/>
                  <a:pt x="286426" y="441067"/>
                </a:cubicBezTo>
                <a:cubicBezTo>
                  <a:pt x="285625" y="440356"/>
                  <a:pt x="284824" y="439645"/>
                  <a:pt x="284112" y="438845"/>
                </a:cubicBezTo>
                <a:lnTo>
                  <a:pt x="176777" y="331666"/>
                </a:lnTo>
                <a:cubicBezTo>
                  <a:pt x="174730" y="329622"/>
                  <a:pt x="119015" y="284120"/>
                  <a:pt x="111895" y="213379"/>
                </a:cubicBezTo>
                <a:cubicBezTo>
                  <a:pt x="110916" y="208314"/>
                  <a:pt x="115010" y="203248"/>
                  <a:pt x="121062" y="202270"/>
                </a:cubicBezTo>
                <a:cubicBezTo>
                  <a:pt x="127115" y="201204"/>
                  <a:pt x="131209" y="205292"/>
                  <a:pt x="132188" y="211335"/>
                </a:cubicBezTo>
                <a:cubicBezTo>
                  <a:pt x="133968" y="229109"/>
                  <a:pt x="139486" y="245284"/>
                  <a:pt x="146428" y="259325"/>
                </a:cubicBezTo>
                <a:cubicBezTo>
                  <a:pt x="148653" y="250794"/>
                  <a:pt x="152658" y="242262"/>
                  <a:pt x="158532" y="233553"/>
                </a:cubicBezTo>
                <a:cubicBezTo>
                  <a:pt x="162537" y="227510"/>
                  <a:pt x="183808" y="210358"/>
                  <a:pt x="191907" y="202270"/>
                </a:cubicBezTo>
                <a:lnTo>
                  <a:pt x="192975" y="201204"/>
                </a:lnTo>
                <a:cubicBezTo>
                  <a:pt x="196980" y="199160"/>
                  <a:pt x="199027" y="196138"/>
                  <a:pt x="200006" y="193117"/>
                </a:cubicBezTo>
                <a:cubicBezTo>
                  <a:pt x="202053" y="187073"/>
                  <a:pt x="200006" y="178986"/>
                  <a:pt x="194933" y="170899"/>
                </a:cubicBezTo>
                <a:cubicBezTo>
                  <a:pt x="194933" y="169832"/>
                  <a:pt x="154438" y="102113"/>
                  <a:pt x="121062" y="84961"/>
                </a:cubicBezTo>
                <a:cubicBezTo>
                  <a:pt x="115989" y="81895"/>
                  <a:pt x="109915" y="80873"/>
                  <a:pt x="103963" y="81761"/>
                </a:cubicBezTo>
                <a:close/>
                <a:moveTo>
                  <a:pt x="353980" y="30273"/>
                </a:moveTo>
                <a:cubicBezTo>
                  <a:pt x="360041" y="30273"/>
                  <a:pt x="364141" y="34368"/>
                  <a:pt x="364141" y="40422"/>
                </a:cubicBezTo>
                <a:lnTo>
                  <a:pt x="364141" y="60719"/>
                </a:lnTo>
                <a:cubicBezTo>
                  <a:pt x="364141" y="66772"/>
                  <a:pt x="360041" y="70778"/>
                  <a:pt x="353980" y="70778"/>
                </a:cubicBezTo>
                <a:cubicBezTo>
                  <a:pt x="347829" y="70778"/>
                  <a:pt x="343818" y="66772"/>
                  <a:pt x="343818" y="60719"/>
                </a:cubicBezTo>
                <a:lnTo>
                  <a:pt x="343818" y="40422"/>
                </a:lnTo>
                <a:cubicBezTo>
                  <a:pt x="343818" y="34368"/>
                  <a:pt x="347829" y="30273"/>
                  <a:pt x="353980" y="30273"/>
                </a:cubicBezTo>
                <a:close/>
                <a:moveTo>
                  <a:pt x="353978" y="20263"/>
                </a:moveTo>
                <a:cubicBezTo>
                  <a:pt x="284112" y="20263"/>
                  <a:pt x="219409" y="50479"/>
                  <a:pt x="174819" y="104957"/>
                </a:cubicBezTo>
                <a:cubicBezTo>
                  <a:pt x="196446" y="130818"/>
                  <a:pt x="212911" y="158901"/>
                  <a:pt x="214246" y="160768"/>
                </a:cubicBezTo>
                <a:cubicBezTo>
                  <a:pt x="221278" y="173920"/>
                  <a:pt x="224304" y="187073"/>
                  <a:pt x="221278" y="198182"/>
                </a:cubicBezTo>
                <a:cubicBezTo>
                  <a:pt x="220299" y="202093"/>
                  <a:pt x="218430" y="205736"/>
                  <a:pt x="215938" y="209025"/>
                </a:cubicBezTo>
                <a:cubicBezTo>
                  <a:pt x="214336" y="211335"/>
                  <a:pt x="212466" y="213379"/>
                  <a:pt x="210152" y="215157"/>
                </a:cubicBezTo>
                <a:cubicBezTo>
                  <a:pt x="208906" y="216312"/>
                  <a:pt x="207482" y="217378"/>
                  <a:pt x="206147" y="218445"/>
                </a:cubicBezTo>
                <a:cubicBezTo>
                  <a:pt x="193954" y="228487"/>
                  <a:pt x="179803" y="241640"/>
                  <a:pt x="176777" y="244662"/>
                </a:cubicBezTo>
                <a:cubicBezTo>
                  <a:pt x="160579" y="269012"/>
                  <a:pt x="162537" y="287142"/>
                  <a:pt x="182829" y="308382"/>
                </a:cubicBezTo>
                <a:lnTo>
                  <a:pt x="189504" y="315136"/>
                </a:lnTo>
                <a:cubicBezTo>
                  <a:pt x="189771" y="315403"/>
                  <a:pt x="189949" y="315492"/>
                  <a:pt x="189949" y="315492"/>
                </a:cubicBezTo>
                <a:cubicBezTo>
                  <a:pt x="190572" y="316025"/>
                  <a:pt x="191195" y="316647"/>
                  <a:pt x="191640" y="317269"/>
                </a:cubicBezTo>
                <a:lnTo>
                  <a:pt x="298263" y="424714"/>
                </a:lnTo>
                <a:cubicBezTo>
                  <a:pt x="318556" y="444888"/>
                  <a:pt x="337780" y="446932"/>
                  <a:pt x="362077" y="430758"/>
                </a:cubicBezTo>
                <a:cubicBezTo>
                  <a:pt x="365103" y="428713"/>
                  <a:pt x="378275" y="414583"/>
                  <a:pt x="388422" y="401430"/>
                </a:cubicBezTo>
                <a:cubicBezTo>
                  <a:pt x="393406" y="393343"/>
                  <a:pt x="400526" y="388277"/>
                  <a:pt x="408625" y="386233"/>
                </a:cubicBezTo>
                <a:cubicBezTo>
                  <a:pt x="412096" y="385344"/>
                  <a:pt x="415834" y="384900"/>
                  <a:pt x="419661" y="384900"/>
                </a:cubicBezTo>
                <a:cubicBezTo>
                  <a:pt x="428294" y="384989"/>
                  <a:pt x="437728" y="387477"/>
                  <a:pt x="446094" y="392365"/>
                </a:cubicBezTo>
                <a:cubicBezTo>
                  <a:pt x="447963" y="393609"/>
                  <a:pt x="476088" y="410051"/>
                  <a:pt x="501987" y="431646"/>
                </a:cubicBezTo>
                <a:cubicBezTo>
                  <a:pt x="556545" y="387122"/>
                  <a:pt x="586894" y="322513"/>
                  <a:pt x="586894" y="252749"/>
                </a:cubicBezTo>
                <a:cubicBezTo>
                  <a:pt x="586894" y="124330"/>
                  <a:pt x="482585" y="20263"/>
                  <a:pt x="353978" y="20263"/>
                </a:cubicBezTo>
                <a:close/>
                <a:moveTo>
                  <a:pt x="353978" y="0"/>
                </a:moveTo>
                <a:cubicBezTo>
                  <a:pt x="493710" y="0"/>
                  <a:pt x="607097" y="113222"/>
                  <a:pt x="607097" y="252749"/>
                </a:cubicBezTo>
                <a:cubicBezTo>
                  <a:pt x="607097" y="327578"/>
                  <a:pt x="574345" y="397786"/>
                  <a:pt x="517384" y="445421"/>
                </a:cubicBezTo>
                <a:cubicBezTo>
                  <a:pt x="526907" y="454753"/>
                  <a:pt x="535184" y="464617"/>
                  <a:pt x="540257" y="474215"/>
                </a:cubicBezTo>
                <a:cubicBezTo>
                  <a:pt x="550403" y="493412"/>
                  <a:pt x="547377" y="517673"/>
                  <a:pt x="531179" y="532870"/>
                </a:cubicBezTo>
                <a:lnTo>
                  <a:pt x="505814" y="559176"/>
                </a:lnTo>
                <a:cubicBezTo>
                  <a:pt x="474486" y="590548"/>
                  <a:pt x="438974" y="606722"/>
                  <a:pt x="401505" y="606722"/>
                </a:cubicBezTo>
                <a:cubicBezTo>
                  <a:pt x="375249" y="606722"/>
                  <a:pt x="346858" y="598635"/>
                  <a:pt x="318556" y="582460"/>
                </a:cubicBezTo>
                <a:cubicBezTo>
                  <a:pt x="301289" y="573307"/>
                  <a:pt x="285091" y="560154"/>
                  <a:pt x="268893" y="543979"/>
                </a:cubicBezTo>
                <a:lnTo>
                  <a:pt x="61343" y="336732"/>
                </a:lnTo>
                <a:cubicBezTo>
                  <a:pt x="42030" y="317536"/>
                  <a:pt x="26899" y="296296"/>
                  <a:pt x="16753" y="275056"/>
                </a:cubicBezTo>
                <a:cubicBezTo>
                  <a:pt x="-13596" y="210358"/>
                  <a:pt x="-2471" y="151703"/>
                  <a:pt x="48171" y="101135"/>
                </a:cubicBezTo>
                <a:lnTo>
                  <a:pt x="73447" y="75807"/>
                </a:lnTo>
                <a:cubicBezTo>
                  <a:pt x="88666" y="60699"/>
                  <a:pt x="112963" y="56611"/>
                  <a:pt x="132188" y="66742"/>
                </a:cubicBezTo>
                <a:cubicBezTo>
                  <a:pt x="141711" y="71719"/>
                  <a:pt x="151412" y="79895"/>
                  <a:pt x="160757" y="89315"/>
                </a:cubicBezTo>
                <a:cubicBezTo>
                  <a:pt x="209173" y="32971"/>
                  <a:pt x="278772" y="0"/>
                  <a:pt x="353978" y="0"/>
                </a:cubicBezTo>
                <a:close/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35" name="isḷiḑe">
            <a:extLst>
              <a:ext uri="{FF2B5EF4-FFF2-40B4-BE49-F238E27FC236}">
                <a16:creationId xmlns:a16="http://schemas.microsoft.com/office/drawing/2014/main" id="{0DF34D7E-C369-4D5D-BDC1-F0DAF91B9B52}"/>
              </a:ext>
            </a:extLst>
          </p:cNvPr>
          <p:cNvSpPr>
            <a:spLocks/>
          </p:cNvSpPr>
          <p:nvPr/>
        </p:nvSpPr>
        <p:spPr bwMode="auto">
          <a:xfrm>
            <a:off x="5013874" y="4284195"/>
            <a:ext cx="2164253" cy="5573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90000" anchor="t" anchorCtr="0">
            <a:normAutofit/>
          </a:bodyPr>
          <a:lstStyle/>
          <a:p>
            <a:pPr algn="ctr" eaLnBrk="1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zh-CN" altLang="en-US" sz="1000"/>
              <a:t>此部分内容作为文字排版占位显示</a:t>
            </a:r>
            <a:br>
              <a:rPr lang="zh-CN" altLang="en-US" sz="1000"/>
            </a:br>
            <a:r>
              <a:rPr lang="zh-CN" altLang="en-US" sz="1000"/>
              <a:t> （建议使用主题字体）</a:t>
            </a:r>
            <a:endParaRPr lang="zh-CN" altLang="en-US" sz="1000" dirty="0"/>
          </a:p>
        </p:txBody>
      </p:sp>
      <p:sp>
        <p:nvSpPr>
          <p:cNvPr id="36" name="išľidé">
            <a:extLst>
              <a:ext uri="{FF2B5EF4-FFF2-40B4-BE49-F238E27FC236}">
                <a16:creationId xmlns:a16="http://schemas.microsoft.com/office/drawing/2014/main" id="{F74EA592-3FDE-41FF-AB1F-AB7E77E89967}"/>
              </a:ext>
            </a:extLst>
          </p:cNvPr>
          <p:cNvSpPr txBox="1">
            <a:spLocks/>
          </p:cNvSpPr>
          <p:nvPr/>
        </p:nvSpPr>
        <p:spPr bwMode="auto">
          <a:xfrm>
            <a:off x="5013874" y="3933056"/>
            <a:ext cx="2164253" cy="3511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0000">
            <a:normAutofit lnSpcReduction="10000"/>
          </a:bodyPr>
          <a:lstStyle/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zh-CN" altLang="en-US" sz="1800" b="1">
                <a:solidFill>
                  <a:schemeClr val="accent1"/>
                </a:solidFill>
              </a:rPr>
              <a:t>标题文本预设</a:t>
            </a:r>
            <a:endParaRPr lang="zh-CN" altLang="en-US" sz="1800" b="1" dirty="0">
              <a:solidFill>
                <a:schemeClr val="accent1"/>
              </a:solidFill>
            </a:endParaRPr>
          </a:p>
        </p:txBody>
      </p:sp>
      <p:sp>
        <p:nvSpPr>
          <p:cNvPr id="27" name="is1îḋe">
            <a:extLst>
              <a:ext uri="{FF2B5EF4-FFF2-40B4-BE49-F238E27FC236}">
                <a16:creationId xmlns:a16="http://schemas.microsoft.com/office/drawing/2014/main" id="{4C65679E-E566-4972-9162-EC77D4446F7F}"/>
              </a:ext>
            </a:extLst>
          </p:cNvPr>
          <p:cNvSpPr>
            <a:spLocks/>
          </p:cNvSpPr>
          <p:nvPr/>
        </p:nvSpPr>
        <p:spPr bwMode="auto">
          <a:xfrm rot="5400000">
            <a:off x="7386669" y="2467958"/>
            <a:ext cx="1672622" cy="426355"/>
          </a:xfrm>
          <a:custGeom>
            <a:avLst/>
            <a:gdLst>
              <a:gd name="T0" fmla="*/ 545 w 624"/>
              <a:gd name="T1" fmla="*/ 159 h 159"/>
              <a:gd name="T2" fmla="*/ 79 w 624"/>
              <a:gd name="T3" fmla="*/ 159 h 159"/>
              <a:gd name="T4" fmla="*/ 0 w 624"/>
              <a:gd name="T5" fmla="*/ 79 h 159"/>
              <a:gd name="T6" fmla="*/ 79 w 624"/>
              <a:gd name="T7" fmla="*/ 0 h 159"/>
              <a:gd name="T8" fmla="*/ 545 w 624"/>
              <a:gd name="T9" fmla="*/ 0 h 159"/>
              <a:gd name="T10" fmla="*/ 624 w 624"/>
              <a:gd name="T11" fmla="*/ 79 h 159"/>
              <a:gd name="T12" fmla="*/ 545 w 624"/>
              <a:gd name="T13" fmla="*/ 159 h 1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24" h="159">
                <a:moveTo>
                  <a:pt x="545" y="159"/>
                </a:moveTo>
                <a:cubicBezTo>
                  <a:pt x="79" y="159"/>
                  <a:pt x="79" y="159"/>
                  <a:pt x="79" y="159"/>
                </a:cubicBezTo>
                <a:cubicBezTo>
                  <a:pt x="35" y="159"/>
                  <a:pt x="0" y="123"/>
                  <a:pt x="0" y="79"/>
                </a:cubicBezTo>
                <a:cubicBezTo>
                  <a:pt x="0" y="36"/>
                  <a:pt x="35" y="0"/>
                  <a:pt x="79" y="0"/>
                </a:cubicBezTo>
                <a:cubicBezTo>
                  <a:pt x="545" y="0"/>
                  <a:pt x="545" y="0"/>
                  <a:pt x="545" y="0"/>
                </a:cubicBezTo>
                <a:cubicBezTo>
                  <a:pt x="589" y="0"/>
                  <a:pt x="624" y="36"/>
                  <a:pt x="624" y="79"/>
                </a:cubicBezTo>
                <a:cubicBezTo>
                  <a:pt x="624" y="123"/>
                  <a:pt x="589" y="159"/>
                  <a:pt x="545" y="159"/>
                </a:cubicBezTo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28" name="iŝ1îdê">
            <a:extLst>
              <a:ext uri="{FF2B5EF4-FFF2-40B4-BE49-F238E27FC236}">
                <a16:creationId xmlns:a16="http://schemas.microsoft.com/office/drawing/2014/main" id="{25BA08C9-CDFD-491C-AE5F-EF0C9C1CA148}"/>
              </a:ext>
            </a:extLst>
          </p:cNvPr>
          <p:cNvSpPr>
            <a:spLocks/>
          </p:cNvSpPr>
          <p:nvPr/>
        </p:nvSpPr>
        <p:spPr bwMode="auto">
          <a:xfrm rot="5400000">
            <a:off x="7787795" y="2423809"/>
            <a:ext cx="871631" cy="1315645"/>
          </a:xfrm>
          <a:custGeom>
            <a:avLst/>
            <a:gdLst>
              <a:gd name="T0" fmla="*/ 325 w 325"/>
              <a:gd name="T1" fmla="*/ 245 h 491"/>
              <a:gd name="T2" fmla="*/ 301 w 325"/>
              <a:gd name="T3" fmla="*/ 303 h 491"/>
              <a:gd name="T4" fmla="*/ 300 w 325"/>
              <a:gd name="T5" fmla="*/ 303 h 491"/>
              <a:gd name="T6" fmla="*/ 143 w 325"/>
              <a:gd name="T7" fmla="*/ 460 h 491"/>
              <a:gd name="T8" fmla="*/ 31 w 325"/>
              <a:gd name="T9" fmla="*/ 460 h 491"/>
              <a:gd name="T10" fmla="*/ 31 w 325"/>
              <a:gd name="T11" fmla="*/ 348 h 491"/>
              <a:gd name="T12" fmla="*/ 134 w 325"/>
              <a:gd name="T13" fmla="*/ 245 h 491"/>
              <a:gd name="T14" fmla="*/ 31 w 325"/>
              <a:gd name="T15" fmla="*/ 143 h 491"/>
              <a:gd name="T16" fmla="*/ 31 w 325"/>
              <a:gd name="T17" fmla="*/ 31 h 491"/>
              <a:gd name="T18" fmla="*/ 143 w 325"/>
              <a:gd name="T19" fmla="*/ 31 h 491"/>
              <a:gd name="T20" fmla="*/ 300 w 325"/>
              <a:gd name="T21" fmla="*/ 188 h 491"/>
              <a:gd name="T22" fmla="*/ 301 w 325"/>
              <a:gd name="T23" fmla="*/ 188 h 491"/>
              <a:gd name="T24" fmla="*/ 325 w 325"/>
              <a:gd name="T25" fmla="*/ 245 h 4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325" h="491">
                <a:moveTo>
                  <a:pt x="325" y="245"/>
                </a:moveTo>
                <a:cubicBezTo>
                  <a:pt x="325" y="268"/>
                  <a:pt x="316" y="289"/>
                  <a:pt x="301" y="303"/>
                </a:cubicBezTo>
                <a:cubicBezTo>
                  <a:pt x="300" y="303"/>
                  <a:pt x="300" y="303"/>
                  <a:pt x="300" y="303"/>
                </a:cubicBezTo>
                <a:cubicBezTo>
                  <a:pt x="143" y="460"/>
                  <a:pt x="143" y="460"/>
                  <a:pt x="143" y="460"/>
                </a:cubicBezTo>
                <a:cubicBezTo>
                  <a:pt x="112" y="491"/>
                  <a:pt x="62" y="491"/>
                  <a:pt x="31" y="460"/>
                </a:cubicBezTo>
                <a:cubicBezTo>
                  <a:pt x="0" y="429"/>
                  <a:pt x="0" y="379"/>
                  <a:pt x="31" y="348"/>
                </a:cubicBezTo>
                <a:cubicBezTo>
                  <a:pt x="134" y="245"/>
                  <a:pt x="134" y="245"/>
                  <a:pt x="134" y="245"/>
                </a:cubicBezTo>
                <a:cubicBezTo>
                  <a:pt x="31" y="143"/>
                  <a:pt x="31" y="143"/>
                  <a:pt x="31" y="143"/>
                </a:cubicBezTo>
                <a:cubicBezTo>
                  <a:pt x="0" y="112"/>
                  <a:pt x="0" y="62"/>
                  <a:pt x="31" y="31"/>
                </a:cubicBezTo>
                <a:cubicBezTo>
                  <a:pt x="62" y="0"/>
                  <a:pt x="112" y="0"/>
                  <a:pt x="143" y="31"/>
                </a:cubicBezTo>
                <a:cubicBezTo>
                  <a:pt x="300" y="188"/>
                  <a:pt x="300" y="188"/>
                  <a:pt x="300" y="188"/>
                </a:cubicBezTo>
                <a:cubicBezTo>
                  <a:pt x="301" y="188"/>
                  <a:pt x="301" y="188"/>
                  <a:pt x="301" y="188"/>
                </a:cubicBezTo>
                <a:cubicBezTo>
                  <a:pt x="316" y="202"/>
                  <a:pt x="325" y="223"/>
                  <a:pt x="325" y="245"/>
                </a:cubicBezTo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29" name="îṥlîďe">
            <a:extLst>
              <a:ext uri="{FF2B5EF4-FFF2-40B4-BE49-F238E27FC236}">
                <a16:creationId xmlns:a16="http://schemas.microsoft.com/office/drawing/2014/main" id="{CDDE94B2-D7C3-488F-92C4-E681DF0CD56C}"/>
              </a:ext>
            </a:extLst>
          </p:cNvPr>
          <p:cNvSpPr>
            <a:spLocks/>
          </p:cNvSpPr>
          <p:nvPr/>
        </p:nvSpPr>
        <p:spPr bwMode="auto">
          <a:xfrm rot="5400000">
            <a:off x="7966915" y="3048204"/>
            <a:ext cx="512130" cy="426355"/>
          </a:xfrm>
          <a:custGeom>
            <a:avLst/>
            <a:gdLst>
              <a:gd name="T0" fmla="*/ 63 w 191"/>
              <a:gd name="T1" fmla="*/ 17 h 159"/>
              <a:gd name="T2" fmla="*/ 50 w 191"/>
              <a:gd name="T3" fmla="*/ 29 h 159"/>
              <a:gd name="T4" fmla="*/ 29 w 191"/>
              <a:gd name="T5" fmla="*/ 109 h 159"/>
              <a:gd name="T6" fmla="*/ 62 w 191"/>
              <a:gd name="T7" fmla="*/ 141 h 159"/>
              <a:gd name="T8" fmla="*/ 112 w 191"/>
              <a:gd name="T9" fmla="*/ 159 h 159"/>
              <a:gd name="T10" fmla="*/ 112 w 191"/>
              <a:gd name="T11" fmla="*/ 159 h 159"/>
              <a:gd name="T12" fmla="*/ 166 w 191"/>
              <a:gd name="T13" fmla="*/ 137 h 159"/>
              <a:gd name="T14" fmla="*/ 167 w 191"/>
              <a:gd name="T15" fmla="*/ 137 h 159"/>
              <a:gd name="T16" fmla="*/ 191 w 191"/>
              <a:gd name="T17" fmla="*/ 79 h 159"/>
              <a:gd name="T18" fmla="*/ 191 w 191"/>
              <a:gd name="T19" fmla="*/ 79 h 159"/>
              <a:gd name="T20" fmla="*/ 191 w 191"/>
              <a:gd name="T21" fmla="*/ 79 h 159"/>
              <a:gd name="T22" fmla="*/ 191 w 191"/>
              <a:gd name="T23" fmla="*/ 79 h 159"/>
              <a:gd name="T24" fmla="*/ 191 w 191"/>
              <a:gd name="T25" fmla="*/ 78 h 159"/>
              <a:gd name="T26" fmla="*/ 191 w 191"/>
              <a:gd name="T27" fmla="*/ 78 h 159"/>
              <a:gd name="T28" fmla="*/ 191 w 191"/>
              <a:gd name="T29" fmla="*/ 78 h 159"/>
              <a:gd name="T30" fmla="*/ 191 w 191"/>
              <a:gd name="T31" fmla="*/ 77 h 159"/>
              <a:gd name="T32" fmla="*/ 191 w 191"/>
              <a:gd name="T33" fmla="*/ 77 h 159"/>
              <a:gd name="T34" fmla="*/ 191 w 191"/>
              <a:gd name="T35" fmla="*/ 77 h 159"/>
              <a:gd name="T36" fmla="*/ 191 w 191"/>
              <a:gd name="T37" fmla="*/ 77 h 159"/>
              <a:gd name="T38" fmla="*/ 191 w 191"/>
              <a:gd name="T39" fmla="*/ 76 h 159"/>
              <a:gd name="T40" fmla="*/ 191 w 191"/>
              <a:gd name="T41" fmla="*/ 76 h 159"/>
              <a:gd name="T42" fmla="*/ 191 w 191"/>
              <a:gd name="T43" fmla="*/ 76 h 159"/>
              <a:gd name="T44" fmla="*/ 191 w 191"/>
              <a:gd name="T45" fmla="*/ 76 h 159"/>
              <a:gd name="T46" fmla="*/ 191 w 191"/>
              <a:gd name="T47" fmla="*/ 75 h 159"/>
              <a:gd name="T48" fmla="*/ 191 w 191"/>
              <a:gd name="T49" fmla="*/ 75 h 159"/>
              <a:gd name="T50" fmla="*/ 191 w 191"/>
              <a:gd name="T51" fmla="*/ 75 h 159"/>
              <a:gd name="T52" fmla="*/ 191 w 191"/>
              <a:gd name="T53" fmla="*/ 75 h 159"/>
              <a:gd name="T54" fmla="*/ 191 w 191"/>
              <a:gd name="T55" fmla="*/ 74 h 159"/>
              <a:gd name="T56" fmla="*/ 191 w 191"/>
              <a:gd name="T57" fmla="*/ 74 h 159"/>
              <a:gd name="T58" fmla="*/ 191 w 191"/>
              <a:gd name="T59" fmla="*/ 74 h 159"/>
              <a:gd name="T60" fmla="*/ 189 w 191"/>
              <a:gd name="T61" fmla="*/ 60 h 159"/>
              <a:gd name="T62" fmla="*/ 189 w 191"/>
              <a:gd name="T63" fmla="*/ 60 h 159"/>
              <a:gd name="T64" fmla="*/ 189 w 191"/>
              <a:gd name="T65" fmla="*/ 60 h 159"/>
              <a:gd name="T66" fmla="*/ 189 w 191"/>
              <a:gd name="T67" fmla="*/ 59 h 159"/>
              <a:gd name="T68" fmla="*/ 189 w 191"/>
              <a:gd name="T69" fmla="*/ 59 h 159"/>
              <a:gd name="T70" fmla="*/ 189 w 191"/>
              <a:gd name="T71" fmla="*/ 59 h 159"/>
              <a:gd name="T72" fmla="*/ 189 w 191"/>
              <a:gd name="T73" fmla="*/ 59 h 159"/>
              <a:gd name="T74" fmla="*/ 189 w 191"/>
              <a:gd name="T75" fmla="*/ 58 h 159"/>
              <a:gd name="T76" fmla="*/ 166 w 191"/>
              <a:gd name="T77" fmla="*/ 22 h 159"/>
              <a:gd name="T78" fmla="*/ 166 w 191"/>
              <a:gd name="T79" fmla="*/ 21 h 1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191" h="159">
                <a:moveTo>
                  <a:pt x="112" y="0"/>
                </a:moveTo>
                <a:cubicBezTo>
                  <a:pt x="94" y="0"/>
                  <a:pt x="77" y="6"/>
                  <a:pt x="63" y="17"/>
                </a:cubicBezTo>
                <a:cubicBezTo>
                  <a:pt x="63" y="17"/>
                  <a:pt x="62" y="17"/>
                  <a:pt x="62" y="18"/>
                </a:cubicBezTo>
                <a:cubicBezTo>
                  <a:pt x="50" y="29"/>
                  <a:pt x="50" y="29"/>
                  <a:pt x="50" y="29"/>
                </a:cubicBezTo>
                <a:cubicBezTo>
                  <a:pt x="0" y="79"/>
                  <a:pt x="0" y="79"/>
                  <a:pt x="0" y="79"/>
                </a:cubicBezTo>
                <a:cubicBezTo>
                  <a:pt x="29" y="109"/>
                  <a:pt x="29" y="109"/>
                  <a:pt x="29" y="109"/>
                </a:cubicBezTo>
                <a:cubicBezTo>
                  <a:pt x="50" y="130"/>
                  <a:pt x="50" y="130"/>
                  <a:pt x="50" y="130"/>
                </a:cubicBezTo>
                <a:cubicBezTo>
                  <a:pt x="62" y="141"/>
                  <a:pt x="62" y="141"/>
                  <a:pt x="62" y="141"/>
                </a:cubicBezTo>
                <a:cubicBezTo>
                  <a:pt x="65" y="144"/>
                  <a:pt x="69" y="147"/>
                  <a:pt x="73" y="149"/>
                </a:cubicBezTo>
                <a:cubicBezTo>
                  <a:pt x="85" y="155"/>
                  <a:pt x="98" y="159"/>
                  <a:pt x="112" y="159"/>
                </a:cubicBezTo>
                <a:cubicBezTo>
                  <a:pt x="112" y="159"/>
                  <a:pt x="112" y="159"/>
                  <a:pt x="112" y="159"/>
                </a:cubicBezTo>
                <a:cubicBezTo>
                  <a:pt x="112" y="159"/>
                  <a:pt x="112" y="159"/>
                  <a:pt x="112" y="159"/>
                </a:cubicBezTo>
                <a:cubicBezTo>
                  <a:pt x="133" y="159"/>
                  <a:pt x="152" y="151"/>
                  <a:pt x="166" y="138"/>
                </a:cubicBezTo>
                <a:cubicBezTo>
                  <a:pt x="166" y="137"/>
                  <a:pt x="166" y="137"/>
                  <a:pt x="166" y="137"/>
                </a:cubicBezTo>
                <a:cubicBezTo>
                  <a:pt x="166" y="137"/>
                  <a:pt x="166" y="137"/>
                  <a:pt x="166" y="137"/>
                </a:cubicBezTo>
                <a:cubicBezTo>
                  <a:pt x="167" y="137"/>
                  <a:pt x="167" y="137"/>
                  <a:pt x="167" y="137"/>
                </a:cubicBezTo>
                <a:cubicBezTo>
                  <a:pt x="175" y="129"/>
                  <a:pt x="182" y="119"/>
                  <a:pt x="186" y="107"/>
                </a:cubicBezTo>
                <a:cubicBezTo>
                  <a:pt x="190" y="99"/>
                  <a:pt x="191" y="89"/>
                  <a:pt x="191" y="79"/>
                </a:cubicBezTo>
                <a:cubicBezTo>
                  <a:pt x="191" y="79"/>
                  <a:pt x="191" y="79"/>
                  <a:pt x="191" y="79"/>
                </a:cubicBezTo>
                <a:cubicBezTo>
                  <a:pt x="191" y="79"/>
                  <a:pt x="191" y="79"/>
                  <a:pt x="191" y="79"/>
                </a:cubicBezTo>
                <a:cubicBezTo>
                  <a:pt x="191" y="79"/>
                  <a:pt x="191" y="79"/>
                  <a:pt x="191" y="79"/>
                </a:cubicBezTo>
                <a:cubicBezTo>
                  <a:pt x="191" y="79"/>
                  <a:pt x="191" y="79"/>
                  <a:pt x="191" y="79"/>
                </a:cubicBezTo>
                <a:cubicBezTo>
                  <a:pt x="191" y="79"/>
                  <a:pt x="191" y="79"/>
                  <a:pt x="191" y="79"/>
                </a:cubicBezTo>
                <a:cubicBezTo>
                  <a:pt x="191" y="79"/>
                  <a:pt x="191" y="79"/>
                  <a:pt x="191" y="79"/>
                </a:cubicBezTo>
                <a:cubicBezTo>
                  <a:pt x="191" y="78"/>
                  <a:pt x="191" y="78"/>
                  <a:pt x="191" y="78"/>
                </a:cubicBezTo>
                <a:cubicBezTo>
                  <a:pt x="191" y="78"/>
                  <a:pt x="191" y="78"/>
                  <a:pt x="191" y="78"/>
                </a:cubicBezTo>
                <a:cubicBezTo>
                  <a:pt x="191" y="78"/>
                  <a:pt x="191" y="78"/>
                  <a:pt x="191" y="78"/>
                </a:cubicBezTo>
                <a:cubicBezTo>
                  <a:pt x="191" y="78"/>
                  <a:pt x="191" y="78"/>
                  <a:pt x="191" y="78"/>
                </a:cubicBezTo>
                <a:cubicBezTo>
                  <a:pt x="191" y="78"/>
                  <a:pt x="191" y="78"/>
                  <a:pt x="191" y="78"/>
                </a:cubicBezTo>
                <a:cubicBezTo>
                  <a:pt x="191" y="78"/>
                  <a:pt x="191" y="78"/>
                  <a:pt x="191" y="78"/>
                </a:cubicBezTo>
                <a:cubicBezTo>
                  <a:pt x="191" y="78"/>
                  <a:pt x="191" y="78"/>
                  <a:pt x="191" y="78"/>
                </a:cubicBezTo>
                <a:cubicBezTo>
                  <a:pt x="191" y="78"/>
                  <a:pt x="191" y="78"/>
                  <a:pt x="191" y="77"/>
                </a:cubicBezTo>
                <a:cubicBezTo>
                  <a:pt x="191" y="77"/>
                  <a:pt x="191" y="77"/>
                  <a:pt x="191" y="77"/>
                </a:cubicBezTo>
                <a:cubicBezTo>
                  <a:pt x="191" y="77"/>
                  <a:pt x="191" y="77"/>
                  <a:pt x="191" y="77"/>
                </a:cubicBezTo>
                <a:cubicBezTo>
                  <a:pt x="191" y="77"/>
                  <a:pt x="191" y="77"/>
                  <a:pt x="191" y="77"/>
                </a:cubicBezTo>
                <a:cubicBezTo>
                  <a:pt x="191" y="77"/>
                  <a:pt x="191" y="77"/>
                  <a:pt x="191" y="77"/>
                </a:cubicBezTo>
                <a:cubicBezTo>
                  <a:pt x="191" y="77"/>
                  <a:pt x="191" y="77"/>
                  <a:pt x="191" y="77"/>
                </a:cubicBezTo>
                <a:cubicBezTo>
                  <a:pt x="191" y="77"/>
                  <a:pt x="191" y="77"/>
                  <a:pt x="191" y="77"/>
                </a:cubicBezTo>
                <a:cubicBezTo>
                  <a:pt x="191" y="77"/>
                  <a:pt x="191" y="77"/>
                  <a:pt x="191" y="77"/>
                </a:cubicBezTo>
                <a:cubicBezTo>
                  <a:pt x="191" y="77"/>
                  <a:pt x="191" y="76"/>
                  <a:pt x="191" y="76"/>
                </a:cubicBezTo>
                <a:cubicBezTo>
                  <a:pt x="191" y="76"/>
                  <a:pt x="191" y="76"/>
                  <a:pt x="191" y="76"/>
                </a:cubicBezTo>
                <a:cubicBezTo>
                  <a:pt x="191" y="76"/>
                  <a:pt x="191" y="76"/>
                  <a:pt x="191" y="76"/>
                </a:cubicBezTo>
                <a:cubicBezTo>
                  <a:pt x="191" y="76"/>
                  <a:pt x="191" y="76"/>
                  <a:pt x="191" y="76"/>
                </a:cubicBezTo>
                <a:cubicBezTo>
                  <a:pt x="191" y="76"/>
                  <a:pt x="191" y="76"/>
                  <a:pt x="191" y="76"/>
                </a:cubicBezTo>
                <a:cubicBezTo>
                  <a:pt x="191" y="76"/>
                  <a:pt x="191" y="76"/>
                  <a:pt x="191" y="76"/>
                </a:cubicBezTo>
                <a:cubicBezTo>
                  <a:pt x="191" y="76"/>
                  <a:pt x="191" y="76"/>
                  <a:pt x="191" y="76"/>
                </a:cubicBezTo>
                <a:cubicBezTo>
                  <a:pt x="191" y="76"/>
                  <a:pt x="191" y="76"/>
                  <a:pt x="191" y="76"/>
                </a:cubicBezTo>
                <a:cubicBezTo>
                  <a:pt x="191" y="75"/>
                  <a:pt x="191" y="75"/>
                  <a:pt x="191" y="75"/>
                </a:cubicBezTo>
                <a:cubicBezTo>
                  <a:pt x="191" y="75"/>
                  <a:pt x="191" y="75"/>
                  <a:pt x="191" y="75"/>
                </a:cubicBezTo>
                <a:cubicBezTo>
                  <a:pt x="191" y="75"/>
                  <a:pt x="191" y="75"/>
                  <a:pt x="191" y="75"/>
                </a:cubicBezTo>
                <a:cubicBezTo>
                  <a:pt x="191" y="75"/>
                  <a:pt x="191" y="75"/>
                  <a:pt x="191" y="75"/>
                </a:cubicBezTo>
                <a:cubicBezTo>
                  <a:pt x="191" y="75"/>
                  <a:pt x="191" y="75"/>
                  <a:pt x="191" y="75"/>
                </a:cubicBezTo>
                <a:cubicBezTo>
                  <a:pt x="191" y="75"/>
                  <a:pt x="191" y="75"/>
                  <a:pt x="191" y="75"/>
                </a:cubicBezTo>
                <a:cubicBezTo>
                  <a:pt x="191" y="75"/>
                  <a:pt x="191" y="75"/>
                  <a:pt x="191" y="75"/>
                </a:cubicBezTo>
                <a:cubicBezTo>
                  <a:pt x="191" y="75"/>
                  <a:pt x="191" y="75"/>
                  <a:pt x="191" y="75"/>
                </a:cubicBezTo>
                <a:cubicBezTo>
                  <a:pt x="191" y="74"/>
                  <a:pt x="191" y="74"/>
                  <a:pt x="191" y="74"/>
                </a:cubicBezTo>
                <a:cubicBezTo>
                  <a:pt x="191" y="74"/>
                  <a:pt x="191" y="74"/>
                  <a:pt x="191" y="74"/>
                </a:cubicBezTo>
                <a:cubicBezTo>
                  <a:pt x="191" y="74"/>
                  <a:pt x="191" y="74"/>
                  <a:pt x="191" y="74"/>
                </a:cubicBezTo>
                <a:cubicBezTo>
                  <a:pt x="191" y="74"/>
                  <a:pt x="191" y="74"/>
                  <a:pt x="191" y="74"/>
                </a:cubicBezTo>
                <a:cubicBezTo>
                  <a:pt x="191" y="74"/>
                  <a:pt x="191" y="74"/>
                  <a:pt x="191" y="74"/>
                </a:cubicBezTo>
                <a:cubicBezTo>
                  <a:pt x="191" y="74"/>
                  <a:pt x="191" y="74"/>
                  <a:pt x="191" y="74"/>
                </a:cubicBezTo>
                <a:cubicBezTo>
                  <a:pt x="191" y="69"/>
                  <a:pt x="190" y="65"/>
                  <a:pt x="189" y="60"/>
                </a:cubicBezTo>
                <a:cubicBezTo>
                  <a:pt x="189" y="60"/>
                  <a:pt x="189" y="60"/>
                  <a:pt x="189" y="60"/>
                </a:cubicBezTo>
                <a:cubicBezTo>
                  <a:pt x="189" y="60"/>
                  <a:pt x="189" y="60"/>
                  <a:pt x="189" y="60"/>
                </a:cubicBezTo>
                <a:cubicBezTo>
                  <a:pt x="189" y="60"/>
                  <a:pt x="189" y="60"/>
                  <a:pt x="189" y="60"/>
                </a:cubicBezTo>
                <a:cubicBezTo>
                  <a:pt x="189" y="60"/>
                  <a:pt x="189" y="60"/>
                  <a:pt x="189" y="60"/>
                </a:cubicBezTo>
                <a:cubicBezTo>
                  <a:pt x="189" y="60"/>
                  <a:pt x="189" y="60"/>
                  <a:pt x="189" y="60"/>
                </a:cubicBezTo>
                <a:cubicBezTo>
                  <a:pt x="189" y="59"/>
                  <a:pt x="189" y="59"/>
                  <a:pt x="189" y="59"/>
                </a:cubicBezTo>
                <a:cubicBezTo>
                  <a:pt x="189" y="59"/>
                  <a:pt x="189" y="59"/>
                  <a:pt x="189" y="59"/>
                </a:cubicBezTo>
                <a:cubicBezTo>
                  <a:pt x="189" y="59"/>
                  <a:pt x="189" y="59"/>
                  <a:pt x="189" y="59"/>
                </a:cubicBezTo>
                <a:cubicBezTo>
                  <a:pt x="189" y="59"/>
                  <a:pt x="189" y="59"/>
                  <a:pt x="189" y="59"/>
                </a:cubicBezTo>
                <a:cubicBezTo>
                  <a:pt x="189" y="59"/>
                  <a:pt x="189" y="59"/>
                  <a:pt x="189" y="59"/>
                </a:cubicBezTo>
                <a:cubicBezTo>
                  <a:pt x="189" y="59"/>
                  <a:pt x="189" y="59"/>
                  <a:pt x="189" y="59"/>
                </a:cubicBezTo>
                <a:cubicBezTo>
                  <a:pt x="189" y="59"/>
                  <a:pt x="189" y="59"/>
                  <a:pt x="189" y="59"/>
                </a:cubicBezTo>
                <a:cubicBezTo>
                  <a:pt x="189" y="59"/>
                  <a:pt x="189" y="59"/>
                  <a:pt x="189" y="59"/>
                </a:cubicBezTo>
                <a:cubicBezTo>
                  <a:pt x="189" y="58"/>
                  <a:pt x="189" y="58"/>
                  <a:pt x="189" y="58"/>
                </a:cubicBezTo>
                <a:cubicBezTo>
                  <a:pt x="185" y="44"/>
                  <a:pt x="177" y="32"/>
                  <a:pt x="167" y="22"/>
                </a:cubicBezTo>
                <a:cubicBezTo>
                  <a:pt x="166" y="22"/>
                  <a:pt x="166" y="22"/>
                  <a:pt x="166" y="22"/>
                </a:cubicBezTo>
                <a:cubicBezTo>
                  <a:pt x="166" y="21"/>
                  <a:pt x="166" y="21"/>
                  <a:pt x="166" y="21"/>
                </a:cubicBezTo>
                <a:cubicBezTo>
                  <a:pt x="166" y="21"/>
                  <a:pt x="166" y="21"/>
                  <a:pt x="166" y="21"/>
                </a:cubicBezTo>
                <a:cubicBezTo>
                  <a:pt x="152" y="8"/>
                  <a:pt x="133" y="0"/>
                  <a:pt x="112" y="0"/>
                </a:cubicBezTo>
              </a:path>
            </a:pathLst>
          </a:custGeom>
          <a:solidFill>
            <a:schemeClr val="accent3">
              <a:lumMod val="5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30" name="î$ḻide">
            <a:extLst>
              <a:ext uri="{FF2B5EF4-FFF2-40B4-BE49-F238E27FC236}">
                <a16:creationId xmlns:a16="http://schemas.microsoft.com/office/drawing/2014/main" id="{F2723EB7-FD33-4DDE-8FAE-323008BF6ECD}"/>
              </a:ext>
            </a:extLst>
          </p:cNvPr>
          <p:cNvSpPr>
            <a:spLocks/>
          </p:cNvSpPr>
          <p:nvPr/>
        </p:nvSpPr>
        <p:spPr bwMode="auto">
          <a:xfrm rot="5400000">
            <a:off x="8072873" y="2942246"/>
            <a:ext cx="514653" cy="211916"/>
          </a:xfrm>
          <a:custGeom>
            <a:avLst/>
            <a:gdLst>
              <a:gd name="T0" fmla="*/ 192 w 192"/>
              <a:gd name="T1" fmla="*/ 0 h 79"/>
              <a:gd name="T2" fmla="*/ 0 w 192"/>
              <a:gd name="T3" fmla="*/ 0 h 79"/>
              <a:gd name="T4" fmla="*/ 80 w 192"/>
              <a:gd name="T5" fmla="*/ 79 h 79"/>
              <a:gd name="T6" fmla="*/ 80 w 192"/>
              <a:gd name="T7" fmla="*/ 79 h 79"/>
              <a:gd name="T8" fmla="*/ 80 w 192"/>
              <a:gd name="T9" fmla="*/ 79 h 79"/>
              <a:gd name="T10" fmla="*/ 130 w 192"/>
              <a:gd name="T11" fmla="*/ 29 h 79"/>
              <a:gd name="T12" fmla="*/ 142 w 192"/>
              <a:gd name="T13" fmla="*/ 18 h 79"/>
              <a:gd name="T14" fmla="*/ 143 w 192"/>
              <a:gd name="T15" fmla="*/ 17 h 79"/>
              <a:gd name="T16" fmla="*/ 192 w 192"/>
              <a:gd name="T17" fmla="*/ 0 h 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92" h="79">
                <a:moveTo>
                  <a:pt x="192" y="0"/>
                </a:moveTo>
                <a:cubicBezTo>
                  <a:pt x="0" y="0"/>
                  <a:pt x="0" y="0"/>
                  <a:pt x="0" y="0"/>
                </a:cubicBezTo>
                <a:cubicBezTo>
                  <a:pt x="80" y="79"/>
                  <a:pt x="80" y="79"/>
                  <a:pt x="80" y="79"/>
                </a:cubicBezTo>
                <a:cubicBezTo>
                  <a:pt x="80" y="79"/>
                  <a:pt x="80" y="79"/>
                  <a:pt x="80" y="79"/>
                </a:cubicBezTo>
                <a:cubicBezTo>
                  <a:pt x="80" y="79"/>
                  <a:pt x="80" y="79"/>
                  <a:pt x="80" y="79"/>
                </a:cubicBezTo>
                <a:cubicBezTo>
                  <a:pt x="130" y="29"/>
                  <a:pt x="130" y="29"/>
                  <a:pt x="130" y="29"/>
                </a:cubicBezTo>
                <a:cubicBezTo>
                  <a:pt x="142" y="18"/>
                  <a:pt x="142" y="18"/>
                  <a:pt x="142" y="18"/>
                </a:cubicBezTo>
                <a:cubicBezTo>
                  <a:pt x="142" y="17"/>
                  <a:pt x="143" y="17"/>
                  <a:pt x="143" y="17"/>
                </a:cubicBezTo>
                <a:cubicBezTo>
                  <a:pt x="157" y="6"/>
                  <a:pt x="174" y="0"/>
                  <a:pt x="192" y="0"/>
                </a:cubicBezTo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31" name="íSlîḍé">
            <a:extLst>
              <a:ext uri="{FF2B5EF4-FFF2-40B4-BE49-F238E27FC236}">
                <a16:creationId xmlns:a16="http://schemas.microsoft.com/office/drawing/2014/main" id="{B8F35B1B-17B2-4AC9-9CD5-4B3986B26C04}"/>
              </a:ext>
            </a:extLst>
          </p:cNvPr>
          <p:cNvSpPr>
            <a:spLocks/>
          </p:cNvSpPr>
          <p:nvPr/>
        </p:nvSpPr>
        <p:spPr bwMode="auto">
          <a:xfrm rot="5400000">
            <a:off x="7859696" y="2940984"/>
            <a:ext cx="514653" cy="214439"/>
          </a:xfrm>
          <a:custGeom>
            <a:avLst/>
            <a:gdLst>
              <a:gd name="T0" fmla="*/ 80 w 192"/>
              <a:gd name="T1" fmla="*/ 0 h 80"/>
              <a:gd name="T2" fmla="*/ 0 w 192"/>
              <a:gd name="T3" fmla="*/ 80 h 80"/>
              <a:gd name="T4" fmla="*/ 192 w 192"/>
              <a:gd name="T5" fmla="*/ 80 h 80"/>
              <a:gd name="T6" fmla="*/ 192 w 192"/>
              <a:gd name="T7" fmla="*/ 80 h 80"/>
              <a:gd name="T8" fmla="*/ 153 w 192"/>
              <a:gd name="T9" fmla="*/ 70 h 80"/>
              <a:gd name="T10" fmla="*/ 142 w 192"/>
              <a:gd name="T11" fmla="*/ 62 h 80"/>
              <a:gd name="T12" fmla="*/ 130 w 192"/>
              <a:gd name="T13" fmla="*/ 51 h 80"/>
              <a:gd name="T14" fmla="*/ 109 w 192"/>
              <a:gd name="T15" fmla="*/ 30 h 80"/>
              <a:gd name="T16" fmla="*/ 80 w 192"/>
              <a:gd name="T17" fmla="*/ 0 h 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92" h="80">
                <a:moveTo>
                  <a:pt x="80" y="0"/>
                </a:moveTo>
                <a:cubicBezTo>
                  <a:pt x="0" y="80"/>
                  <a:pt x="0" y="80"/>
                  <a:pt x="0" y="80"/>
                </a:cubicBezTo>
                <a:cubicBezTo>
                  <a:pt x="192" y="80"/>
                  <a:pt x="192" y="80"/>
                  <a:pt x="192" y="80"/>
                </a:cubicBezTo>
                <a:cubicBezTo>
                  <a:pt x="192" y="80"/>
                  <a:pt x="192" y="80"/>
                  <a:pt x="192" y="80"/>
                </a:cubicBezTo>
                <a:cubicBezTo>
                  <a:pt x="178" y="80"/>
                  <a:pt x="165" y="76"/>
                  <a:pt x="153" y="70"/>
                </a:cubicBezTo>
                <a:cubicBezTo>
                  <a:pt x="149" y="68"/>
                  <a:pt x="145" y="65"/>
                  <a:pt x="142" y="62"/>
                </a:cubicBezTo>
                <a:cubicBezTo>
                  <a:pt x="130" y="51"/>
                  <a:pt x="130" y="51"/>
                  <a:pt x="130" y="51"/>
                </a:cubicBezTo>
                <a:cubicBezTo>
                  <a:pt x="109" y="30"/>
                  <a:pt x="109" y="30"/>
                  <a:pt x="109" y="30"/>
                </a:cubicBezTo>
                <a:cubicBezTo>
                  <a:pt x="80" y="0"/>
                  <a:pt x="80" y="0"/>
                  <a:pt x="80" y="0"/>
                </a:cubicBezTo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32" name="iṥlîdé">
            <a:extLst>
              <a:ext uri="{FF2B5EF4-FFF2-40B4-BE49-F238E27FC236}">
                <a16:creationId xmlns:a16="http://schemas.microsoft.com/office/drawing/2014/main" id="{6F9F3498-7D45-4B2E-9CA4-D9266159459D}"/>
              </a:ext>
            </a:extLst>
          </p:cNvPr>
          <p:cNvSpPr/>
          <p:nvPr/>
        </p:nvSpPr>
        <p:spPr>
          <a:xfrm>
            <a:off x="8128619" y="3205444"/>
            <a:ext cx="221950" cy="221615"/>
          </a:xfrm>
          <a:custGeom>
            <a:avLst/>
            <a:gdLst>
              <a:gd name="connsiteX0" fmla="*/ 303775 w 607639"/>
              <a:gd name="connsiteY0" fmla="*/ 525007 h 606722"/>
              <a:gd name="connsiteX1" fmla="*/ 315710 w 607639"/>
              <a:gd name="connsiteY1" fmla="*/ 536902 h 606722"/>
              <a:gd name="connsiteX2" fmla="*/ 315710 w 607639"/>
              <a:gd name="connsiteY2" fmla="*/ 552347 h 606722"/>
              <a:gd name="connsiteX3" fmla="*/ 303775 w 607639"/>
              <a:gd name="connsiteY3" fmla="*/ 564241 h 606722"/>
              <a:gd name="connsiteX4" fmla="*/ 291929 w 607639"/>
              <a:gd name="connsiteY4" fmla="*/ 552347 h 606722"/>
              <a:gd name="connsiteX5" fmla="*/ 291929 w 607639"/>
              <a:gd name="connsiteY5" fmla="*/ 536902 h 606722"/>
              <a:gd name="connsiteX6" fmla="*/ 303775 w 607639"/>
              <a:gd name="connsiteY6" fmla="*/ 525007 h 606722"/>
              <a:gd name="connsiteX7" fmla="*/ 429885 w 607639"/>
              <a:gd name="connsiteY7" fmla="*/ 509483 h 606722"/>
              <a:gd name="connsiteX8" fmla="*/ 441811 w 607639"/>
              <a:gd name="connsiteY8" fmla="*/ 521409 h 606722"/>
              <a:gd name="connsiteX9" fmla="*/ 429885 w 607639"/>
              <a:gd name="connsiteY9" fmla="*/ 533335 h 606722"/>
              <a:gd name="connsiteX10" fmla="*/ 417959 w 607639"/>
              <a:gd name="connsiteY10" fmla="*/ 521409 h 606722"/>
              <a:gd name="connsiteX11" fmla="*/ 429885 w 607639"/>
              <a:gd name="connsiteY11" fmla="*/ 509483 h 606722"/>
              <a:gd name="connsiteX12" fmla="*/ 177720 w 607639"/>
              <a:gd name="connsiteY12" fmla="*/ 509483 h 606722"/>
              <a:gd name="connsiteX13" fmla="*/ 189611 w 607639"/>
              <a:gd name="connsiteY13" fmla="*/ 521409 h 606722"/>
              <a:gd name="connsiteX14" fmla="*/ 177720 w 607639"/>
              <a:gd name="connsiteY14" fmla="*/ 533335 h 606722"/>
              <a:gd name="connsiteX15" fmla="*/ 165829 w 607639"/>
              <a:gd name="connsiteY15" fmla="*/ 521409 h 606722"/>
              <a:gd name="connsiteX16" fmla="*/ 177720 w 607639"/>
              <a:gd name="connsiteY16" fmla="*/ 509483 h 606722"/>
              <a:gd name="connsiteX17" fmla="*/ 522185 w 607639"/>
              <a:gd name="connsiteY17" fmla="*/ 417324 h 606722"/>
              <a:gd name="connsiteX18" fmla="*/ 534111 w 607639"/>
              <a:gd name="connsiteY18" fmla="*/ 429250 h 606722"/>
              <a:gd name="connsiteX19" fmla="*/ 522185 w 607639"/>
              <a:gd name="connsiteY19" fmla="*/ 441176 h 606722"/>
              <a:gd name="connsiteX20" fmla="*/ 510259 w 607639"/>
              <a:gd name="connsiteY20" fmla="*/ 429250 h 606722"/>
              <a:gd name="connsiteX21" fmla="*/ 522185 w 607639"/>
              <a:gd name="connsiteY21" fmla="*/ 417324 h 606722"/>
              <a:gd name="connsiteX22" fmla="*/ 85420 w 607639"/>
              <a:gd name="connsiteY22" fmla="*/ 417324 h 606722"/>
              <a:gd name="connsiteX23" fmla="*/ 97311 w 607639"/>
              <a:gd name="connsiteY23" fmla="*/ 429250 h 606722"/>
              <a:gd name="connsiteX24" fmla="*/ 85420 w 607639"/>
              <a:gd name="connsiteY24" fmla="*/ 441176 h 606722"/>
              <a:gd name="connsiteX25" fmla="*/ 73529 w 607639"/>
              <a:gd name="connsiteY25" fmla="*/ 429250 h 606722"/>
              <a:gd name="connsiteX26" fmla="*/ 85420 w 607639"/>
              <a:gd name="connsiteY26" fmla="*/ 417324 h 606722"/>
              <a:gd name="connsiteX27" fmla="*/ 537643 w 607639"/>
              <a:gd name="connsiteY27" fmla="*/ 291506 h 606722"/>
              <a:gd name="connsiteX28" fmla="*/ 555628 w 607639"/>
              <a:gd name="connsiteY28" fmla="*/ 291506 h 606722"/>
              <a:gd name="connsiteX29" fmla="*/ 567558 w 607639"/>
              <a:gd name="connsiteY29" fmla="*/ 303316 h 606722"/>
              <a:gd name="connsiteX30" fmla="*/ 555628 w 607639"/>
              <a:gd name="connsiteY30" fmla="*/ 315216 h 606722"/>
              <a:gd name="connsiteX31" fmla="*/ 537643 w 607639"/>
              <a:gd name="connsiteY31" fmla="*/ 315216 h 606722"/>
              <a:gd name="connsiteX32" fmla="*/ 525713 w 607639"/>
              <a:gd name="connsiteY32" fmla="*/ 303316 h 606722"/>
              <a:gd name="connsiteX33" fmla="*/ 537643 w 607639"/>
              <a:gd name="connsiteY33" fmla="*/ 291506 h 606722"/>
              <a:gd name="connsiteX34" fmla="*/ 51991 w 607639"/>
              <a:gd name="connsiteY34" fmla="*/ 291506 h 606722"/>
              <a:gd name="connsiteX35" fmla="*/ 69946 w 607639"/>
              <a:gd name="connsiteY35" fmla="*/ 291506 h 606722"/>
              <a:gd name="connsiteX36" fmla="*/ 81856 w 607639"/>
              <a:gd name="connsiteY36" fmla="*/ 303316 h 606722"/>
              <a:gd name="connsiteX37" fmla="*/ 69946 w 607639"/>
              <a:gd name="connsiteY37" fmla="*/ 315216 h 606722"/>
              <a:gd name="connsiteX38" fmla="*/ 51991 w 607639"/>
              <a:gd name="connsiteY38" fmla="*/ 315216 h 606722"/>
              <a:gd name="connsiteX39" fmla="*/ 40081 w 607639"/>
              <a:gd name="connsiteY39" fmla="*/ 303316 h 606722"/>
              <a:gd name="connsiteX40" fmla="*/ 51991 w 607639"/>
              <a:gd name="connsiteY40" fmla="*/ 291506 h 606722"/>
              <a:gd name="connsiteX41" fmla="*/ 412608 w 607639"/>
              <a:gd name="connsiteY41" fmla="*/ 222096 h 606722"/>
              <a:gd name="connsiteX42" fmla="*/ 345491 w 607639"/>
              <a:gd name="connsiteY42" fmla="*/ 334245 h 606722"/>
              <a:gd name="connsiteX43" fmla="*/ 412608 w 607639"/>
              <a:gd name="connsiteY43" fmla="*/ 334245 h 606722"/>
              <a:gd name="connsiteX44" fmla="*/ 427651 w 607639"/>
              <a:gd name="connsiteY44" fmla="*/ 167533 h 606722"/>
              <a:gd name="connsiteX45" fmla="*/ 436375 w 607639"/>
              <a:gd name="connsiteY45" fmla="*/ 178996 h 606722"/>
              <a:gd name="connsiteX46" fmla="*/ 436375 w 607639"/>
              <a:gd name="connsiteY46" fmla="*/ 334245 h 606722"/>
              <a:gd name="connsiteX47" fmla="*/ 469399 w 607639"/>
              <a:gd name="connsiteY47" fmla="*/ 334245 h 606722"/>
              <a:gd name="connsiteX48" fmla="*/ 481327 w 607639"/>
              <a:gd name="connsiteY48" fmla="*/ 346153 h 606722"/>
              <a:gd name="connsiteX49" fmla="*/ 469399 w 607639"/>
              <a:gd name="connsiteY49" fmla="*/ 357973 h 606722"/>
              <a:gd name="connsiteX50" fmla="*/ 436375 w 607639"/>
              <a:gd name="connsiteY50" fmla="*/ 357973 h 606722"/>
              <a:gd name="connsiteX51" fmla="*/ 436375 w 607639"/>
              <a:gd name="connsiteY51" fmla="*/ 427733 h 606722"/>
              <a:gd name="connsiteX52" fmla="*/ 424536 w 607639"/>
              <a:gd name="connsiteY52" fmla="*/ 439552 h 606722"/>
              <a:gd name="connsiteX53" fmla="*/ 412608 w 607639"/>
              <a:gd name="connsiteY53" fmla="*/ 427733 h 606722"/>
              <a:gd name="connsiteX54" fmla="*/ 412608 w 607639"/>
              <a:gd name="connsiteY54" fmla="*/ 357973 h 606722"/>
              <a:gd name="connsiteX55" fmla="*/ 324573 w 607639"/>
              <a:gd name="connsiteY55" fmla="*/ 357973 h 606722"/>
              <a:gd name="connsiteX56" fmla="*/ 314158 w 607639"/>
              <a:gd name="connsiteY56" fmla="*/ 352019 h 606722"/>
              <a:gd name="connsiteX57" fmla="*/ 314336 w 607639"/>
              <a:gd name="connsiteY57" fmla="*/ 340022 h 606722"/>
              <a:gd name="connsiteX58" fmla="*/ 414299 w 607639"/>
              <a:gd name="connsiteY58" fmla="*/ 172953 h 606722"/>
              <a:gd name="connsiteX59" fmla="*/ 427651 w 607639"/>
              <a:gd name="connsiteY59" fmla="*/ 167533 h 606722"/>
              <a:gd name="connsiteX60" fmla="*/ 216270 w 607639"/>
              <a:gd name="connsiteY60" fmla="*/ 167099 h 606722"/>
              <a:gd name="connsiteX61" fmla="*/ 290518 w 607639"/>
              <a:gd name="connsiteY61" fmla="*/ 241210 h 606722"/>
              <a:gd name="connsiteX62" fmla="*/ 242978 w 607639"/>
              <a:gd name="connsiteY62" fmla="*/ 355754 h 606722"/>
              <a:gd name="connsiteX63" fmla="*/ 182707 w 607639"/>
              <a:gd name="connsiteY63" fmla="*/ 415825 h 606722"/>
              <a:gd name="connsiteX64" fmla="*/ 278588 w 607639"/>
              <a:gd name="connsiteY64" fmla="*/ 415825 h 606722"/>
              <a:gd name="connsiteX65" fmla="*/ 290518 w 607639"/>
              <a:gd name="connsiteY65" fmla="*/ 427734 h 606722"/>
              <a:gd name="connsiteX66" fmla="*/ 278588 w 607639"/>
              <a:gd name="connsiteY66" fmla="*/ 439552 h 606722"/>
              <a:gd name="connsiteX67" fmla="*/ 154040 w 607639"/>
              <a:gd name="connsiteY67" fmla="*/ 439552 h 606722"/>
              <a:gd name="connsiteX68" fmla="*/ 143001 w 607639"/>
              <a:gd name="connsiteY68" fmla="*/ 432265 h 606722"/>
              <a:gd name="connsiteX69" fmla="*/ 145582 w 607639"/>
              <a:gd name="connsiteY69" fmla="*/ 419292 h 606722"/>
              <a:gd name="connsiteX70" fmla="*/ 226152 w 607639"/>
              <a:gd name="connsiteY70" fmla="*/ 338959 h 606722"/>
              <a:gd name="connsiteX71" fmla="*/ 266659 w 607639"/>
              <a:gd name="connsiteY71" fmla="*/ 241210 h 606722"/>
              <a:gd name="connsiteX72" fmla="*/ 216270 w 607639"/>
              <a:gd name="connsiteY72" fmla="*/ 190914 h 606722"/>
              <a:gd name="connsiteX73" fmla="*/ 165880 w 607639"/>
              <a:gd name="connsiteY73" fmla="*/ 241210 h 606722"/>
              <a:gd name="connsiteX74" fmla="*/ 154040 w 607639"/>
              <a:gd name="connsiteY74" fmla="*/ 253029 h 606722"/>
              <a:gd name="connsiteX75" fmla="*/ 142110 w 607639"/>
              <a:gd name="connsiteY75" fmla="*/ 241210 h 606722"/>
              <a:gd name="connsiteX76" fmla="*/ 216270 w 607639"/>
              <a:gd name="connsiteY76" fmla="*/ 167099 h 606722"/>
              <a:gd name="connsiteX77" fmla="*/ 522185 w 607639"/>
              <a:gd name="connsiteY77" fmla="*/ 165547 h 606722"/>
              <a:gd name="connsiteX78" fmla="*/ 534111 w 607639"/>
              <a:gd name="connsiteY78" fmla="*/ 177438 h 606722"/>
              <a:gd name="connsiteX79" fmla="*/ 522185 w 607639"/>
              <a:gd name="connsiteY79" fmla="*/ 189329 h 606722"/>
              <a:gd name="connsiteX80" fmla="*/ 510259 w 607639"/>
              <a:gd name="connsiteY80" fmla="*/ 177438 h 606722"/>
              <a:gd name="connsiteX81" fmla="*/ 522185 w 607639"/>
              <a:gd name="connsiteY81" fmla="*/ 165547 h 606722"/>
              <a:gd name="connsiteX82" fmla="*/ 85420 w 607639"/>
              <a:gd name="connsiteY82" fmla="*/ 165547 h 606722"/>
              <a:gd name="connsiteX83" fmla="*/ 97311 w 607639"/>
              <a:gd name="connsiteY83" fmla="*/ 177438 h 606722"/>
              <a:gd name="connsiteX84" fmla="*/ 85420 w 607639"/>
              <a:gd name="connsiteY84" fmla="*/ 189329 h 606722"/>
              <a:gd name="connsiteX85" fmla="*/ 73529 w 607639"/>
              <a:gd name="connsiteY85" fmla="*/ 177438 h 606722"/>
              <a:gd name="connsiteX86" fmla="*/ 85420 w 607639"/>
              <a:gd name="connsiteY86" fmla="*/ 165547 h 606722"/>
              <a:gd name="connsiteX87" fmla="*/ 429885 w 607639"/>
              <a:gd name="connsiteY87" fmla="*/ 73388 h 606722"/>
              <a:gd name="connsiteX88" fmla="*/ 441811 w 607639"/>
              <a:gd name="connsiteY88" fmla="*/ 85279 h 606722"/>
              <a:gd name="connsiteX89" fmla="*/ 429885 w 607639"/>
              <a:gd name="connsiteY89" fmla="*/ 97170 h 606722"/>
              <a:gd name="connsiteX90" fmla="*/ 417959 w 607639"/>
              <a:gd name="connsiteY90" fmla="*/ 85279 h 606722"/>
              <a:gd name="connsiteX91" fmla="*/ 429885 w 607639"/>
              <a:gd name="connsiteY91" fmla="*/ 73388 h 606722"/>
              <a:gd name="connsiteX92" fmla="*/ 177720 w 607639"/>
              <a:gd name="connsiteY92" fmla="*/ 73388 h 606722"/>
              <a:gd name="connsiteX93" fmla="*/ 189611 w 607639"/>
              <a:gd name="connsiteY93" fmla="*/ 85279 h 606722"/>
              <a:gd name="connsiteX94" fmla="*/ 177720 w 607639"/>
              <a:gd name="connsiteY94" fmla="*/ 97170 h 606722"/>
              <a:gd name="connsiteX95" fmla="*/ 165829 w 607639"/>
              <a:gd name="connsiteY95" fmla="*/ 85279 h 606722"/>
              <a:gd name="connsiteX96" fmla="*/ 177720 w 607639"/>
              <a:gd name="connsiteY96" fmla="*/ 73388 h 606722"/>
              <a:gd name="connsiteX97" fmla="*/ 303775 w 607639"/>
              <a:gd name="connsiteY97" fmla="*/ 42480 h 606722"/>
              <a:gd name="connsiteX98" fmla="*/ 315710 w 607639"/>
              <a:gd name="connsiteY98" fmla="*/ 54396 h 606722"/>
              <a:gd name="connsiteX99" fmla="*/ 315710 w 607639"/>
              <a:gd name="connsiteY99" fmla="*/ 69869 h 606722"/>
              <a:gd name="connsiteX100" fmla="*/ 303775 w 607639"/>
              <a:gd name="connsiteY100" fmla="*/ 81785 h 606722"/>
              <a:gd name="connsiteX101" fmla="*/ 291929 w 607639"/>
              <a:gd name="connsiteY101" fmla="*/ 69869 h 606722"/>
              <a:gd name="connsiteX102" fmla="*/ 291929 w 607639"/>
              <a:gd name="connsiteY102" fmla="*/ 54396 h 606722"/>
              <a:gd name="connsiteX103" fmla="*/ 303775 w 607639"/>
              <a:gd name="connsiteY103" fmla="*/ 42480 h 606722"/>
              <a:gd name="connsiteX104" fmla="*/ 303775 w 607639"/>
              <a:gd name="connsiteY104" fmla="*/ 0 h 606722"/>
              <a:gd name="connsiteX105" fmla="*/ 537058 w 607639"/>
              <a:gd name="connsiteY105" fmla="*/ 108956 h 606722"/>
              <a:gd name="connsiteX106" fmla="*/ 537058 w 607639"/>
              <a:gd name="connsiteY106" fmla="*/ 93048 h 606722"/>
              <a:gd name="connsiteX107" fmla="*/ 548895 w 607639"/>
              <a:gd name="connsiteY107" fmla="*/ 81139 h 606722"/>
              <a:gd name="connsiteX108" fmla="*/ 560822 w 607639"/>
              <a:gd name="connsiteY108" fmla="*/ 93048 h 606722"/>
              <a:gd name="connsiteX109" fmla="*/ 560822 w 607639"/>
              <a:gd name="connsiteY109" fmla="*/ 138994 h 606722"/>
              <a:gd name="connsiteX110" fmla="*/ 548895 w 607639"/>
              <a:gd name="connsiteY110" fmla="*/ 150903 h 606722"/>
              <a:gd name="connsiteX111" fmla="*/ 502880 w 607639"/>
              <a:gd name="connsiteY111" fmla="*/ 150903 h 606722"/>
              <a:gd name="connsiteX112" fmla="*/ 490953 w 607639"/>
              <a:gd name="connsiteY112" fmla="*/ 138994 h 606722"/>
              <a:gd name="connsiteX113" fmla="*/ 502880 w 607639"/>
              <a:gd name="connsiteY113" fmla="*/ 127174 h 606722"/>
              <a:gd name="connsiteX114" fmla="*/ 521126 w 607639"/>
              <a:gd name="connsiteY114" fmla="*/ 127174 h 606722"/>
              <a:gd name="connsiteX115" fmla="*/ 303775 w 607639"/>
              <a:gd name="connsiteY115" fmla="*/ 23728 h 606722"/>
              <a:gd name="connsiteX116" fmla="*/ 23764 w 607639"/>
              <a:gd name="connsiteY116" fmla="*/ 303316 h 606722"/>
              <a:gd name="connsiteX117" fmla="*/ 303775 w 607639"/>
              <a:gd name="connsiteY117" fmla="*/ 582905 h 606722"/>
              <a:gd name="connsiteX118" fmla="*/ 583786 w 607639"/>
              <a:gd name="connsiteY118" fmla="*/ 303316 h 606722"/>
              <a:gd name="connsiteX119" fmla="*/ 573906 w 607639"/>
              <a:gd name="connsiteY119" fmla="*/ 229376 h 606722"/>
              <a:gd name="connsiteX120" fmla="*/ 582273 w 607639"/>
              <a:gd name="connsiteY120" fmla="*/ 214801 h 606722"/>
              <a:gd name="connsiteX121" fmla="*/ 596869 w 607639"/>
              <a:gd name="connsiteY121" fmla="*/ 223066 h 606722"/>
              <a:gd name="connsiteX122" fmla="*/ 607639 w 607639"/>
              <a:gd name="connsiteY122" fmla="*/ 303316 h 606722"/>
              <a:gd name="connsiteX123" fmla="*/ 303775 w 607639"/>
              <a:gd name="connsiteY123" fmla="*/ 606722 h 606722"/>
              <a:gd name="connsiteX124" fmla="*/ 0 w 607639"/>
              <a:gd name="connsiteY124" fmla="*/ 303316 h 606722"/>
              <a:gd name="connsiteX125" fmla="*/ 303775 w 607639"/>
              <a:gd name="connsiteY125" fmla="*/ 0 h 606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</a:cxnLst>
            <a:rect l="l" t="t" r="r" b="b"/>
            <a:pathLst>
              <a:path w="607639" h="606722">
                <a:moveTo>
                  <a:pt x="303775" y="525007"/>
                </a:moveTo>
                <a:cubicBezTo>
                  <a:pt x="310366" y="525007"/>
                  <a:pt x="315710" y="530333"/>
                  <a:pt x="315710" y="536902"/>
                </a:cubicBezTo>
                <a:lnTo>
                  <a:pt x="315710" y="552347"/>
                </a:lnTo>
                <a:cubicBezTo>
                  <a:pt x="315710" y="558915"/>
                  <a:pt x="310366" y="564241"/>
                  <a:pt x="303775" y="564241"/>
                </a:cubicBezTo>
                <a:cubicBezTo>
                  <a:pt x="297184" y="564241"/>
                  <a:pt x="291929" y="558915"/>
                  <a:pt x="291929" y="552347"/>
                </a:cubicBezTo>
                <a:lnTo>
                  <a:pt x="291929" y="536902"/>
                </a:lnTo>
                <a:cubicBezTo>
                  <a:pt x="291929" y="530333"/>
                  <a:pt x="297184" y="525007"/>
                  <a:pt x="303775" y="525007"/>
                </a:cubicBezTo>
                <a:close/>
                <a:moveTo>
                  <a:pt x="429885" y="509483"/>
                </a:moveTo>
                <a:cubicBezTo>
                  <a:pt x="436472" y="509483"/>
                  <a:pt x="441811" y="514822"/>
                  <a:pt x="441811" y="521409"/>
                </a:cubicBezTo>
                <a:cubicBezTo>
                  <a:pt x="441811" y="527996"/>
                  <a:pt x="436472" y="533335"/>
                  <a:pt x="429885" y="533335"/>
                </a:cubicBezTo>
                <a:cubicBezTo>
                  <a:pt x="423298" y="533335"/>
                  <a:pt x="417959" y="527996"/>
                  <a:pt x="417959" y="521409"/>
                </a:cubicBezTo>
                <a:cubicBezTo>
                  <a:pt x="417959" y="514822"/>
                  <a:pt x="423298" y="509483"/>
                  <a:pt x="429885" y="509483"/>
                </a:cubicBezTo>
                <a:close/>
                <a:moveTo>
                  <a:pt x="177720" y="509483"/>
                </a:moveTo>
                <a:cubicBezTo>
                  <a:pt x="184287" y="509483"/>
                  <a:pt x="189611" y="514822"/>
                  <a:pt x="189611" y="521409"/>
                </a:cubicBezTo>
                <a:cubicBezTo>
                  <a:pt x="189611" y="527996"/>
                  <a:pt x="184287" y="533335"/>
                  <a:pt x="177720" y="533335"/>
                </a:cubicBezTo>
                <a:cubicBezTo>
                  <a:pt x="171153" y="533335"/>
                  <a:pt x="165829" y="527996"/>
                  <a:pt x="165829" y="521409"/>
                </a:cubicBezTo>
                <a:cubicBezTo>
                  <a:pt x="165829" y="514822"/>
                  <a:pt x="171153" y="509483"/>
                  <a:pt x="177720" y="509483"/>
                </a:cubicBezTo>
                <a:close/>
                <a:moveTo>
                  <a:pt x="522185" y="417324"/>
                </a:moveTo>
                <a:cubicBezTo>
                  <a:pt x="528772" y="417324"/>
                  <a:pt x="534111" y="422663"/>
                  <a:pt x="534111" y="429250"/>
                </a:cubicBezTo>
                <a:cubicBezTo>
                  <a:pt x="534111" y="435837"/>
                  <a:pt x="528772" y="441176"/>
                  <a:pt x="522185" y="441176"/>
                </a:cubicBezTo>
                <a:cubicBezTo>
                  <a:pt x="515598" y="441176"/>
                  <a:pt x="510259" y="435837"/>
                  <a:pt x="510259" y="429250"/>
                </a:cubicBezTo>
                <a:cubicBezTo>
                  <a:pt x="510259" y="422663"/>
                  <a:pt x="515598" y="417324"/>
                  <a:pt x="522185" y="417324"/>
                </a:cubicBezTo>
                <a:close/>
                <a:moveTo>
                  <a:pt x="85420" y="417324"/>
                </a:moveTo>
                <a:cubicBezTo>
                  <a:pt x="91987" y="417324"/>
                  <a:pt x="97311" y="422663"/>
                  <a:pt x="97311" y="429250"/>
                </a:cubicBezTo>
                <a:cubicBezTo>
                  <a:pt x="97311" y="435837"/>
                  <a:pt x="91987" y="441176"/>
                  <a:pt x="85420" y="441176"/>
                </a:cubicBezTo>
                <a:cubicBezTo>
                  <a:pt x="78853" y="441176"/>
                  <a:pt x="73529" y="435837"/>
                  <a:pt x="73529" y="429250"/>
                </a:cubicBezTo>
                <a:cubicBezTo>
                  <a:pt x="73529" y="422663"/>
                  <a:pt x="78853" y="417324"/>
                  <a:pt x="85420" y="417324"/>
                </a:cubicBezTo>
                <a:close/>
                <a:moveTo>
                  <a:pt x="537643" y="291506"/>
                </a:moveTo>
                <a:lnTo>
                  <a:pt x="555628" y="291506"/>
                </a:lnTo>
                <a:cubicBezTo>
                  <a:pt x="562216" y="291506"/>
                  <a:pt x="567558" y="296745"/>
                  <a:pt x="567558" y="303316"/>
                </a:cubicBezTo>
                <a:cubicBezTo>
                  <a:pt x="567558" y="309888"/>
                  <a:pt x="562216" y="315216"/>
                  <a:pt x="555628" y="315216"/>
                </a:cubicBezTo>
                <a:lnTo>
                  <a:pt x="537643" y="315216"/>
                </a:lnTo>
                <a:cubicBezTo>
                  <a:pt x="531055" y="315216"/>
                  <a:pt x="525713" y="309888"/>
                  <a:pt x="525713" y="303316"/>
                </a:cubicBezTo>
                <a:cubicBezTo>
                  <a:pt x="525713" y="296745"/>
                  <a:pt x="531055" y="291506"/>
                  <a:pt x="537643" y="291506"/>
                </a:cubicBezTo>
                <a:close/>
                <a:moveTo>
                  <a:pt x="51991" y="291506"/>
                </a:moveTo>
                <a:lnTo>
                  <a:pt x="69946" y="291506"/>
                </a:lnTo>
                <a:cubicBezTo>
                  <a:pt x="76523" y="291506"/>
                  <a:pt x="81856" y="296745"/>
                  <a:pt x="81856" y="303316"/>
                </a:cubicBezTo>
                <a:cubicBezTo>
                  <a:pt x="81856" y="309888"/>
                  <a:pt x="76523" y="315216"/>
                  <a:pt x="69946" y="315216"/>
                </a:cubicBezTo>
                <a:lnTo>
                  <a:pt x="51991" y="315216"/>
                </a:lnTo>
                <a:cubicBezTo>
                  <a:pt x="45414" y="315216"/>
                  <a:pt x="40081" y="309888"/>
                  <a:pt x="40081" y="303316"/>
                </a:cubicBezTo>
                <a:cubicBezTo>
                  <a:pt x="40081" y="296745"/>
                  <a:pt x="45414" y="291506"/>
                  <a:pt x="51991" y="291506"/>
                </a:cubicBezTo>
                <a:close/>
                <a:moveTo>
                  <a:pt x="412608" y="222096"/>
                </a:moveTo>
                <a:lnTo>
                  <a:pt x="345491" y="334245"/>
                </a:lnTo>
                <a:lnTo>
                  <a:pt x="412608" y="334245"/>
                </a:lnTo>
                <a:close/>
                <a:moveTo>
                  <a:pt x="427651" y="167533"/>
                </a:moveTo>
                <a:cubicBezTo>
                  <a:pt x="432814" y="168954"/>
                  <a:pt x="436375" y="173664"/>
                  <a:pt x="436375" y="178996"/>
                </a:cubicBezTo>
                <a:lnTo>
                  <a:pt x="436375" y="334245"/>
                </a:lnTo>
                <a:lnTo>
                  <a:pt x="469399" y="334245"/>
                </a:lnTo>
                <a:cubicBezTo>
                  <a:pt x="475986" y="334245"/>
                  <a:pt x="481327" y="339577"/>
                  <a:pt x="481327" y="346153"/>
                </a:cubicBezTo>
                <a:cubicBezTo>
                  <a:pt x="481327" y="352641"/>
                  <a:pt x="475986" y="357973"/>
                  <a:pt x="469399" y="357973"/>
                </a:cubicBezTo>
                <a:lnTo>
                  <a:pt x="436375" y="357973"/>
                </a:lnTo>
                <a:lnTo>
                  <a:pt x="436375" y="427733"/>
                </a:lnTo>
                <a:cubicBezTo>
                  <a:pt x="436375" y="434220"/>
                  <a:pt x="431123" y="439552"/>
                  <a:pt x="424536" y="439552"/>
                </a:cubicBezTo>
                <a:cubicBezTo>
                  <a:pt x="417949" y="439552"/>
                  <a:pt x="412608" y="434220"/>
                  <a:pt x="412608" y="427733"/>
                </a:cubicBezTo>
                <a:lnTo>
                  <a:pt x="412608" y="357973"/>
                </a:lnTo>
                <a:lnTo>
                  <a:pt x="324573" y="357973"/>
                </a:lnTo>
                <a:cubicBezTo>
                  <a:pt x="320300" y="357973"/>
                  <a:pt x="316295" y="355662"/>
                  <a:pt x="314158" y="352019"/>
                </a:cubicBezTo>
                <a:cubicBezTo>
                  <a:pt x="312111" y="348286"/>
                  <a:pt x="312111" y="343665"/>
                  <a:pt x="314336" y="340022"/>
                </a:cubicBezTo>
                <a:lnTo>
                  <a:pt x="414299" y="172953"/>
                </a:lnTo>
                <a:cubicBezTo>
                  <a:pt x="417059" y="168332"/>
                  <a:pt x="422489" y="166111"/>
                  <a:pt x="427651" y="167533"/>
                </a:cubicBezTo>
                <a:close/>
                <a:moveTo>
                  <a:pt x="216270" y="167099"/>
                </a:moveTo>
                <a:cubicBezTo>
                  <a:pt x="257222" y="167099"/>
                  <a:pt x="290518" y="200333"/>
                  <a:pt x="290518" y="241210"/>
                </a:cubicBezTo>
                <a:cubicBezTo>
                  <a:pt x="290518" y="284486"/>
                  <a:pt x="273603" y="325097"/>
                  <a:pt x="242978" y="355754"/>
                </a:cubicBezTo>
                <a:lnTo>
                  <a:pt x="182707" y="415825"/>
                </a:lnTo>
                <a:lnTo>
                  <a:pt x="278588" y="415825"/>
                </a:lnTo>
                <a:cubicBezTo>
                  <a:pt x="285176" y="415825"/>
                  <a:pt x="290518" y="421158"/>
                  <a:pt x="290518" y="427734"/>
                </a:cubicBezTo>
                <a:cubicBezTo>
                  <a:pt x="290518" y="434220"/>
                  <a:pt x="285176" y="439552"/>
                  <a:pt x="278588" y="439552"/>
                </a:cubicBezTo>
                <a:lnTo>
                  <a:pt x="154040" y="439552"/>
                </a:lnTo>
                <a:cubicBezTo>
                  <a:pt x="149232" y="439552"/>
                  <a:pt x="144870" y="436709"/>
                  <a:pt x="143001" y="432265"/>
                </a:cubicBezTo>
                <a:cubicBezTo>
                  <a:pt x="141131" y="427822"/>
                  <a:pt x="142199" y="422668"/>
                  <a:pt x="145582" y="419292"/>
                </a:cubicBezTo>
                <a:lnTo>
                  <a:pt x="226152" y="338959"/>
                </a:lnTo>
                <a:cubicBezTo>
                  <a:pt x="252236" y="312834"/>
                  <a:pt x="266659" y="278088"/>
                  <a:pt x="266659" y="241210"/>
                </a:cubicBezTo>
                <a:cubicBezTo>
                  <a:pt x="266659" y="213485"/>
                  <a:pt x="244046" y="190914"/>
                  <a:pt x="216270" y="190914"/>
                </a:cubicBezTo>
                <a:cubicBezTo>
                  <a:pt x="188493" y="190914"/>
                  <a:pt x="165880" y="213485"/>
                  <a:pt x="165880" y="241210"/>
                </a:cubicBezTo>
                <a:cubicBezTo>
                  <a:pt x="165880" y="247786"/>
                  <a:pt x="160539" y="253029"/>
                  <a:pt x="154040" y="253029"/>
                </a:cubicBezTo>
                <a:cubicBezTo>
                  <a:pt x="147452" y="253029"/>
                  <a:pt x="142110" y="247786"/>
                  <a:pt x="142110" y="241210"/>
                </a:cubicBezTo>
                <a:cubicBezTo>
                  <a:pt x="142110" y="200333"/>
                  <a:pt x="175406" y="167099"/>
                  <a:pt x="216270" y="167099"/>
                </a:cubicBezTo>
                <a:close/>
                <a:moveTo>
                  <a:pt x="522185" y="165547"/>
                </a:moveTo>
                <a:cubicBezTo>
                  <a:pt x="528772" y="165547"/>
                  <a:pt x="534111" y="170871"/>
                  <a:pt x="534111" y="177438"/>
                </a:cubicBezTo>
                <a:cubicBezTo>
                  <a:pt x="534111" y="184005"/>
                  <a:pt x="528772" y="189329"/>
                  <a:pt x="522185" y="189329"/>
                </a:cubicBezTo>
                <a:cubicBezTo>
                  <a:pt x="515598" y="189329"/>
                  <a:pt x="510259" y="184005"/>
                  <a:pt x="510259" y="177438"/>
                </a:cubicBezTo>
                <a:cubicBezTo>
                  <a:pt x="510259" y="170871"/>
                  <a:pt x="515598" y="165547"/>
                  <a:pt x="522185" y="165547"/>
                </a:cubicBezTo>
                <a:close/>
                <a:moveTo>
                  <a:pt x="85420" y="165547"/>
                </a:moveTo>
                <a:cubicBezTo>
                  <a:pt x="91987" y="165547"/>
                  <a:pt x="97311" y="170871"/>
                  <a:pt x="97311" y="177438"/>
                </a:cubicBezTo>
                <a:cubicBezTo>
                  <a:pt x="97311" y="184005"/>
                  <a:pt x="91987" y="189329"/>
                  <a:pt x="85420" y="189329"/>
                </a:cubicBezTo>
                <a:cubicBezTo>
                  <a:pt x="78853" y="189329"/>
                  <a:pt x="73529" y="184005"/>
                  <a:pt x="73529" y="177438"/>
                </a:cubicBezTo>
                <a:cubicBezTo>
                  <a:pt x="73529" y="170871"/>
                  <a:pt x="78853" y="165547"/>
                  <a:pt x="85420" y="165547"/>
                </a:cubicBezTo>
                <a:close/>
                <a:moveTo>
                  <a:pt x="429885" y="73388"/>
                </a:moveTo>
                <a:cubicBezTo>
                  <a:pt x="436472" y="73388"/>
                  <a:pt x="441811" y="78712"/>
                  <a:pt x="441811" y="85279"/>
                </a:cubicBezTo>
                <a:cubicBezTo>
                  <a:pt x="441811" y="91846"/>
                  <a:pt x="436472" y="97170"/>
                  <a:pt x="429885" y="97170"/>
                </a:cubicBezTo>
                <a:cubicBezTo>
                  <a:pt x="423298" y="97170"/>
                  <a:pt x="417959" y="91846"/>
                  <a:pt x="417959" y="85279"/>
                </a:cubicBezTo>
                <a:cubicBezTo>
                  <a:pt x="417959" y="78712"/>
                  <a:pt x="423298" y="73388"/>
                  <a:pt x="429885" y="73388"/>
                </a:cubicBezTo>
                <a:close/>
                <a:moveTo>
                  <a:pt x="177720" y="73388"/>
                </a:moveTo>
                <a:cubicBezTo>
                  <a:pt x="184287" y="73388"/>
                  <a:pt x="189611" y="78712"/>
                  <a:pt x="189611" y="85279"/>
                </a:cubicBezTo>
                <a:cubicBezTo>
                  <a:pt x="189611" y="91846"/>
                  <a:pt x="184287" y="97170"/>
                  <a:pt x="177720" y="97170"/>
                </a:cubicBezTo>
                <a:cubicBezTo>
                  <a:pt x="171153" y="97170"/>
                  <a:pt x="165829" y="91846"/>
                  <a:pt x="165829" y="85279"/>
                </a:cubicBezTo>
                <a:cubicBezTo>
                  <a:pt x="165829" y="78712"/>
                  <a:pt x="171153" y="73388"/>
                  <a:pt x="177720" y="73388"/>
                </a:cubicBezTo>
                <a:close/>
                <a:moveTo>
                  <a:pt x="303775" y="42480"/>
                </a:moveTo>
                <a:cubicBezTo>
                  <a:pt x="310366" y="42480"/>
                  <a:pt x="315710" y="47815"/>
                  <a:pt x="315710" y="54396"/>
                </a:cubicBezTo>
                <a:lnTo>
                  <a:pt x="315710" y="69869"/>
                </a:lnTo>
                <a:cubicBezTo>
                  <a:pt x="315710" y="76449"/>
                  <a:pt x="310366" y="81785"/>
                  <a:pt x="303775" y="81785"/>
                </a:cubicBezTo>
                <a:cubicBezTo>
                  <a:pt x="297184" y="81785"/>
                  <a:pt x="291929" y="76449"/>
                  <a:pt x="291929" y="69869"/>
                </a:cubicBezTo>
                <a:lnTo>
                  <a:pt x="291929" y="54396"/>
                </a:lnTo>
                <a:cubicBezTo>
                  <a:pt x="291929" y="47815"/>
                  <a:pt x="297184" y="42480"/>
                  <a:pt x="303775" y="42480"/>
                </a:cubicBezTo>
                <a:close/>
                <a:moveTo>
                  <a:pt x="303775" y="0"/>
                </a:moveTo>
                <a:cubicBezTo>
                  <a:pt x="394204" y="0"/>
                  <a:pt x="479560" y="40347"/>
                  <a:pt x="537058" y="108956"/>
                </a:cubicBezTo>
                <a:lnTo>
                  <a:pt x="537058" y="93048"/>
                </a:lnTo>
                <a:cubicBezTo>
                  <a:pt x="537058" y="86471"/>
                  <a:pt x="542309" y="81139"/>
                  <a:pt x="548895" y="81139"/>
                </a:cubicBezTo>
                <a:cubicBezTo>
                  <a:pt x="555482" y="81139"/>
                  <a:pt x="560822" y="86471"/>
                  <a:pt x="560822" y="93048"/>
                </a:cubicBezTo>
                <a:lnTo>
                  <a:pt x="560822" y="138994"/>
                </a:lnTo>
                <a:cubicBezTo>
                  <a:pt x="560822" y="145570"/>
                  <a:pt x="555482" y="150903"/>
                  <a:pt x="548895" y="150903"/>
                </a:cubicBezTo>
                <a:lnTo>
                  <a:pt x="502880" y="150903"/>
                </a:lnTo>
                <a:cubicBezTo>
                  <a:pt x="496293" y="150903"/>
                  <a:pt x="490953" y="145570"/>
                  <a:pt x="490953" y="138994"/>
                </a:cubicBezTo>
                <a:cubicBezTo>
                  <a:pt x="490953" y="132417"/>
                  <a:pt x="496293" y="127174"/>
                  <a:pt x="502880" y="127174"/>
                </a:cubicBezTo>
                <a:lnTo>
                  <a:pt x="521126" y="127174"/>
                </a:lnTo>
                <a:cubicBezTo>
                  <a:pt x="468168" y="62032"/>
                  <a:pt x="388419" y="23728"/>
                  <a:pt x="303775" y="23728"/>
                </a:cubicBezTo>
                <a:cubicBezTo>
                  <a:pt x="149440" y="23728"/>
                  <a:pt x="23764" y="149214"/>
                  <a:pt x="23764" y="303316"/>
                </a:cubicBezTo>
                <a:cubicBezTo>
                  <a:pt x="23764" y="457508"/>
                  <a:pt x="149440" y="582905"/>
                  <a:pt x="303775" y="582905"/>
                </a:cubicBezTo>
                <a:cubicBezTo>
                  <a:pt x="458199" y="582905"/>
                  <a:pt x="583786" y="457508"/>
                  <a:pt x="583786" y="303316"/>
                </a:cubicBezTo>
                <a:cubicBezTo>
                  <a:pt x="583786" y="278255"/>
                  <a:pt x="580492" y="253371"/>
                  <a:pt x="573906" y="229376"/>
                </a:cubicBezTo>
                <a:cubicBezTo>
                  <a:pt x="572126" y="223066"/>
                  <a:pt x="575864" y="216489"/>
                  <a:pt x="582273" y="214801"/>
                </a:cubicBezTo>
                <a:cubicBezTo>
                  <a:pt x="588592" y="213023"/>
                  <a:pt x="595089" y="216756"/>
                  <a:pt x="596869" y="223066"/>
                </a:cubicBezTo>
                <a:cubicBezTo>
                  <a:pt x="603990" y="249194"/>
                  <a:pt x="607639" y="276122"/>
                  <a:pt x="607639" y="303316"/>
                </a:cubicBezTo>
                <a:cubicBezTo>
                  <a:pt x="607639" y="470572"/>
                  <a:pt x="471283" y="606722"/>
                  <a:pt x="303775" y="606722"/>
                </a:cubicBezTo>
                <a:cubicBezTo>
                  <a:pt x="136267" y="606722"/>
                  <a:pt x="0" y="470572"/>
                  <a:pt x="0" y="303316"/>
                </a:cubicBezTo>
                <a:cubicBezTo>
                  <a:pt x="0" y="136061"/>
                  <a:pt x="136267" y="0"/>
                  <a:pt x="303775" y="0"/>
                </a:cubicBezTo>
                <a:close/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25" name="íšḻîḍé">
            <a:extLst>
              <a:ext uri="{FF2B5EF4-FFF2-40B4-BE49-F238E27FC236}">
                <a16:creationId xmlns:a16="http://schemas.microsoft.com/office/drawing/2014/main" id="{4F9612B2-4C07-408E-A5D4-39D65690BDE8}"/>
              </a:ext>
            </a:extLst>
          </p:cNvPr>
          <p:cNvSpPr>
            <a:spLocks/>
          </p:cNvSpPr>
          <p:nvPr/>
        </p:nvSpPr>
        <p:spPr bwMode="auto">
          <a:xfrm>
            <a:off x="7140853" y="4635334"/>
            <a:ext cx="2164253" cy="5573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90000" anchor="t" anchorCtr="0">
            <a:normAutofit/>
          </a:bodyPr>
          <a:lstStyle/>
          <a:p>
            <a:pPr algn="ctr" eaLnBrk="1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zh-CN" altLang="en-US" sz="1000"/>
              <a:t>此部分内容作为文字排版占位显示</a:t>
            </a:r>
            <a:br>
              <a:rPr lang="zh-CN" altLang="en-US" sz="1000"/>
            </a:br>
            <a:r>
              <a:rPr lang="zh-CN" altLang="en-US" sz="1000"/>
              <a:t> （建议使用主题字体）</a:t>
            </a:r>
            <a:endParaRPr lang="zh-CN" altLang="en-US" sz="1000" dirty="0"/>
          </a:p>
        </p:txBody>
      </p:sp>
      <p:sp>
        <p:nvSpPr>
          <p:cNvPr id="26" name="îṥ1ïḑe">
            <a:extLst>
              <a:ext uri="{FF2B5EF4-FFF2-40B4-BE49-F238E27FC236}">
                <a16:creationId xmlns:a16="http://schemas.microsoft.com/office/drawing/2014/main" id="{E87010C0-4551-4719-9634-CFE08ED0542C}"/>
              </a:ext>
            </a:extLst>
          </p:cNvPr>
          <p:cNvSpPr txBox="1">
            <a:spLocks/>
          </p:cNvSpPr>
          <p:nvPr/>
        </p:nvSpPr>
        <p:spPr bwMode="auto">
          <a:xfrm>
            <a:off x="7140853" y="4284195"/>
            <a:ext cx="2164253" cy="3511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0000">
            <a:normAutofit lnSpcReduction="10000"/>
          </a:bodyPr>
          <a:lstStyle/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zh-CN" altLang="en-US" sz="1800" b="1">
                <a:solidFill>
                  <a:schemeClr val="accent3"/>
                </a:solidFill>
              </a:rPr>
              <a:t>标题文本预设</a:t>
            </a:r>
            <a:endParaRPr lang="zh-CN" altLang="en-US" sz="1800" b="1" dirty="0">
              <a:solidFill>
                <a:schemeClr val="accent3"/>
              </a:solidFill>
            </a:endParaRPr>
          </a:p>
        </p:txBody>
      </p:sp>
      <p:sp>
        <p:nvSpPr>
          <p:cNvPr id="19" name="ïṣ1íḑê">
            <a:extLst>
              <a:ext uri="{FF2B5EF4-FFF2-40B4-BE49-F238E27FC236}">
                <a16:creationId xmlns:a16="http://schemas.microsoft.com/office/drawing/2014/main" id="{3A5C6A6F-ED7A-4536-9E2B-2C83C67152A0}"/>
              </a:ext>
            </a:extLst>
          </p:cNvPr>
          <p:cNvSpPr>
            <a:spLocks/>
          </p:cNvSpPr>
          <p:nvPr/>
        </p:nvSpPr>
        <p:spPr bwMode="auto">
          <a:xfrm rot="16200000">
            <a:off x="9515539" y="2469850"/>
            <a:ext cx="1672622" cy="422571"/>
          </a:xfrm>
          <a:custGeom>
            <a:avLst/>
            <a:gdLst>
              <a:gd name="T0" fmla="*/ 545 w 624"/>
              <a:gd name="T1" fmla="*/ 158 h 158"/>
              <a:gd name="T2" fmla="*/ 79 w 624"/>
              <a:gd name="T3" fmla="*/ 158 h 158"/>
              <a:gd name="T4" fmla="*/ 0 w 624"/>
              <a:gd name="T5" fmla="*/ 79 h 158"/>
              <a:gd name="T6" fmla="*/ 79 w 624"/>
              <a:gd name="T7" fmla="*/ 0 h 158"/>
              <a:gd name="T8" fmla="*/ 545 w 624"/>
              <a:gd name="T9" fmla="*/ 0 h 158"/>
              <a:gd name="T10" fmla="*/ 624 w 624"/>
              <a:gd name="T11" fmla="*/ 79 h 158"/>
              <a:gd name="T12" fmla="*/ 545 w 624"/>
              <a:gd name="T13" fmla="*/ 158 h 1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24" h="158">
                <a:moveTo>
                  <a:pt x="545" y="158"/>
                </a:moveTo>
                <a:cubicBezTo>
                  <a:pt x="79" y="158"/>
                  <a:pt x="79" y="158"/>
                  <a:pt x="79" y="158"/>
                </a:cubicBezTo>
                <a:cubicBezTo>
                  <a:pt x="35" y="158"/>
                  <a:pt x="0" y="123"/>
                  <a:pt x="0" y="79"/>
                </a:cubicBezTo>
                <a:cubicBezTo>
                  <a:pt x="0" y="35"/>
                  <a:pt x="35" y="0"/>
                  <a:pt x="79" y="0"/>
                </a:cubicBezTo>
                <a:cubicBezTo>
                  <a:pt x="545" y="0"/>
                  <a:pt x="545" y="0"/>
                  <a:pt x="545" y="0"/>
                </a:cubicBezTo>
                <a:cubicBezTo>
                  <a:pt x="589" y="0"/>
                  <a:pt x="624" y="35"/>
                  <a:pt x="624" y="79"/>
                </a:cubicBezTo>
                <a:cubicBezTo>
                  <a:pt x="624" y="123"/>
                  <a:pt x="589" y="158"/>
                  <a:pt x="545" y="158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20" name="îš1ïde">
            <a:extLst>
              <a:ext uri="{FF2B5EF4-FFF2-40B4-BE49-F238E27FC236}">
                <a16:creationId xmlns:a16="http://schemas.microsoft.com/office/drawing/2014/main" id="{2EF4D11D-28E4-4D76-A683-C9BCBB7AD724}"/>
              </a:ext>
            </a:extLst>
          </p:cNvPr>
          <p:cNvSpPr>
            <a:spLocks/>
          </p:cNvSpPr>
          <p:nvPr/>
        </p:nvSpPr>
        <p:spPr bwMode="auto">
          <a:xfrm rot="16200000">
            <a:off x="9916034" y="1621555"/>
            <a:ext cx="871631" cy="1318168"/>
          </a:xfrm>
          <a:custGeom>
            <a:avLst/>
            <a:gdLst>
              <a:gd name="T0" fmla="*/ 325 w 325"/>
              <a:gd name="T1" fmla="*/ 246 h 492"/>
              <a:gd name="T2" fmla="*/ 301 w 325"/>
              <a:gd name="T3" fmla="*/ 304 h 492"/>
              <a:gd name="T4" fmla="*/ 300 w 325"/>
              <a:gd name="T5" fmla="*/ 304 h 492"/>
              <a:gd name="T6" fmla="*/ 143 w 325"/>
              <a:gd name="T7" fmla="*/ 461 h 492"/>
              <a:gd name="T8" fmla="*/ 31 w 325"/>
              <a:gd name="T9" fmla="*/ 461 h 492"/>
              <a:gd name="T10" fmla="*/ 31 w 325"/>
              <a:gd name="T11" fmla="*/ 349 h 492"/>
              <a:gd name="T12" fmla="*/ 134 w 325"/>
              <a:gd name="T13" fmla="*/ 246 h 492"/>
              <a:gd name="T14" fmla="*/ 31 w 325"/>
              <a:gd name="T15" fmla="*/ 144 h 492"/>
              <a:gd name="T16" fmla="*/ 31 w 325"/>
              <a:gd name="T17" fmla="*/ 31 h 492"/>
              <a:gd name="T18" fmla="*/ 143 w 325"/>
              <a:gd name="T19" fmla="*/ 31 h 492"/>
              <a:gd name="T20" fmla="*/ 300 w 325"/>
              <a:gd name="T21" fmla="*/ 188 h 492"/>
              <a:gd name="T22" fmla="*/ 301 w 325"/>
              <a:gd name="T23" fmla="*/ 188 h 492"/>
              <a:gd name="T24" fmla="*/ 325 w 325"/>
              <a:gd name="T25" fmla="*/ 246 h 4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325" h="492">
                <a:moveTo>
                  <a:pt x="325" y="246"/>
                </a:moveTo>
                <a:cubicBezTo>
                  <a:pt x="325" y="269"/>
                  <a:pt x="316" y="289"/>
                  <a:pt x="301" y="304"/>
                </a:cubicBezTo>
                <a:cubicBezTo>
                  <a:pt x="300" y="304"/>
                  <a:pt x="300" y="304"/>
                  <a:pt x="300" y="304"/>
                </a:cubicBezTo>
                <a:cubicBezTo>
                  <a:pt x="143" y="461"/>
                  <a:pt x="143" y="461"/>
                  <a:pt x="143" y="461"/>
                </a:cubicBezTo>
                <a:cubicBezTo>
                  <a:pt x="112" y="492"/>
                  <a:pt x="62" y="492"/>
                  <a:pt x="31" y="461"/>
                </a:cubicBezTo>
                <a:cubicBezTo>
                  <a:pt x="0" y="430"/>
                  <a:pt x="0" y="380"/>
                  <a:pt x="31" y="349"/>
                </a:cubicBezTo>
                <a:cubicBezTo>
                  <a:pt x="134" y="246"/>
                  <a:pt x="134" y="246"/>
                  <a:pt x="134" y="246"/>
                </a:cubicBezTo>
                <a:cubicBezTo>
                  <a:pt x="31" y="144"/>
                  <a:pt x="31" y="144"/>
                  <a:pt x="31" y="144"/>
                </a:cubicBezTo>
                <a:cubicBezTo>
                  <a:pt x="0" y="113"/>
                  <a:pt x="0" y="62"/>
                  <a:pt x="31" y="31"/>
                </a:cubicBezTo>
                <a:cubicBezTo>
                  <a:pt x="62" y="0"/>
                  <a:pt x="112" y="0"/>
                  <a:pt x="143" y="31"/>
                </a:cubicBezTo>
                <a:cubicBezTo>
                  <a:pt x="300" y="188"/>
                  <a:pt x="300" y="188"/>
                  <a:pt x="300" y="188"/>
                </a:cubicBezTo>
                <a:cubicBezTo>
                  <a:pt x="301" y="188"/>
                  <a:pt x="301" y="188"/>
                  <a:pt x="301" y="188"/>
                </a:cubicBezTo>
                <a:cubicBezTo>
                  <a:pt x="316" y="203"/>
                  <a:pt x="325" y="223"/>
                  <a:pt x="325" y="246"/>
                </a:cubicBez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21" name="ïṥľíḍé">
            <a:extLst>
              <a:ext uri="{FF2B5EF4-FFF2-40B4-BE49-F238E27FC236}">
                <a16:creationId xmlns:a16="http://schemas.microsoft.com/office/drawing/2014/main" id="{618C96BB-8AED-4028-AB6E-F0FC04D69C6E}"/>
              </a:ext>
            </a:extLst>
          </p:cNvPr>
          <p:cNvSpPr>
            <a:spLocks/>
          </p:cNvSpPr>
          <p:nvPr/>
        </p:nvSpPr>
        <p:spPr bwMode="auto">
          <a:xfrm rot="16200000">
            <a:off x="10095785" y="1889604"/>
            <a:ext cx="512130" cy="422571"/>
          </a:xfrm>
          <a:custGeom>
            <a:avLst/>
            <a:gdLst>
              <a:gd name="T0" fmla="*/ 63 w 191"/>
              <a:gd name="T1" fmla="*/ 16 h 158"/>
              <a:gd name="T2" fmla="*/ 50 w 191"/>
              <a:gd name="T3" fmla="*/ 29 h 158"/>
              <a:gd name="T4" fmla="*/ 29 w 191"/>
              <a:gd name="T5" fmla="*/ 107 h 158"/>
              <a:gd name="T6" fmla="*/ 62 w 191"/>
              <a:gd name="T7" fmla="*/ 141 h 158"/>
              <a:gd name="T8" fmla="*/ 112 w 191"/>
              <a:gd name="T9" fmla="*/ 158 h 158"/>
              <a:gd name="T10" fmla="*/ 112 w 191"/>
              <a:gd name="T11" fmla="*/ 158 h 158"/>
              <a:gd name="T12" fmla="*/ 166 w 191"/>
              <a:gd name="T13" fmla="*/ 137 h 158"/>
              <a:gd name="T14" fmla="*/ 167 w 191"/>
              <a:gd name="T15" fmla="*/ 137 h 158"/>
              <a:gd name="T16" fmla="*/ 191 w 191"/>
              <a:gd name="T17" fmla="*/ 79 h 158"/>
              <a:gd name="T18" fmla="*/ 191 w 191"/>
              <a:gd name="T19" fmla="*/ 79 h 158"/>
              <a:gd name="T20" fmla="*/ 191 w 191"/>
              <a:gd name="T21" fmla="*/ 78 h 158"/>
              <a:gd name="T22" fmla="*/ 191 w 191"/>
              <a:gd name="T23" fmla="*/ 78 h 158"/>
              <a:gd name="T24" fmla="*/ 191 w 191"/>
              <a:gd name="T25" fmla="*/ 78 h 158"/>
              <a:gd name="T26" fmla="*/ 191 w 191"/>
              <a:gd name="T27" fmla="*/ 78 h 158"/>
              <a:gd name="T28" fmla="*/ 191 w 191"/>
              <a:gd name="T29" fmla="*/ 77 h 158"/>
              <a:gd name="T30" fmla="*/ 191 w 191"/>
              <a:gd name="T31" fmla="*/ 77 h 158"/>
              <a:gd name="T32" fmla="*/ 191 w 191"/>
              <a:gd name="T33" fmla="*/ 77 h 158"/>
              <a:gd name="T34" fmla="*/ 191 w 191"/>
              <a:gd name="T35" fmla="*/ 77 h 158"/>
              <a:gd name="T36" fmla="*/ 191 w 191"/>
              <a:gd name="T37" fmla="*/ 76 h 158"/>
              <a:gd name="T38" fmla="*/ 191 w 191"/>
              <a:gd name="T39" fmla="*/ 76 h 158"/>
              <a:gd name="T40" fmla="*/ 191 w 191"/>
              <a:gd name="T41" fmla="*/ 76 h 158"/>
              <a:gd name="T42" fmla="*/ 191 w 191"/>
              <a:gd name="T43" fmla="*/ 76 h 158"/>
              <a:gd name="T44" fmla="*/ 191 w 191"/>
              <a:gd name="T45" fmla="*/ 75 h 158"/>
              <a:gd name="T46" fmla="*/ 191 w 191"/>
              <a:gd name="T47" fmla="*/ 75 h 158"/>
              <a:gd name="T48" fmla="*/ 191 w 191"/>
              <a:gd name="T49" fmla="*/ 75 h 158"/>
              <a:gd name="T50" fmla="*/ 191 w 191"/>
              <a:gd name="T51" fmla="*/ 74 h 158"/>
              <a:gd name="T52" fmla="*/ 191 w 191"/>
              <a:gd name="T53" fmla="*/ 74 h 158"/>
              <a:gd name="T54" fmla="*/ 191 w 191"/>
              <a:gd name="T55" fmla="*/ 74 h 158"/>
              <a:gd name="T56" fmla="*/ 191 w 191"/>
              <a:gd name="T57" fmla="*/ 74 h 158"/>
              <a:gd name="T58" fmla="*/ 191 w 191"/>
              <a:gd name="T59" fmla="*/ 73 h 158"/>
              <a:gd name="T60" fmla="*/ 189 w 191"/>
              <a:gd name="T61" fmla="*/ 60 h 158"/>
              <a:gd name="T62" fmla="*/ 189 w 191"/>
              <a:gd name="T63" fmla="*/ 59 h 158"/>
              <a:gd name="T64" fmla="*/ 189 w 191"/>
              <a:gd name="T65" fmla="*/ 59 h 158"/>
              <a:gd name="T66" fmla="*/ 189 w 191"/>
              <a:gd name="T67" fmla="*/ 59 h 158"/>
              <a:gd name="T68" fmla="*/ 189 w 191"/>
              <a:gd name="T69" fmla="*/ 59 h 158"/>
              <a:gd name="T70" fmla="*/ 189 w 191"/>
              <a:gd name="T71" fmla="*/ 58 h 158"/>
              <a:gd name="T72" fmla="*/ 189 w 191"/>
              <a:gd name="T73" fmla="*/ 58 h 158"/>
              <a:gd name="T74" fmla="*/ 189 w 191"/>
              <a:gd name="T75" fmla="*/ 58 h 158"/>
              <a:gd name="T76" fmla="*/ 166 w 191"/>
              <a:gd name="T77" fmla="*/ 21 h 158"/>
              <a:gd name="T78" fmla="*/ 166 w 191"/>
              <a:gd name="T79" fmla="*/ 21 h 1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191" h="158">
                <a:moveTo>
                  <a:pt x="112" y="0"/>
                </a:moveTo>
                <a:cubicBezTo>
                  <a:pt x="94" y="0"/>
                  <a:pt x="77" y="6"/>
                  <a:pt x="63" y="16"/>
                </a:cubicBezTo>
                <a:cubicBezTo>
                  <a:pt x="63" y="17"/>
                  <a:pt x="62" y="17"/>
                  <a:pt x="62" y="17"/>
                </a:cubicBezTo>
                <a:cubicBezTo>
                  <a:pt x="50" y="29"/>
                  <a:pt x="50" y="29"/>
                  <a:pt x="50" y="29"/>
                </a:cubicBezTo>
                <a:cubicBezTo>
                  <a:pt x="0" y="79"/>
                  <a:pt x="0" y="79"/>
                  <a:pt x="0" y="79"/>
                </a:cubicBezTo>
                <a:cubicBezTo>
                  <a:pt x="29" y="107"/>
                  <a:pt x="29" y="107"/>
                  <a:pt x="29" y="107"/>
                </a:cubicBezTo>
                <a:cubicBezTo>
                  <a:pt x="50" y="129"/>
                  <a:pt x="50" y="129"/>
                  <a:pt x="50" y="129"/>
                </a:cubicBezTo>
                <a:cubicBezTo>
                  <a:pt x="62" y="141"/>
                  <a:pt x="62" y="141"/>
                  <a:pt x="62" y="141"/>
                </a:cubicBezTo>
                <a:cubicBezTo>
                  <a:pt x="65" y="144"/>
                  <a:pt x="69" y="146"/>
                  <a:pt x="73" y="148"/>
                </a:cubicBezTo>
                <a:cubicBezTo>
                  <a:pt x="85" y="155"/>
                  <a:pt x="98" y="158"/>
                  <a:pt x="112" y="158"/>
                </a:cubicBezTo>
                <a:cubicBezTo>
                  <a:pt x="112" y="158"/>
                  <a:pt x="112" y="158"/>
                  <a:pt x="112" y="158"/>
                </a:cubicBezTo>
                <a:cubicBezTo>
                  <a:pt x="112" y="158"/>
                  <a:pt x="112" y="158"/>
                  <a:pt x="112" y="158"/>
                </a:cubicBezTo>
                <a:cubicBezTo>
                  <a:pt x="133" y="158"/>
                  <a:pt x="152" y="150"/>
                  <a:pt x="166" y="137"/>
                </a:cubicBezTo>
                <a:cubicBezTo>
                  <a:pt x="166" y="137"/>
                  <a:pt x="166" y="137"/>
                  <a:pt x="166" y="137"/>
                </a:cubicBezTo>
                <a:cubicBezTo>
                  <a:pt x="166" y="137"/>
                  <a:pt x="166" y="137"/>
                  <a:pt x="166" y="137"/>
                </a:cubicBezTo>
                <a:cubicBezTo>
                  <a:pt x="167" y="137"/>
                  <a:pt x="167" y="137"/>
                  <a:pt x="167" y="137"/>
                </a:cubicBezTo>
                <a:cubicBezTo>
                  <a:pt x="175" y="128"/>
                  <a:pt x="182" y="118"/>
                  <a:pt x="186" y="107"/>
                </a:cubicBezTo>
                <a:cubicBezTo>
                  <a:pt x="190" y="98"/>
                  <a:pt x="191" y="89"/>
                  <a:pt x="191" y="79"/>
                </a:cubicBezTo>
                <a:cubicBezTo>
                  <a:pt x="191" y="79"/>
                  <a:pt x="191" y="79"/>
                  <a:pt x="191" y="79"/>
                </a:cubicBezTo>
                <a:cubicBezTo>
                  <a:pt x="191" y="79"/>
                  <a:pt x="191" y="79"/>
                  <a:pt x="191" y="79"/>
                </a:cubicBezTo>
                <a:cubicBezTo>
                  <a:pt x="191" y="79"/>
                  <a:pt x="191" y="79"/>
                  <a:pt x="191" y="79"/>
                </a:cubicBezTo>
                <a:cubicBezTo>
                  <a:pt x="191" y="78"/>
                  <a:pt x="191" y="78"/>
                  <a:pt x="191" y="78"/>
                </a:cubicBezTo>
                <a:cubicBezTo>
                  <a:pt x="191" y="78"/>
                  <a:pt x="191" y="78"/>
                  <a:pt x="191" y="78"/>
                </a:cubicBezTo>
                <a:cubicBezTo>
                  <a:pt x="191" y="78"/>
                  <a:pt x="191" y="78"/>
                  <a:pt x="191" y="78"/>
                </a:cubicBezTo>
                <a:cubicBezTo>
                  <a:pt x="191" y="78"/>
                  <a:pt x="191" y="78"/>
                  <a:pt x="191" y="78"/>
                </a:cubicBezTo>
                <a:cubicBezTo>
                  <a:pt x="191" y="78"/>
                  <a:pt x="191" y="78"/>
                  <a:pt x="191" y="78"/>
                </a:cubicBezTo>
                <a:cubicBezTo>
                  <a:pt x="191" y="78"/>
                  <a:pt x="191" y="78"/>
                  <a:pt x="191" y="78"/>
                </a:cubicBezTo>
                <a:cubicBezTo>
                  <a:pt x="191" y="78"/>
                  <a:pt x="191" y="78"/>
                  <a:pt x="191" y="78"/>
                </a:cubicBezTo>
                <a:cubicBezTo>
                  <a:pt x="191" y="78"/>
                  <a:pt x="191" y="78"/>
                  <a:pt x="191" y="77"/>
                </a:cubicBezTo>
                <a:cubicBezTo>
                  <a:pt x="191" y="77"/>
                  <a:pt x="191" y="77"/>
                  <a:pt x="191" y="77"/>
                </a:cubicBezTo>
                <a:cubicBezTo>
                  <a:pt x="191" y="77"/>
                  <a:pt x="191" y="77"/>
                  <a:pt x="191" y="77"/>
                </a:cubicBezTo>
                <a:cubicBezTo>
                  <a:pt x="191" y="77"/>
                  <a:pt x="191" y="77"/>
                  <a:pt x="191" y="77"/>
                </a:cubicBezTo>
                <a:cubicBezTo>
                  <a:pt x="191" y="77"/>
                  <a:pt x="191" y="77"/>
                  <a:pt x="191" y="77"/>
                </a:cubicBezTo>
                <a:cubicBezTo>
                  <a:pt x="191" y="77"/>
                  <a:pt x="191" y="77"/>
                  <a:pt x="191" y="77"/>
                </a:cubicBezTo>
                <a:cubicBezTo>
                  <a:pt x="191" y="77"/>
                  <a:pt x="191" y="77"/>
                  <a:pt x="191" y="77"/>
                </a:cubicBezTo>
                <a:cubicBezTo>
                  <a:pt x="191" y="77"/>
                  <a:pt x="191" y="77"/>
                  <a:pt x="191" y="77"/>
                </a:cubicBezTo>
                <a:cubicBezTo>
                  <a:pt x="191" y="77"/>
                  <a:pt x="191" y="76"/>
                  <a:pt x="191" y="76"/>
                </a:cubicBezTo>
                <a:cubicBezTo>
                  <a:pt x="191" y="76"/>
                  <a:pt x="191" y="76"/>
                  <a:pt x="191" y="76"/>
                </a:cubicBezTo>
                <a:cubicBezTo>
                  <a:pt x="191" y="76"/>
                  <a:pt x="191" y="76"/>
                  <a:pt x="191" y="76"/>
                </a:cubicBezTo>
                <a:cubicBezTo>
                  <a:pt x="191" y="76"/>
                  <a:pt x="191" y="76"/>
                  <a:pt x="191" y="76"/>
                </a:cubicBezTo>
                <a:cubicBezTo>
                  <a:pt x="191" y="76"/>
                  <a:pt x="191" y="76"/>
                  <a:pt x="191" y="76"/>
                </a:cubicBezTo>
                <a:cubicBezTo>
                  <a:pt x="191" y="76"/>
                  <a:pt x="191" y="76"/>
                  <a:pt x="191" y="76"/>
                </a:cubicBezTo>
                <a:cubicBezTo>
                  <a:pt x="191" y="76"/>
                  <a:pt x="191" y="76"/>
                  <a:pt x="191" y="76"/>
                </a:cubicBezTo>
                <a:cubicBezTo>
                  <a:pt x="191" y="76"/>
                  <a:pt x="191" y="76"/>
                  <a:pt x="191" y="76"/>
                </a:cubicBezTo>
                <a:cubicBezTo>
                  <a:pt x="191" y="75"/>
                  <a:pt x="191" y="75"/>
                  <a:pt x="191" y="75"/>
                </a:cubicBezTo>
                <a:cubicBezTo>
                  <a:pt x="191" y="75"/>
                  <a:pt x="191" y="75"/>
                  <a:pt x="191" y="75"/>
                </a:cubicBezTo>
                <a:cubicBezTo>
                  <a:pt x="191" y="75"/>
                  <a:pt x="191" y="75"/>
                  <a:pt x="191" y="75"/>
                </a:cubicBezTo>
                <a:cubicBezTo>
                  <a:pt x="191" y="75"/>
                  <a:pt x="191" y="75"/>
                  <a:pt x="191" y="75"/>
                </a:cubicBezTo>
                <a:cubicBezTo>
                  <a:pt x="191" y="75"/>
                  <a:pt x="191" y="75"/>
                  <a:pt x="191" y="75"/>
                </a:cubicBezTo>
                <a:cubicBezTo>
                  <a:pt x="191" y="75"/>
                  <a:pt x="191" y="75"/>
                  <a:pt x="191" y="75"/>
                </a:cubicBezTo>
                <a:cubicBezTo>
                  <a:pt x="191" y="75"/>
                  <a:pt x="191" y="75"/>
                  <a:pt x="191" y="75"/>
                </a:cubicBezTo>
                <a:cubicBezTo>
                  <a:pt x="191" y="75"/>
                  <a:pt x="191" y="75"/>
                  <a:pt x="191" y="74"/>
                </a:cubicBezTo>
                <a:cubicBezTo>
                  <a:pt x="191" y="74"/>
                  <a:pt x="191" y="74"/>
                  <a:pt x="191" y="74"/>
                </a:cubicBezTo>
                <a:cubicBezTo>
                  <a:pt x="191" y="74"/>
                  <a:pt x="191" y="74"/>
                  <a:pt x="191" y="74"/>
                </a:cubicBezTo>
                <a:cubicBezTo>
                  <a:pt x="191" y="74"/>
                  <a:pt x="191" y="74"/>
                  <a:pt x="191" y="74"/>
                </a:cubicBezTo>
                <a:cubicBezTo>
                  <a:pt x="191" y="74"/>
                  <a:pt x="191" y="74"/>
                  <a:pt x="191" y="74"/>
                </a:cubicBezTo>
                <a:cubicBezTo>
                  <a:pt x="191" y="74"/>
                  <a:pt x="191" y="74"/>
                  <a:pt x="191" y="74"/>
                </a:cubicBezTo>
                <a:cubicBezTo>
                  <a:pt x="191" y="74"/>
                  <a:pt x="191" y="74"/>
                  <a:pt x="191" y="74"/>
                </a:cubicBezTo>
                <a:cubicBezTo>
                  <a:pt x="191" y="74"/>
                  <a:pt x="191" y="74"/>
                  <a:pt x="191" y="74"/>
                </a:cubicBezTo>
                <a:cubicBezTo>
                  <a:pt x="191" y="74"/>
                  <a:pt x="191" y="74"/>
                  <a:pt x="191" y="73"/>
                </a:cubicBezTo>
                <a:cubicBezTo>
                  <a:pt x="191" y="73"/>
                  <a:pt x="191" y="73"/>
                  <a:pt x="191" y="73"/>
                </a:cubicBezTo>
                <a:cubicBezTo>
                  <a:pt x="191" y="69"/>
                  <a:pt x="190" y="64"/>
                  <a:pt x="189" y="60"/>
                </a:cubicBezTo>
                <a:cubicBezTo>
                  <a:pt x="189" y="60"/>
                  <a:pt x="189" y="60"/>
                  <a:pt x="189" y="60"/>
                </a:cubicBezTo>
                <a:cubicBezTo>
                  <a:pt x="189" y="60"/>
                  <a:pt x="189" y="60"/>
                  <a:pt x="189" y="59"/>
                </a:cubicBezTo>
                <a:cubicBezTo>
                  <a:pt x="189" y="59"/>
                  <a:pt x="189" y="59"/>
                  <a:pt x="189" y="59"/>
                </a:cubicBezTo>
                <a:cubicBezTo>
                  <a:pt x="189" y="59"/>
                  <a:pt x="189" y="59"/>
                  <a:pt x="189" y="59"/>
                </a:cubicBezTo>
                <a:cubicBezTo>
                  <a:pt x="189" y="59"/>
                  <a:pt x="189" y="59"/>
                  <a:pt x="189" y="59"/>
                </a:cubicBezTo>
                <a:cubicBezTo>
                  <a:pt x="189" y="59"/>
                  <a:pt x="189" y="59"/>
                  <a:pt x="189" y="59"/>
                </a:cubicBezTo>
                <a:cubicBezTo>
                  <a:pt x="189" y="59"/>
                  <a:pt x="189" y="59"/>
                  <a:pt x="189" y="59"/>
                </a:cubicBezTo>
                <a:cubicBezTo>
                  <a:pt x="189" y="59"/>
                  <a:pt x="189" y="59"/>
                  <a:pt x="189" y="59"/>
                </a:cubicBezTo>
                <a:cubicBezTo>
                  <a:pt x="189" y="59"/>
                  <a:pt x="189" y="59"/>
                  <a:pt x="189" y="59"/>
                </a:cubicBezTo>
                <a:cubicBezTo>
                  <a:pt x="189" y="59"/>
                  <a:pt x="189" y="59"/>
                  <a:pt x="189" y="58"/>
                </a:cubicBezTo>
                <a:cubicBezTo>
                  <a:pt x="189" y="58"/>
                  <a:pt x="189" y="58"/>
                  <a:pt x="189" y="58"/>
                </a:cubicBezTo>
                <a:cubicBezTo>
                  <a:pt x="189" y="58"/>
                  <a:pt x="189" y="58"/>
                  <a:pt x="189" y="58"/>
                </a:cubicBezTo>
                <a:cubicBezTo>
                  <a:pt x="189" y="58"/>
                  <a:pt x="189" y="58"/>
                  <a:pt x="189" y="58"/>
                </a:cubicBezTo>
                <a:cubicBezTo>
                  <a:pt x="189" y="58"/>
                  <a:pt x="189" y="58"/>
                  <a:pt x="189" y="58"/>
                </a:cubicBezTo>
                <a:cubicBezTo>
                  <a:pt x="185" y="44"/>
                  <a:pt x="177" y="31"/>
                  <a:pt x="167" y="21"/>
                </a:cubicBezTo>
                <a:cubicBezTo>
                  <a:pt x="166" y="21"/>
                  <a:pt x="166" y="21"/>
                  <a:pt x="166" y="21"/>
                </a:cubicBezTo>
                <a:cubicBezTo>
                  <a:pt x="166" y="21"/>
                  <a:pt x="166" y="21"/>
                  <a:pt x="166" y="21"/>
                </a:cubicBezTo>
                <a:cubicBezTo>
                  <a:pt x="166" y="21"/>
                  <a:pt x="166" y="21"/>
                  <a:pt x="166" y="21"/>
                </a:cubicBezTo>
                <a:cubicBezTo>
                  <a:pt x="152" y="8"/>
                  <a:pt x="133" y="0"/>
                  <a:pt x="112" y="0"/>
                </a:cubicBezTo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22" name="îSľîde">
            <a:extLst>
              <a:ext uri="{FF2B5EF4-FFF2-40B4-BE49-F238E27FC236}">
                <a16:creationId xmlns:a16="http://schemas.microsoft.com/office/drawing/2014/main" id="{01E60F6C-A93E-4962-BDE8-31733501CDEF}"/>
              </a:ext>
            </a:extLst>
          </p:cNvPr>
          <p:cNvSpPr>
            <a:spLocks/>
          </p:cNvSpPr>
          <p:nvPr/>
        </p:nvSpPr>
        <p:spPr bwMode="auto">
          <a:xfrm rot="16200000">
            <a:off x="9988565" y="2208739"/>
            <a:ext cx="514653" cy="210655"/>
          </a:xfrm>
          <a:custGeom>
            <a:avLst/>
            <a:gdLst>
              <a:gd name="T0" fmla="*/ 192 w 192"/>
              <a:gd name="T1" fmla="*/ 0 h 79"/>
              <a:gd name="T2" fmla="*/ 0 w 192"/>
              <a:gd name="T3" fmla="*/ 0 h 79"/>
              <a:gd name="T4" fmla="*/ 80 w 192"/>
              <a:gd name="T5" fmla="*/ 79 h 79"/>
              <a:gd name="T6" fmla="*/ 80 w 192"/>
              <a:gd name="T7" fmla="*/ 79 h 79"/>
              <a:gd name="T8" fmla="*/ 80 w 192"/>
              <a:gd name="T9" fmla="*/ 79 h 79"/>
              <a:gd name="T10" fmla="*/ 130 w 192"/>
              <a:gd name="T11" fmla="*/ 29 h 79"/>
              <a:gd name="T12" fmla="*/ 142 w 192"/>
              <a:gd name="T13" fmla="*/ 18 h 79"/>
              <a:gd name="T14" fmla="*/ 143 w 192"/>
              <a:gd name="T15" fmla="*/ 16 h 79"/>
              <a:gd name="T16" fmla="*/ 192 w 192"/>
              <a:gd name="T17" fmla="*/ 0 h 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92" h="79">
                <a:moveTo>
                  <a:pt x="192" y="0"/>
                </a:moveTo>
                <a:cubicBezTo>
                  <a:pt x="0" y="0"/>
                  <a:pt x="0" y="0"/>
                  <a:pt x="0" y="0"/>
                </a:cubicBezTo>
                <a:cubicBezTo>
                  <a:pt x="80" y="79"/>
                  <a:pt x="80" y="79"/>
                  <a:pt x="80" y="79"/>
                </a:cubicBezTo>
                <a:cubicBezTo>
                  <a:pt x="80" y="79"/>
                  <a:pt x="80" y="79"/>
                  <a:pt x="80" y="79"/>
                </a:cubicBezTo>
                <a:cubicBezTo>
                  <a:pt x="80" y="79"/>
                  <a:pt x="80" y="79"/>
                  <a:pt x="80" y="79"/>
                </a:cubicBezTo>
                <a:cubicBezTo>
                  <a:pt x="130" y="29"/>
                  <a:pt x="130" y="29"/>
                  <a:pt x="130" y="29"/>
                </a:cubicBezTo>
                <a:cubicBezTo>
                  <a:pt x="142" y="18"/>
                  <a:pt x="142" y="18"/>
                  <a:pt x="142" y="18"/>
                </a:cubicBezTo>
                <a:cubicBezTo>
                  <a:pt x="142" y="17"/>
                  <a:pt x="143" y="17"/>
                  <a:pt x="143" y="16"/>
                </a:cubicBezTo>
                <a:cubicBezTo>
                  <a:pt x="157" y="6"/>
                  <a:pt x="174" y="0"/>
                  <a:pt x="192" y="0"/>
                </a:cubicBezTo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23" name="isḷíḓè">
            <a:extLst>
              <a:ext uri="{FF2B5EF4-FFF2-40B4-BE49-F238E27FC236}">
                <a16:creationId xmlns:a16="http://schemas.microsoft.com/office/drawing/2014/main" id="{3DF00D7F-27E1-4B02-B52F-6D8E305481B0}"/>
              </a:ext>
            </a:extLst>
          </p:cNvPr>
          <p:cNvSpPr>
            <a:spLocks/>
          </p:cNvSpPr>
          <p:nvPr/>
        </p:nvSpPr>
        <p:spPr bwMode="auto">
          <a:xfrm rot="16200000">
            <a:off x="10199850" y="2208109"/>
            <a:ext cx="514653" cy="211916"/>
          </a:xfrm>
          <a:custGeom>
            <a:avLst/>
            <a:gdLst>
              <a:gd name="T0" fmla="*/ 80 w 192"/>
              <a:gd name="T1" fmla="*/ 0 h 79"/>
              <a:gd name="T2" fmla="*/ 0 w 192"/>
              <a:gd name="T3" fmla="*/ 79 h 79"/>
              <a:gd name="T4" fmla="*/ 192 w 192"/>
              <a:gd name="T5" fmla="*/ 79 h 79"/>
              <a:gd name="T6" fmla="*/ 192 w 192"/>
              <a:gd name="T7" fmla="*/ 79 h 79"/>
              <a:gd name="T8" fmla="*/ 153 w 192"/>
              <a:gd name="T9" fmla="*/ 69 h 79"/>
              <a:gd name="T10" fmla="*/ 142 w 192"/>
              <a:gd name="T11" fmla="*/ 62 h 79"/>
              <a:gd name="T12" fmla="*/ 130 w 192"/>
              <a:gd name="T13" fmla="*/ 50 h 79"/>
              <a:gd name="T14" fmla="*/ 109 w 192"/>
              <a:gd name="T15" fmla="*/ 28 h 79"/>
              <a:gd name="T16" fmla="*/ 80 w 192"/>
              <a:gd name="T17" fmla="*/ 0 h 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92" h="79">
                <a:moveTo>
                  <a:pt x="80" y="0"/>
                </a:moveTo>
                <a:cubicBezTo>
                  <a:pt x="0" y="79"/>
                  <a:pt x="0" y="79"/>
                  <a:pt x="0" y="79"/>
                </a:cubicBezTo>
                <a:cubicBezTo>
                  <a:pt x="192" y="79"/>
                  <a:pt x="192" y="79"/>
                  <a:pt x="192" y="79"/>
                </a:cubicBezTo>
                <a:cubicBezTo>
                  <a:pt x="192" y="79"/>
                  <a:pt x="192" y="79"/>
                  <a:pt x="192" y="79"/>
                </a:cubicBezTo>
                <a:cubicBezTo>
                  <a:pt x="178" y="79"/>
                  <a:pt x="165" y="76"/>
                  <a:pt x="153" y="69"/>
                </a:cubicBezTo>
                <a:cubicBezTo>
                  <a:pt x="149" y="67"/>
                  <a:pt x="145" y="65"/>
                  <a:pt x="142" y="62"/>
                </a:cubicBezTo>
                <a:cubicBezTo>
                  <a:pt x="130" y="50"/>
                  <a:pt x="130" y="50"/>
                  <a:pt x="130" y="50"/>
                </a:cubicBezTo>
                <a:cubicBezTo>
                  <a:pt x="109" y="28"/>
                  <a:pt x="109" y="28"/>
                  <a:pt x="109" y="28"/>
                </a:cubicBezTo>
                <a:cubicBezTo>
                  <a:pt x="80" y="0"/>
                  <a:pt x="80" y="0"/>
                  <a:pt x="80" y="0"/>
                </a:cubicBezTo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24" name="iṥļíďê">
            <a:extLst>
              <a:ext uri="{FF2B5EF4-FFF2-40B4-BE49-F238E27FC236}">
                <a16:creationId xmlns:a16="http://schemas.microsoft.com/office/drawing/2014/main" id="{3F9947D7-CD37-4281-93BA-E9B103B3C791}"/>
              </a:ext>
            </a:extLst>
          </p:cNvPr>
          <p:cNvSpPr/>
          <p:nvPr/>
        </p:nvSpPr>
        <p:spPr>
          <a:xfrm>
            <a:off x="10238983" y="1935214"/>
            <a:ext cx="221950" cy="221609"/>
          </a:xfrm>
          <a:custGeom>
            <a:avLst/>
            <a:gdLst>
              <a:gd name="connsiteX0" fmla="*/ 325000 h 606722"/>
              <a:gd name="connsiteY0" fmla="*/ 325000 h 606722"/>
              <a:gd name="connsiteX1" fmla="*/ 325000 h 606722"/>
              <a:gd name="connsiteY1" fmla="*/ 325000 h 606722"/>
              <a:gd name="connsiteX2" fmla="*/ 325000 h 606722"/>
              <a:gd name="connsiteY2" fmla="*/ 325000 h 606722"/>
              <a:gd name="connsiteX3" fmla="*/ 325000 h 606722"/>
              <a:gd name="connsiteY3" fmla="*/ 325000 h 606722"/>
              <a:gd name="connsiteX4" fmla="*/ 325000 h 606722"/>
              <a:gd name="connsiteY4" fmla="*/ 325000 h 606722"/>
              <a:gd name="connsiteX5" fmla="*/ 325000 h 606722"/>
              <a:gd name="connsiteY5" fmla="*/ 325000 h 606722"/>
              <a:gd name="connsiteX6" fmla="*/ 325000 h 606722"/>
              <a:gd name="connsiteY6" fmla="*/ 325000 h 606722"/>
              <a:gd name="connsiteX7" fmla="*/ 325000 h 606722"/>
              <a:gd name="connsiteY7" fmla="*/ 325000 h 606722"/>
              <a:gd name="connsiteX8" fmla="*/ 325000 h 606722"/>
              <a:gd name="connsiteY8" fmla="*/ 325000 h 606722"/>
              <a:gd name="connsiteX9" fmla="*/ 325000 h 606722"/>
              <a:gd name="connsiteY9" fmla="*/ 325000 h 606722"/>
              <a:gd name="connsiteX10" fmla="*/ 325000 h 606722"/>
              <a:gd name="connsiteY10" fmla="*/ 325000 h 606722"/>
              <a:gd name="connsiteX11" fmla="*/ 325000 h 606722"/>
              <a:gd name="connsiteY11" fmla="*/ 325000 h 606722"/>
              <a:gd name="connsiteX12" fmla="*/ 325000 h 606722"/>
              <a:gd name="connsiteY12" fmla="*/ 325000 h 606722"/>
              <a:gd name="connsiteX13" fmla="*/ 325000 h 606722"/>
              <a:gd name="connsiteY13" fmla="*/ 325000 h 606722"/>
              <a:gd name="connsiteX14" fmla="*/ 325000 h 606722"/>
              <a:gd name="connsiteY14" fmla="*/ 325000 h 606722"/>
              <a:gd name="connsiteX15" fmla="*/ 325000 h 606722"/>
              <a:gd name="connsiteY15" fmla="*/ 325000 h 606722"/>
              <a:gd name="connsiteX16" fmla="*/ 325000 h 606722"/>
              <a:gd name="connsiteY16" fmla="*/ 325000 h 606722"/>
              <a:gd name="connsiteX17" fmla="*/ 325000 h 606722"/>
              <a:gd name="connsiteY17" fmla="*/ 325000 h 606722"/>
              <a:gd name="connsiteX18" fmla="*/ 325000 h 606722"/>
              <a:gd name="connsiteY18" fmla="*/ 325000 h 606722"/>
              <a:gd name="connsiteX19" fmla="*/ 325000 h 606722"/>
              <a:gd name="connsiteY19" fmla="*/ 325000 h 606722"/>
              <a:gd name="connsiteX20" fmla="*/ 325000 h 606722"/>
              <a:gd name="connsiteY20" fmla="*/ 325000 h 606722"/>
              <a:gd name="connsiteX21" fmla="*/ 325000 h 606722"/>
              <a:gd name="connsiteY21" fmla="*/ 325000 h 606722"/>
              <a:gd name="connsiteX22" fmla="*/ 325000 h 606722"/>
              <a:gd name="connsiteY22" fmla="*/ 325000 h 606722"/>
              <a:gd name="connsiteX23" fmla="*/ 325000 h 606722"/>
              <a:gd name="connsiteY23" fmla="*/ 325000 h 606722"/>
              <a:gd name="connsiteX24" fmla="*/ 325000 h 606722"/>
              <a:gd name="connsiteY24" fmla="*/ 325000 h 606722"/>
              <a:gd name="connsiteX25" fmla="*/ 325000 h 606722"/>
              <a:gd name="connsiteY25" fmla="*/ 325000 h 606722"/>
              <a:gd name="connsiteX26" fmla="*/ 325000 h 606722"/>
              <a:gd name="connsiteY26" fmla="*/ 325000 h 606722"/>
              <a:gd name="connsiteX27" fmla="*/ 325000 h 606722"/>
              <a:gd name="connsiteY27" fmla="*/ 325000 h 606722"/>
              <a:gd name="connsiteX28" fmla="*/ 325000 h 606722"/>
              <a:gd name="connsiteY28" fmla="*/ 325000 h 606722"/>
              <a:gd name="connsiteX29" fmla="*/ 325000 h 606722"/>
              <a:gd name="connsiteY29" fmla="*/ 325000 h 606722"/>
              <a:gd name="connsiteX30" fmla="*/ 325000 h 606722"/>
              <a:gd name="connsiteY30" fmla="*/ 325000 h 606722"/>
              <a:gd name="connsiteX31" fmla="*/ 325000 h 606722"/>
              <a:gd name="connsiteY31" fmla="*/ 325000 h 606722"/>
              <a:gd name="connsiteX32" fmla="*/ 325000 h 606722"/>
              <a:gd name="connsiteY32" fmla="*/ 325000 h 606722"/>
              <a:gd name="connsiteX33" fmla="*/ 325000 h 606722"/>
              <a:gd name="connsiteY33" fmla="*/ 325000 h 606722"/>
              <a:gd name="connsiteX34" fmla="*/ 325000 h 606722"/>
              <a:gd name="connsiteY34" fmla="*/ 325000 h 606722"/>
              <a:gd name="connsiteX35" fmla="*/ 325000 h 606722"/>
              <a:gd name="connsiteY35" fmla="*/ 325000 h 606722"/>
              <a:gd name="connsiteX36" fmla="*/ 325000 h 606722"/>
              <a:gd name="connsiteY36" fmla="*/ 325000 h 606722"/>
              <a:gd name="connsiteX37" fmla="*/ 325000 h 606722"/>
              <a:gd name="connsiteY37" fmla="*/ 325000 h 606722"/>
              <a:gd name="connsiteX38" fmla="*/ 325000 h 606722"/>
              <a:gd name="connsiteY38" fmla="*/ 325000 h 606722"/>
              <a:gd name="connsiteX39" fmla="*/ 325000 h 606722"/>
              <a:gd name="connsiteY39" fmla="*/ 325000 h 606722"/>
              <a:gd name="connsiteX40" fmla="*/ 325000 h 606722"/>
              <a:gd name="connsiteY40" fmla="*/ 325000 h 606722"/>
              <a:gd name="connsiteX41" fmla="*/ 325000 h 606722"/>
              <a:gd name="connsiteY41" fmla="*/ 325000 h 606722"/>
              <a:gd name="connsiteX42" fmla="*/ 325000 h 606722"/>
              <a:gd name="connsiteY42" fmla="*/ 325000 h 606722"/>
              <a:gd name="connsiteX43" fmla="*/ 325000 h 606722"/>
              <a:gd name="connsiteY43" fmla="*/ 325000 h 606722"/>
              <a:gd name="connsiteX44" fmla="*/ 325000 h 606722"/>
              <a:gd name="connsiteY44" fmla="*/ 325000 h 606722"/>
              <a:gd name="connsiteX45" fmla="*/ 325000 h 606722"/>
              <a:gd name="connsiteY45" fmla="*/ 325000 h 606722"/>
              <a:gd name="connsiteX46" fmla="*/ 325000 h 606722"/>
              <a:gd name="connsiteY46" fmla="*/ 325000 h 606722"/>
              <a:gd name="connsiteX47" fmla="*/ 325000 h 606722"/>
              <a:gd name="connsiteY47" fmla="*/ 325000 h 606722"/>
              <a:gd name="connsiteX48" fmla="*/ 325000 h 606722"/>
              <a:gd name="connsiteY48" fmla="*/ 325000 h 606722"/>
              <a:gd name="connsiteX49" fmla="*/ 325000 h 606722"/>
              <a:gd name="connsiteY49" fmla="*/ 325000 h 606722"/>
              <a:gd name="connsiteX50" fmla="*/ 325000 h 606722"/>
              <a:gd name="connsiteY50" fmla="*/ 325000 h 606722"/>
              <a:gd name="connsiteX51" fmla="*/ 325000 h 606722"/>
              <a:gd name="connsiteY51" fmla="*/ 325000 h 606722"/>
              <a:gd name="connsiteX52" fmla="*/ 325000 h 606722"/>
              <a:gd name="connsiteY52" fmla="*/ 325000 h 606722"/>
              <a:gd name="connsiteX53" fmla="*/ 325000 h 606722"/>
              <a:gd name="connsiteY53" fmla="*/ 325000 h 606722"/>
              <a:gd name="connsiteX54" fmla="*/ 325000 h 606722"/>
              <a:gd name="connsiteY54" fmla="*/ 325000 h 606722"/>
              <a:gd name="connsiteX55" fmla="*/ 325000 h 606722"/>
              <a:gd name="connsiteY55" fmla="*/ 325000 h 606722"/>
              <a:gd name="connsiteX56" fmla="*/ 325000 h 606722"/>
              <a:gd name="connsiteY56" fmla="*/ 325000 h 606722"/>
              <a:gd name="connsiteX57" fmla="*/ 325000 h 606722"/>
              <a:gd name="connsiteY57" fmla="*/ 325000 h 606722"/>
              <a:gd name="connsiteX58" fmla="*/ 325000 h 606722"/>
              <a:gd name="connsiteY58" fmla="*/ 325000 h 606722"/>
              <a:gd name="connsiteX59" fmla="*/ 325000 h 606722"/>
              <a:gd name="connsiteY59" fmla="*/ 325000 h 606722"/>
              <a:gd name="connsiteX60" fmla="*/ 325000 h 606722"/>
              <a:gd name="connsiteY60" fmla="*/ 325000 h 606722"/>
              <a:gd name="connsiteX61" fmla="*/ 325000 h 606722"/>
              <a:gd name="connsiteY61" fmla="*/ 325000 h 606722"/>
              <a:gd name="connsiteX62" fmla="*/ 325000 h 606722"/>
              <a:gd name="connsiteY62" fmla="*/ 325000 h 606722"/>
              <a:gd name="connsiteX63" fmla="*/ 325000 h 606722"/>
              <a:gd name="connsiteY63" fmla="*/ 325000 h 606722"/>
              <a:gd name="connsiteX64" fmla="*/ 325000 h 606722"/>
              <a:gd name="connsiteY64" fmla="*/ 325000 h 606722"/>
              <a:gd name="connsiteX65" fmla="*/ 325000 h 606722"/>
              <a:gd name="connsiteY65" fmla="*/ 325000 h 606722"/>
              <a:gd name="connsiteX66" fmla="*/ 325000 h 606722"/>
              <a:gd name="connsiteY66" fmla="*/ 325000 h 606722"/>
              <a:gd name="connsiteX67" fmla="*/ 325000 h 606722"/>
              <a:gd name="connsiteY67" fmla="*/ 325000 h 606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</a:cxnLst>
            <a:rect l="l" t="t" r="r" b="b"/>
            <a:pathLst>
              <a:path w="607535" h="606604">
                <a:moveTo>
                  <a:pt x="394900" y="353768"/>
                </a:moveTo>
                <a:cubicBezTo>
                  <a:pt x="400507" y="353768"/>
                  <a:pt x="405045" y="358301"/>
                  <a:pt x="405045" y="363900"/>
                </a:cubicBezTo>
                <a:lnTo>
                  <a:pt x="405045" y="515616"/>
                </a:lnTo>
                <a:cubicBezTo>
                  <a:pt x="405045" y="543435"/>
                  <a:pt x="382353" y="566099"/>
                  <a:pt x="354410" y="566099"/>
                </a:cubicBezTo>
                <a:lnTo>
                  <a:pt x="212649" y="566099"/>
                </a:lnTo>
                <a:cubicBezTo>
                  <a:pt x="207131" y="566099"/>
                  <a:pt x="202593" y="561566"/>
                  <a:pt x="202593" y="556056"/>
                </a:cubicBezTo>
                <a:cubicBezTo>
                  <a:pt x="202593" y="550457"/>
                  <a:pt x="207131" y="545924"/>
                  <a:pt x="212649" y="545924"/>
                </a:cubicBezTo>
                <a:lnTo>
                  <a:pt x="354410" y="545924"/>
                </a:lnTo>
                <a:cubicBezTo>
                  <a:pt x="371140" y="545924"/>
                  <a:pt x="384845" y="532325"/>
                  <a:pt x="384845" y="515616"/>
                </a:cubicBezTo>
                <a:lnTo>
                  <a:pt x="384845" y="363900"/>
                </a:lnTo>
                <a:cubicBezTo>
                  <a:pt x="384845" y="358301"/>
                  <a:pt x="389294" y="353768"/>
                  <a:pt x="394900" y="353768"/>
                </a:cubicBezTo>
                <a:close/>
                <a:moveTo>
                  <a:pt x="131640" y="262739"/>
                </a:moveTo>
                <a:cubicBezTo>
                  <a:pt x="137236" y="262739"/>
                  <a:pt x="141766" y="267271"/>
                  <a:pt x="141766" y="272870"/>
                </a:cubicBezTo>
                <a:lnTo>
                  <a:pt x="141766" y="333565"/>
                </a:lnTo>
                <a:cubicBezTo>
                  <a:pt x="141766" y="339075"/>
                  <a:pt x="137236" y="343607"/>
                  <a:pt x="131640" y="343607"/>
                </a:cubicBezTo>
                <a:cubicBezTo>
                  <a:pt x="126044" y="343607"/>
                  <a:pt x="121514" y="339075"/>
                  <a:pt x="121514" y="333565"/>
                </a:cubicBezTo>
                <a:lnTo>
                  <a:pt x="121514" y="272870"/>
                </a:lnTo>
                <a:cubicBezTo>
                  <a:pt x="121514" y="267271"/>
                  <a:pt x="126044" y="262739"/>
                  <a:pt x="131640" y="262739"/>
                </a:cubicBezTo>
                <a:close/>
                <a:moveTo>
                  <a:pt x="489057" y="194973"/>
                </a:moveTo>
                <a:cubicBezTo>
                  <a:pt x="492973" y="190974"/>
                  <a:pt x="499381" y="190974"/>
                  <a:pt x="503386" y="194973"/>
                </a:cubicBezTo>
                <a:lnTo>
                  <a:pt x="604576" y="296095"/>
                </a:lnTo>
                <a:cubicBezTo>
                  <a:pt x="605555" y="296983"/>
                  <a:pt x="606267" y="298138"/>
                  <a:pt x="606801" y="299383"/>
                </a:cubicBezTo>
                <a:cubicBezTo>
                  <a:pt x="607780" y="301871"/>
                  <a:pt x="607780" y="304625"/>
                  <a:pt x="606801" y="307113"/>
                </a:cubicBezTo>
                <a:cubicBezTo>
                  <a:pt x="606267" y="308357"/>
                  <a:pt x="605555" y="309424"/>
                  <a:pt x="604576" y="310401"/>
                </a:cubicBezTo>
                <a:lnTo>
                  <a:pt x="503386" y="411434"/>
                </a:lnTo>
                <a:cubicBezTo>
                  <a:pt x="501339" y="413478"/>
                  <a:pt x="498758" y="414455"/>
                  <a:pt x="496177" y="414455"/>
                </a:cubicBezTo>
                <a:cubicBezTo>
                  <a:pt x="493596" y="414455"/>
                  <a:pt x="491015" y="413478"/>
                  <a:pt x="489057" y="411434"/>
                </a:cubicBezTo>
                <a:cubicBezTo>
                  <a:pt x="485052" y="407524"/>
                  <a:pt x="485052" y="401126"/>
                  <a:pt x="489057" y="397217"/>
                </a:cubicBezTo>
                <a:lnTo>
                  <a:pt x="572982" y="313333"/>
                </a:lnTo>
                <a:lnTo>
                  <a:pt x="232921" y="313333"/>
                </a:lnTo>
                <a:cubicBezTo>
                  <a:pt x="227314" y="313333"/>
                  <a:pt x="222775" y="308802"/>
                  <a:pt x="222775" y="303203"/>
                </a:cubicBezTo>
                <a:cubicBezTo>
                  <a:pt x="222775" y="297605"/>
                  <a:pt x="227314" y="293074"/>
                  <a:pt x="232921" y="293074"/>
                </a:cubicBezTo>
                <a:lnTo>
                  <a:pt x="572982" y="293074"/>
                </a:lnTo>
                <a:lnTo>
                  <a:pt x="489057" y="209279"/>
                </a:lnTo>
                <a:cubicBezTo>
                  <a:pt x="485052" y="205281"/>
                  <a:pt x="485052" y="198883"/>
                  <a:pt x="489057" y="194973"/>
                </a:cubicBezTo>
                <a:close/>
                <a:moveTo>
                  <a:pt x="211398" y="40317"/>
                </a:moveTo>
                <a:lnTo>
                  <a:pt x="354409" y="40317"/>
                </a:lnTo>
                <a:cubicBezTo>
                  <a:pt x="382353" y="40317"/>
                  <a:pt x="405046" y="62981"/>
                  <a:pt x="405046" y="90889"/>
                </a:cubicBezTo>
                <a:lnTo>
                  <a:pt x="405046" y="242605"/>
                </a:lnTo>
                <a:cubicBezTo>
                  <a:pt x="405046" y="248115"/>
                  <a:pt x="400508" y="252648"/>
                  <a:pt x="394901" y="252648"/>
                </a:cubicBezTo>
                <a:cubicBezTo>
                  <a:pt x="389295" y="252648"/>
                  <a:pt x="384845" y="248115"/>
                  <a:pt x="384845" y="242605"/>
                </a:cubicBezTo>
                <a:lnTo>
                  <a:pt x="384845" y="90889"/>
                </a:lnTo>
                <a:cubicBezTo>
                  <a:pt x="384845" y="74180"/>
                  <a:pt x="371140" y="60581"/>
                  <a:pt x="354409" y="60581"/>
                </a:cubicBezTo>
                <a:lnTo>
                  <a:pt x="211398" y="60581"/>
                </a:lnTo>
                <a:cubicBezTo>
                  <a:pt x="205791" y="60581"/>
                  <a:pt x="201253" y="56048"/>
                  <a:pt x="201253" y="50449"/>
                </a:cubicBezTo>
                <a:cubicBezTo>
                  <a:pt x="201253" y="44850"/>
                  <a:pt x="205791" y="40317"/>
                  <a:pt x="211398" y="40317"/>
                </a:cubicBezTo>
                <a:close/>
                <a:moveTo>
                  <a:pt x="147115" y="20146"/>
                </a:moveTo>
                <a:cubicBezTo>
                  <a:pt x="144890" y="20146"/>
                  <a:pt x="142576" y="20590"/>
                  <a:pt x="140084" y="21568"/>
                </a:cubicBezTo>
                <a:lnTo>
                  <a:pt x="44232" y="59782"/>
                </a:lnTo>
                <a:cubicBezTo>
                  <a:pt x="24919" y="66981"/>
                  <a:pt x="20292" y="73024"/>
                  <a:pt x="20292" y="90887"/>
                </a:cubicBezTo>
                <a:lnTo>
                  <a:pt x="20292" y="515689"/>
                </a:lnTo>
                <a:cubicBezTo>
                  <a:pt x="20292" y="533464"/>
                  <a:pt x="24919" y="539596"/>
                  <a:pt x="44054" y="546616"/>
                </a:cubicBezTo>
                <a:lnTo>
                  <a:pt x="140262" y="585098"/>
                </a:lnTo>
                <a:cubicBezTo>
                  <a:pt x="142576" y="585897"/>
                  <a:pt x="144890" y="586431"/>
                  <a:pt x="147115" y="586431"/>
                </a:cubicBezTo>
                <a:cubicBezTo>
                  <a:pt x="156015" y="586431"/>
                  <a:pt x="161978" y="578254"/>
                  <a:pt x="161978" y="566257"/>
                </a:cubicBezTo>
                <a:lnTo>
                  <a:pt x="161978" y="40319"/>
                </a:lnTo>
                <a:cubicBezTo>
                  <a:pt x="161978" y="28233"/>
                  <a:pt x="156015" y="20146"/>
                  <a:pt x="147115" y="20146"/>
                </a:cubicBezTo>
                <a:close/>
                <a:moveTo>
                  <a:pt x="151669" y="315"/>
                </a:moveTo>
                <a:cubicBezTo>
                  <a:pt x="169354" y="2727"/>
                  <a:pt x="182270" y="18724"/>
                  <a:pt x="182270" y="40319"/>
                </a:cubicBezTo>
                <a:lnTo>
                  <a:pt x="182270" y="566257"/>
                </a:lnTo>
                <a:cubicBezTo>
                  <a:pt x="182270" y="589630"/>
                  <a:pt x="167496" y="606604"/>
                  <a:pt x="147115" y="606604"/>
                </a:cubicBezTo>
                <a:cubicBezTo>
                  <a:pt x="142487" y="606604"/>
                  <a:pt x="137681" y="605716"/>
                  <a:pt x="132964" y="603938"/>
                </a:cubicBezTo>
                <a:lnTo>
                  <a:pt x="36756" y="565457"/>
                </a:lnTo>
                <a:cubicBezTo>
                  <a:pt x="10057" y="555592"/>
                  <a:pt x="0" y="542084"/>
                  <a:pt x="0" y="515689"/>
                </a:cubicBezTo>
                <a:lnTo>
                  <a:pt x="0" y="90887"/>
                </a:lnTo>
                <a:cubicBezTo>
                  <a:pt x="0" y="64492"/>
                  <a:pt x="10057" y="50895"/>
                  <a:pt x="37023" y="40942"/>
                </a:cubicBezTo>
                <a:lnTo>
                  <a:pt x="132697" y="2727"/>
                </a:lnTo>
                <a:cubicBezTo>
                  <a:pt x="139350" y="217"/>
                  <a:pt x="145774" y="-489"/>
                  <a:pt x="151669" y="315"/>
                </a:cubicBezTo>
                <a:close/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7" name="îš1íďe">
            <a:extLst>
              <a:ext uri="{FF2B5EF4-FFF2-40B4-BE49-F238E27FC236}">
                <a16:creationId xmlns:a16="http://schemas.microsoft.com/office/drawing/2014/main" id="{56257A5D-CF28-4CE1-A8BD-6C01EBB84E6B}"/>
              </a:ext>
            </a:extLst>
          </p:cNvPr>
          <p:cNvSpPr>
            <a:spLocks/>
          </p:cNvSpPr>
          <p:nvPr/>
        </p:nvSpPr>
        <p:spPr bwMode="auto">
          <a:xfrm>
            <a:off x="9267831" y="4284195"/>
            <a:ext cx="2164253" cy="5573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90000" anchor="t" anchorCtr="0">
            <a:normAutofit/>
          </a:bodyPr>
          <a:lstStyle/>
          <a:p>
            <a:pPr algn="ctr" eaLnBrk="1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zh-CN" altLang="en-US" sz="1000"/>
              <a:t>此部分内容作为文字排版占位显示</a:t>
            </a:r>
            <a:br>
              <a:rPr lang="zh-CN" altLang="en-US" sz="1000"/>
            </a:br>
            <a:r>
              <a:rPr lang="zh-CN" altLang="en-US" sz="1000"/>
              <a:t> （建议使用主题字体）</a:t>
            </a:r>
            <a:endParaRPr lang="zh-CN" altLang="en-US" sz="1000" dirty="0"/>
          </a:p>
        </p:txBody>
      </p:sp>
      <p:sp>
        <p:nvSpPr>
          <p:cNvPr id="18" name="îṣḷîḑê">
            <a:extLst>
              <a:ext uri="{FF2B5EF4-FFF2-40B4-BE49-F238E27FC236}">
                <a16:creationId xmlns:a16="http://schemas.microsoft.com/office/drawing/2014/main" id="{457C90BF-1FEF-4110-85AC-278738A921B9}"/>
              </a:ext>
            </a:extLst>
          </p:cNvPr>
          <p:cNvSpPr txBox="1">
            <a:spLocks/>
          </p:cNvSpPr>
          <p:nvPr/>
        </p:nvSpPr>
        <p:spPr bwMode="auto">
          <a:xfrm>
            <a:off x="9267831" y="3933056"/>
            <a:ext cx="2164253" cy="3511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0000">
            <a:normAutofit lnSpcReduction="10000"/>
          </a:bodyPr>
          <a:lstStyle/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zh-CN" altLang="en-US" sz="1800" b="1">
                <a:solidFill>
                  <a:schemeClr val="accent1"/>
                </a:solidFill>
              </a:rPr>
              <a:t>标题文本预设</a:t>
            </a:r>
            <a:endParaRPr lang="zh-CN" altLang="en-US" sz="1800" b="1" dirty="0">
              <a:solidFill>
                <a:schemeClr val="accent1"/>
              </a:solidFill>
            </a:endParaRPr>
          </a:p>
        </p:txBody>
      </p:sp>
      <p:cxnSp>
        <p:nvCxnSpPr>
          <p:cNvPr id="13" name="直接连接符 12">
            <a:extLst>
              <a:ext uri="{FF2B5EF4-FFF2-40B4-BE49-F238E27FC236}">
                <a16:creationId xmlns:a16="http://schemas.microsoft.com/office/drawing/2014/main" id="{9C2067E5-6EAA-4F6A-9E2C-9510FBFB9629}"/>
              </a:ext>
            </a:extLst>
          </p:cNvPr>
          <p:cNvCxnSpPr/>
          <p:nvPr/>
        </p:nvCxnSpPr>
        <p:spPr>
          <a:xfrm>
            <a:off x="2924169" y="3861048"/>
            <a:ext cx="0" cy="1512168"/>
          </a:xfrm>
          <a:prstGeom prst="line">
            <a:avLst/>
          </a:prstGeom>
          <a:ln w="3175" cap="rnd">
            <a:solidFill>
              <a:schemeClr val="bg1">
                <a:lumMod val="8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接连接符 13">
            <a:extLst>
              <a:ext uri="{FF2B5EF4-FFF2-40B4-BE49-F238E27FC236}">
                <a16:creationId xmlns:a16="http://schemas.microsoft.com/office/drawing/2014/main" id="{CBC3E36C-B9DA-411D-991D-FD2A4F72F2DA}"/>
              </a:ext>
            </a:extLst>
          </p:cNvPr>
          <p:cNvCxnSpPr/>
          <p:nvPr/>
        </p:nvCxnSpPr>
        <p:spPr>
          <a:xfrm>
            <a:off x="5051148" y="3861048"/>
            <a:ext cx="0" cy="1512168"/>
          </a:xfrm>
          <a:prstGeom prst="line">
            <a:avLst/>
          </a:prstGeom>
          <a:ln w="3175" cap="rnd">
            <a:solidFill>
              <a:schemeClr val="bg1">
                <a:lumMod val="8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直接连接符 14">
            <a:extLst>
              <a:ext uri="{FF2B5EF4-FFF2-40B4-BE49-F238E27FC236}">
                <a16:creationId xmlns:a16="http://schemas.microsoft.com/office/drawing/2014/main" id="{838B2182-6B88-43D3-BCE4-75005BD07BF1}"/>
              </a:ext>
            </a:extLst>
          </p:cNvPr>
          <p:cNvCxnSpPr/>
          <p:nvPr/>
        </p:nvCxnSpPr>
        <p:spPr>
          <a:xfrm>
            <a:off x="7140853" y="3861048"/>
            <a:ext cx="0" cy="1512168"/>
          </a:xfrm>
          <a:prstGeom prst="line">
            <a:avLst/>
          </a:prstGeom>
          <a:ln w="3175" cap="rnd">
            <a:solidFill>
              <a:schemeClr val="bg1">
                <a:lumMod val="8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直接连接符 15">
            <a:extLst>
              <a:ext uri="{FF2B5EF4-FFF2-40B4-BE49-F238E27FC236}">
                <a16:creationId xmlns:a16="http://schemas.microsoft.com/office/drawing/2014/main" id="{42AA7FC9-E7A4-4A5E-A277-AE8D085170EA}"/>
              </a:ext>
            </a:extLst>
          </p:cNvPr>
          <p:cNvCxnSpPr/>
          <p:nvPr/>
        </p:nvCxnSpPr>
        <p:spPr>
          <a:xfrm>
            <a:off x="9305106" y="3861048"/>
            <a:ext cx="0" cy="1512168"/>
          </a:xfrm>
          <a:prstGeom prst="line">
            <a:avLst/>
          </a:prstGeom>
          <a:ln w="3175" cap="rnd">
            <a:solidFill>
              <a:schemeClr val="bg1">
                <a:lumMod val="8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063093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1897e3a9-8827-49dd-adf5-7ccddbb2c8f8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KmY50ZQfW1oQXNt4Mjl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C16GXuQ6mHFBVTrM2t9A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127929"/>
      </a:accent1>
      <a:accent2>
        <a:srgbClr val="7DBD14"/>
      </a:accent2>
      <a:accent3>
        <a:srgbClr val="42B704"/>
      </a:accent3>
      <a:accent4>
        <a:srgbClr val="475059"/>
      </a:accent4>
      <a:accent5>
        <a:srgbClr val="828E97"/>
      </a:accent5>
      <a:accent6>
        <a:srgbClr val="525252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27929"/>
    </a:accent1>
    <a:accent2>
      <a:srgbClr val="7DBD14"/>
    </a:accent2>
    <a:accent3>
      <a:srgbClr val="42B704"/>
    </a:accent3>
    <a:accent4>
      <a:srgbClr val="475059"/>
    </a:accent4>
    <a:accent5>
      <a:srgbClr val="828E97"/>
    </a:accent5>
    <a:accent6>
      <a:srgbClr val="525252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27929"/>
    </a:accent1>
    <a:accent2>
      <a:srgbClr val="7DBD14"/>
    </a:accent2>
    <a:accent3>
      <a:srgbClr val="42B704"/>
    </a:accent3>
    <a:accent4>
      <a:srgbClr val="475059"/>
    </a:accent4>
    <a:accent5>
      <a:srgbClr val="828E97"/>
    </a:accent5>
    <a:accent6>
      <a:srgbClr val="525252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27929"/>
    </a:accent1>
    <a:accent2>
      <a:srgbClr val="7DBD14"/>
    </a:accent2>
    <a:accent3>
      <a:srgbClr val="42B704"/>
    </a:accent3>
    <a:accent4>
      <a:srgbClr val="475059"/>
    </a:accent4>
    <a:accent5>
      <a:srgbClr val="828E97"/>
    </a:accent5>
    <a:accent6>
      <a:srgbClr val="525252"/>
    </a:accent6>
    <a:hlink>
      <a:srgbClr val="4276AA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27929"/>
    </a:accent1>
    <a:accent2>
      <a:srgbClr val="7DBD14"/>
    </a:accent2>
    <a:accent3>
      <a:srgbClr val="42B704"/>
    </a:accent3>
    <a:accent4>
      <a:srgbClr val="475059"/>
    </a:accent4>
    <a:accent5>
      <a:srgbClr val="828E97"/>
    </a:accent5>
    <a:accent6>
      <a:srgbClr val="525252"/>
    </a:accent6>
    <a:hlink>
      <a:srgbClr val="4276AA"/>
    </a:hlink>
    <a:folHlink>
      <a:srgbClr val="BFBFBF"/>
    </a:folHlink>
  </a:clrScheme>
</a:themeOverride>
</file>

<file path=ppt/theme/themeOverride5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27929"/>
    </a:accent1>
    <a:accent2>
      <a:srgbClr val="7DBD14"/>
    </a:accent2>
    <a:accent3>
      <a:srgbClr val="42B704"/>
    </a:accent3>
    <a:accent4>
      <a:srgbClr val="475059"/>
    </a:accent4>
    <a:accent5>
      <a:srgbClr val="828E97"/>
    </a:accent5>
    <a:accent6>
      <a:srgbClr val="525252"/>
    </a:accent6>
    <a:hlink>
      <a:srgbClr val="4276AA"/>
    </a:hlink>
    <a:folHlink>
      <a:srgbClr val="BFBFBF"/>
    </a:folHlink>
  </a:clrScheme>
</a:themeOverride>
</file>

<file path=ppt/theme/themeOverride6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27929"/>
    </a:accent1>
    <a:accent2>
      <a:srgbClr val="7DBD14"/>
    </a:accent2>
    <a:accent3>
      <a:srgbClr val="42B704"/>
    </a:accent3>
    <a:accent4>
      <a:srgbClr val="475059"/>
    </a:accent4>
    <a:accent5>
      <a:srgbClr val="828E97"/>
    </a:accent5>
    <a:accent6>
      <a:srgbClr val="525252"/>
    </a:accent6>
    <a:hlink>
      <a:srgbClr val="4276AA"/>
    </a:hlink>
    <a:folHlink>
      <a:srgbClr val="BFBFBF"/>
    </a:folHlink>
  </a:clrScheme>
</a:themeOverride>
</file>

<file path=ppt/theme/themeOverride7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27929"/>
    </a:accent1>
    <a:accent2>
      <a:srgbClr val="7DBD14"/>
    </a:accent2>
    <a:accent3>
      <a:srgbClr val="42B704"/>
    </a:accent3>
    <a:accent4>
      <a:srgbClr val="475059"/>
    </a:accent4>
    <a:accent5>
      <a:srgbClr val="828E97"/>
    </a:accent5>
    <a:accent6>
      <a:srgbClr val="525252"/>
    </a:accent6>
    <a:hlink>
      <a:srgbClr val="4276AA"/>
    </a:hlink>
    <a:folHlink>
      <a:srgbClr val="BFBFBF"/>
    </a:folHlink>
  </a:clrScheme>
</a:themeOverride>
</file>

<file path=ppt/theme/themeOverride8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27929"/>
    </a:accent1>
    <a:accent2>
      <a:srgbClr val="7DBD14"/>
    </a:accent2>
    <a:accent3>
      <a:srgbClr val="42B704"/>
    </a:accent3>
    <a:accent4>
      <a:srgbClr val="475059"/>
    </a:accent4>
    <a:accent5>
      <a:srgbClr val="828E97"/>
    </a:accent5>
    <a:accent6>
      <a:srgbClr val="525252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12</TotalTime>
  <Words>1950</Words>
  <Application>Microsoft Office PowerPoint</Application>
  <PresentationFormat>宽屏</PresentationFormat>
  <Paragraphs>257</Paragraphs>
  <Slides>21</Slides>
  <Notes>21</Notes>
  <HiddenSlides>0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1</vt:i4>
      </vt:variant>
    </vt:vector>
  </HeadingPairs>
  <TitlesOfParts>
    <vt:vector size="27" baseType="lpstr">
      <vt:lpstr>微软雅黑</vt:lpstr>
      <vt:lpstr>Arial</vt:lpstr>
      <vt:lpstr>Calibri</vt:lpstr>
      <vt:lpstr>Impact</vt:lpstr>
      <vt:lpstr>主题5</vt:lpstr>
      <vt:lpstr>think-cell Slide</vt:lpstr>
      <vt:lpstr>桂林电子科技大学工商管理硕士（MBA） 毕业论文答辩PPT模板</vt:lpstr>
      <vt:lpstr>PowerPoint 演示文稿</vt:lpstr>
      <vt:lpstr>选题背景和研究意义</vt:lpstr>
      <vt:lpstr>Click to edit Master title style</vt:lpstr>
      <vt:lpstr>Click to edit Master title style</vt:lpstr>
      <vt:lpstr>研究思路与研究方法</vt:lpstr>
      <vt:lpstr>Click to edit Master title style</vt:lpstr>
      <vt:lpstr>Click to edit Master title style</vt:lpstr>
      <vt:lpstr>Click to edit Master title style</vt:lpstr>
      <vt:lpstr>关键技术与实践难点</vt:lpstr>
      <vt:lpstr>Click to edit Master title style</vt:lpstr>
      <vt:lpstr>Click to edit Master title style</vt:lpstr>
      <vt:lpstr>Click to edit Master title style</vt:lpstr>
      <vt:lpstr>研究成果与应用前景</vt:lpstr>
      <vt:lpstr>Click to edit Master title style</vt:lpstr>
      <vt:lpstr>Click to edit Master title style</vt:lpstr>
      <vt:lpstr>Click to edit Master title style</vt:lpstr>
      <vt:lpstr>论文总结与展望</vt:lpstr>
      <vt:lpstr>Click to edit Master title style</vt:lpstr>
      <vt:lpstr>Click to edit Master title style</vt:lpstr>
      <vt:lpstr>Thanks. And Your Slogan Here.</vt:lpstr>
    </vt:vector>
  </TitlesOfParts>
  <Manager>GUET-MBA</Manager>
  <Company>桂林电子科技大学MBA教育中心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郭星宇</dc:creator>
  <cp:lastModifiedBy>星宇 郭</cp:lastModifiedBy>
  <cp:revision>9</cp:revision>
  <cp:lastPrinted>2018-03-27T16:00:00Z</cp:lastPrinted>
  <dcterms:created xsi:type="dcterms:W3CDTF">2018-03-27T16:00:00Z</dcterms:created>
  <dcterms:modified xsi:type="dcterms:W3CDTF">2023-09-02T09:15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